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charts/chart3.xml" ContentType="application/vnd.openxmlformats-officedocument.drawingml.chart+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5.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6.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1" r:id="rId3"/>
    <p:sldMasterId id="2147483694" r:id="rId4"/>
    <p:sldMasterId id="2147483705" r:id="rId5"/>
    <p:sldMasterId id="2147483722" r:id="rId6"/>
    <p:sldMasterId id="2147483737" r:id="rId7"/>
    <p:sldMasterId id="2147483745" r:id="rId8"/>
  </p:sldMasterIdLst>
  <p:notesMasterIdLst>
    <p:notesMasterId r:id="rId61"/>
  </p:notesMasterIdLst>
  <p:sldIdLst>
    <p:sldId id="275" r:id="rId9"/>
    <p:sldId id="276" r:id="rId10"/>
    <p:sldId id="279" r:id="rId11"/>
    <p:sldId id="277" r:id="rId12"/>
    <p:sldId id="278" r:id="rId13"/>
    <p:sldId id="280" r:id="rId14"/>
    <p:sldId id="290" r:id="rId15"/>
    <p:sldId id="281" r:id="rId16"/>
    <p:sldId id="282" r:id="rId17"/>
    <p:sldId id="283" r:id="rId18"/>
    <p:sldId id="284" r:id="rId19"/>
    <p:sldId id="285" r:id="rId20"/>
    <p:sldId id="286" r:id="rId21"/>
    <p:sldId id="287" r:id="rId22"/>
    <p:sldId id="292" r:id="rId23"/>
    <p:sldId id="293" r:id="rId24"/>
    <p:sldId id="298" r:id="rId25"/>
    <p:sldId id="299" r:id="rId26"/>
    <p:sldId id="300" r:id="rId27"/>
    <p:sldId id="301" r:id="rId28"/>
    <p:sldId id="302" r:id="rId29"/>
    <p:sldId id="303" r:id="rId30"/>
    <p:sldId id="304" r:id="rId31"/>
    <p:sldId id="305" r:id="rId32"/>
    <p:sldId id="306" r:id="rId33"/>
    <p:sldId id="307" r:id="rId34"/>
    <p:sldId id="308" r:id="rId35"/>
    <p:sldId id="309" r:id="rId36"/>
    <p:sldId id="291" r:id="rId37"/>
    <p:sldId id="294" r:id="rId38"/>
    <p:sldId id="295" r:id="rId39"/>
    <p:sldId id="297" r:id="rId40"/>
    <p:sldId id="257" r:id="rId41"/>
    <p:sldId id="258" r:id="rId42"/>
    <p:sldId id="259" r:id="rId43"/>
    <p:sldId id="296" r:id="rId44"/>
    <p:sldId id="260" r:id="rId45"/>
    <p:sldId id="261" r:id="rId46"/>
    <p:sldId id="262" r:id="rId47"/>
    <p:sldId id="263" r:id="rId48"/>
    <p:sldId id="264" r:id="rId49"/>
    <p:sldId id="265" r:id="rId50"/>
    <p:sldId id="266" r:id="rId51"/>
    <p:sldId id="267" r:id="rId52"/>
    <p:sldId id="268" r:id="rId53"/>
    <p:sldId id="269" r:id="rId54"/>
    <p:sldId id="270" r:id="rId55"/>
    <p:sldId id="271" r:id="rId56"/>
    <p:sldId id="272" r:id="rId57"/>
    <p:sldId id="273" r:id="rId58"/>
    <p:sldId id="274" r:id="rId59"/>
    <p:sldId id="289" r:id="rId6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9" d="100"/>
          <a:sy n="69" d="100"/>
        </p:scale>
        <p:origin x="-1416" y="-96"/>
      </p:cViewPr>
      <p:guideLst>
        <p:guide orient="horz" pos="2160"/>
        <p:guide pos="2880"/>
      </p:guideLst>
    </p:cSldViewPr>
  </p:slideViewPr>
  <p:notesTextViewPr>
    <p:cViewPr>
      <p:scale>
        <a:sx n="1" d="1"/>
        <a:sy n="1" d="1"/>
      </p:scale>
      <p:origin x="0" y="0"/>
    </p:cViewPr>
  </p:notesTextViewPr>
  <p:sorterViewPr>
    <p:cViewPr>
      <p:scale>
        <a:sx n="100" d="100"/>
        <a:sy n="100" d="100"/>
      </p:scale>
      <p:origin x="0" y="454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96354598177299E-2"/>
          <c:y val="6.358381502890173E-2"/>
          <c:w val="0.89975144987572486"/>
          <c:h val="0.80154142581888244"/>
        </c:manualLayout>
      </c:layout>
      <c:lineChart>
        <c:grouping val="standard"/>
        <c:varyColors val="0"/>
        <c:ser>
          <c:idx val="0"/>
          <c:order val="0"/>
          <c:tx>
            <c:strRef>
              <c:f>Sheet1!$A$2</c:f>
              <c:strCache>
                <c:ptCount val="1"/>
                <c:pt idx="0">
                  <c:v>Estimated</c:v>
                </c:pt>
              </c:strCache>
            </c:strRef>
          </c:tx>
          <c:spPr>
            <a:ln w="38299">
              <a:solidFill>
                <a:srgbClr val="FFFF00"/>
              </a:solidFill>
              <a:prstDash val="solid"/>
            </a:ln>
          </c:spPr>
          <c:marker>
            <c:symbol val="diamond"/>
            <c:size val="9"/>
            <c:spPr>
              <a:solidFill>
                <a:srgbClr val="FFFF00"/>
              </a:solidFill>
              <a:ln>
                <a:solidFill>
                  <a:srgbClr val="FFFF00"/>
                </a:solidFill>
                <a:prstDash val="solid"/>
              </a:ln>
            </c:spPr>
          </c:marker>
          <c:cat>
            <c:numRef>
              <c:f>Sheet1!$B$1:$AC$1</c:f>
              <c:numCache>
                <c:formatCode>General</c:formatCode>
                <c:ptCount val="28"/>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numCache>
            </c:numRef>
          </c:cat>
          <c:val>
            <c:numRef>
              <c:f>Sheet1!$B$2:$AC$2</c:f>
              <c:numCache>
                <c:formatCode>General</c:formatCode>
                <c:ptCount val="28"/>
                <c:pt idx="0">
                  <c:v>387</c:v>
                </c:pt>
                <c:pt idx="1">
                  <c:v>323</c:v>
                </c:pt>
                <c:pt idx="2">
                  <c:v>394</c:v>
                </c:pt>
                <c:pt idx="3">
                  <c:v>345</c:v>
                </c:pt>
                <c:pt idx="4">
                  <c:v>261</c:v>
                </c:pt>
                <c:pt idx="5">
                  <c:v>233</c:v>
                </c:pt>
                <c:pt idx="6">
                  <c:v>134</c:v>
                </c:pt>
                <c:pt idx="7">
                  <c:v>137</c:v>
                </c:pt>
                <c:pt idx="8">
                  <c:v>76</c:v>
                </c:pt>
                <c:pt idx="9">
                  <c:v>73</c:v>
                </c:pt>
                <c:pt idx="10">
                  <c:v>60</c:v>
                </c:pt>
                <c:pt idx="11">
                  <c:v>33</c:v>
                </c:pt>
                <c:pt idx="12">
                  <c:v>18</c:v>
                </c:pt>
                <c:pt idx="13">
                  <c:v>10</c:v>
                </c:pt>
                <c:pt idx="14">
                  <c:v>10</c:v>
                </c:pt>
                <c:pt idx="15">
                  <c:v>0.71899999999999997</c:v>
                </c:pt>
                <c:pt idx="16">
                  <c:v>0.48299999999999998</c:v>
                </c:pt>
                <c:pt idx="17">
                  <c:v>1.9179999999999999</c:v>
                </c:pt>
                <c:pt idx="18">
                  <c:v>0.78400000000000003</c:v>
                </c:pt>
                <c:pt idx="19">
                  <c:v>1.2549999999999999</c:v>
                </c:pt>
                <c:pt idx="20">
                  <c:v>1.9790000000000001</c:v>
                </c:pt>
                <c:pt idx="21">
                  <c:v>1.9970000000000001</c:v>
                </c:pt>
                <c:pt idx="22">
                  <c:v>1.3149999999999999</c:v>
                </c:pt>
                <c:pt idx="23">
                  <c:v>1.651</c:v>
                </c:pt>
                <c:pt idx="24">
                  <c:v>1.6040000000000001</c:v>
                </c:pt>
                <c:pt idx="25">
                  <c:v>1.3520000000000001</c:v>
                </c:pt>
                <c:pt idx="26">
                  <c:v>0.65</c:v>
                </c:pt>
                <c:pt idx="27">
                  <c:v>0.22</c:v>
                </c:pt>
              </c:numCache>
            </c:numRef>
          </c:val>
          <c:smooth val="1"/>
        </c:ser>
        <c:dLbls>
          <c:showLegendKey val="0"/>
          <c:showVal val="0"/>
          <c:showCatName val="0"/>
          <c:showSerName val="0"/>
          <c:showPercent val="0"/>
          <c:showBubbleSize val="0"/>
        </c:dLbls>
        <c:marker val="1"/>
        <c:smooth val="0"/>
        <c:axId val="42545152"/>
        <c:axId val="42547072"/>
      </c:lineChart>
      <c:catAx>
        <c:axId val="42545152"/>
        <c:scaling>
          <c:orientation val="minMax"/>
        </c:scaling>
        <c:delete val="0"/>
        <c:axPos val="b"/>
        <c:numFmt formatCode="General" sourceLinked="1"/>
        <c:majorTickMark val="out"/>
        <c:minorTickMark val="none"/>
        <c:tickLblPos val="nextTo"/>
        <c:spPr>
          <a:ln w="12766">
            <a:solidFill>
              <a:srgbClr val="FFFFFF"/>
            </a:solidFill>
            <a:prstDash val="solid"/>
          </a:ln>
        </c:spPr>
        <c:txPr>
          <a:bodyPr rot="-5400000" vert="horz"/>
          <a:lstStyle/>
          <a:p>
            <a:pPr>
              <a:defRPr sz="1357" b="1" i="0" u="none" strike="noStrike" baseline="0">
                <a:solidFill>
                  <a:srgbClr val="FFFFFF"/>
                </a:solidFill>
                <a:latin typeface="Arial Narrow"/>
                <a:ea typeface="Arial Narrow"/>
                <a:cs typeface="Arial Narrow"/>
              </a:defRPr>
            </a:pPr>
            <a:endParaRPr lang="en-US"/>
          </a:p>
        </c:txPr>
        <c:crossAx val="42547072"/>
        <c:crossesAt val="0"/>
        <c:auto val="1"/>
        <c:lblAlgn val="ctr"/>
        <c:lblOffset val="100"/>
        <c:tickLblSkip val="1"/>
        <c:tickMarkSkip val="1"/>
        <c:noMultiLvlLbl val="0"/>
      </c:catAx>
      <c:valAx>
        <c:axId val="42547072"/>
        <c:scaling>
          <c:orientation val="minMax"/>
          <c:max val="400"/>
          <c:min val="0"/>
        </c:scaling>
        <c:delete val="0"/>
        <c:axPos val="l"/>
        <c:title>
          <c:tx>
            <c:rich>
              <a:bodyPr/>
              <a:lstStyle/>
              <a:p>
                <a:pPr>
                  <a:defRPr sz="1734" b="1" i="0" u="none" strike="noStrike" baseline="0">
                    <a:solidFill>
                      <a:srgbClr val="FFFFFF"/>
                    </a:solidFill>
                    <a:latin typeface="Arial Narrow"/>
                    <a:ea typeface="Arial Narrow"/>
                    <a:cs typeface="Arial Narrow"/>
                  </a:defRPr>
                </a:pPr>
                <a:r>
                  <a:rPr lang="en-GB"/>
                  <a:t>Polio cases (thousands)</a:t>
                </a:r>
              </a:p>
            </c:rich>
          </c:tx>
          <c:layout>
            <c:manualLayout>
              <c:xMode val="edge"/>
              <c:yMode val="edge"/>
              <c:x val="9.9420049710024858E-3"/>
              <c:y val="0.18882466281310209"/>
            </c:manualLayout>
          </c:layout>
          <c:overlay val="0"/>
          <c:spPr>
            <a:noFill/>
            <a:ln w="25533">
              <a:noFill/>
            </a:ln>
          </c:spPr>
        </c:title>
        <c:numFmt formatCode="0" sourceLinked="0"/>
        <c:majorTickMark val="out"/>
        <c:minorTickMark val="none"/>
        <c:tickLblPos val="nextTo"/>
        <c:spPr>
          <a:ln w="12766">
            <a:solidFill>
              <a:srgbClr val="FFFFFF"/>
            </a:solidFill>
            <a:prstDash val="solid"/>
          </a:ln>
        </c:spPr>
        <c:txPr>
          <a:bodyPr rot="0" vert="horz"/>
          <a:lstStyle/>
          <a:p>
            <a:pPr>
              <a:defRPr sz="1357" b="1" i="0" u="none" strike="noStrike" baseline="0">
                <a:solidFill>
                  <a:srgbClr val="FFFFFF"/>
                </a:solidFill>
                <a:latin typeface="Arial Narrow"/>
                <a:ea typeface="Arial Narrow"/>
                <a:cs typeface="Arial Narrow"/>
              </a:defRPr>
            </a:pPr>
            <a:endParaRPr lang="en-US"/>
          </a:p>
        </c:txPr>
        <c:crossAx val="42545152"/>
        <c:crosses val="autoZero"/>
        <c:crossBetween val="between"/>
        <c:majorUnit val="100"/>
        <c:minorUnit val="0.84000740856616096"/>
      </c:valAx>
      <c:spPr>
        <a:noFill/>
        <a:ln w="25533">
          <a:noFill/>
        </a:ln>
      </c:spPr>
    </c:plotArea>
    <c:plotVisOnly val="1"/>
    <c:dispBlanksAs val="gap"/>
    <c:showDLblsOverMax val="0"/>
  </c:chart>
  <c:spPr>
    <a:noFill/>
    <a:ln>
      <a:noFill/>
    </a:ln>
  </c:spPr>
  <c:txPr>
    <a:bodyPr/>
    <a:lstStyle/>
    <a:p>
      <a:pPr>
        <a:defRPr sz="1734" b="1"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952380952380956E-2"/>
          <c:y val="5.2631578947368418E-2"/>
          <c:w val="0.90476190476190477"/>
          <c:h val="0.87320574162679421"/>
        </c:manualLayout>
      </c:layout>
      <c:barChart>
        <c:barDir val="col"/>
        <c:grouping val="stacked"/>
        <c:varyColors val="0"/>
        <c:ser>
          <c:idx val="0"/>
          <c:order val="0"/>
          <c:tx>
            <c:strRef>
              <c:f>Sheet1!$A$2</c:f>
              <c:strCache>
                <c:ptCount val="1"/>
                <c:pt idx="0">
                  <c:v>P1</c:v>
                </c:pt>
              </c:strCache>
            </c:strRef>
          </c:tx>
          <c:spPr>
            <a:solidFill>
              <a:srgbClr val="FF0000"/>
            </a:solidFill>
            <a:ln w="17002">
              <a:solidFill>
                <a:schemeClr val="tx1"/>
              </a:solidFill>
              <a:prstDash val="solid"/>
            </a:ln>
          </c:spPr>
          <c:invertIfNegative val="0"/>
          <c:dLbls>
            <c:delete val="1"/>
          </c:dLbls>
          <c:cat>
            <c:strRef>
              <c:f>Sheet1!$B$1:$S$1</c:f>
              <c:strCach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strCache>
            </c:strRef>
          </c:cat>
          <c:val>
            <c:numRef>
              <c:f>Sheet1!$B$2:$S$2</c:f>
              <c:numCache>
                <c:formatCode>General</c:formatCode>
                <c:ptCount val="18"/>
                <c:pt idx="0">
                  <c:v>1735</c:v>
                </c:pt>
                <c:pt idx="1">
                  <c:v>397</c:v>
                </c:pt>
                <c:pt idx="2">
                  <c:v>139</c:v>
                </c:pt>
                <c:pt idx="3">
                  <c:v>212</c:v>
                </c:pt>
                <c:pt idx="4">
                  <c:v>1487</c:v>
                </c:pt>
                <c:pt idx="5">
                  <c:v>203</c:v>
                </c:pt>
                <c:pt idx="6">
                  <c:v>127</c:v>
                </c:pt>
                <c:pt idx="7">
                  <c:v>62</c:v>
                </c:pt>
                <c:pt idx="8">
                  <c:v>648</c:v>
                </c:pt>
                <c:pt idx="9">
                  <c:v>83</c:v>
                </c:pt>
                <c:pt idx="10">
                  <c:v>75</c:v>
                </c:pt>
                <c:pt idx="11">
                  <c:v>80</c:v>
                </c:pt>
                <c:pt idx="12">
                  <c:v>18</c:v>
                </c:pt>
                <c:pt idx="13">
                  <c:v>1</c:v>
                </c:pt>
                <c:pt idx="14">
                  <c:v>0</c:v>
                </c:pt>
                <c:pt idx="15">
                  <c:v>0</c:v>
                </c:pt>
                <c:pt idx="16">
                  <c:v>0</c:v>
                </c:pt>
                <c:pt idx="17">
                  <c:v>0</c:v>
                </c:pt>
              </c:numCache>
            </c:numRef>
          </c:val>
        </c:ser>
        <c:ser>
          <c:idx val="3"/>
          <c:order val="1"/>
          <c:tx>
            <c:strRef>
              <c:f>Sheet1!$A$3</c:f>
              <c:strCache>
                <c:ptCount val="1"/>
                <c:pt idx="0">
                  <c:v>P2</c:v>
                </c:pt>
              </c:strCache>
            </c:strRef>
          </c:tx>
          <c:spPr>
            <a:solidFill>
              <a:srgbClr val="00FF00"/>
            </a:solidFill>
            <a:ln w="17002">
              <a:solidFill>
                <a:schemeClr val="tx1"/>
              </a:solidFill>
              <a:prstDash val="solid"/>
            </a:ln>
          </c:spPr>
          <c:invertIfNegative val="0"/>
          <c:dLbls>
            <c:delete val="1"/>
          </c:dLbls>
          <c:cat>
            <c:strRef>
              <c:f>Sheet1!$B$1:$S$1</c:f>
              <c:strCach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strCache>
            </c:strRef>
          </c:cat>
          <c:val>
            <c:numRef>
              <c:f>Sheet1!$B$3:$S$3</c:f>
              <c:numCache>
                <c:formatCode>General</c:formatCode>
                <c:ptCount val="18"/>
                <c:pt idx="0">
                  <c:v>83</c:v>
                </c:pt>
                <c:pt idx="1">
                  <c:v>11</c:v>
                </c:pt>
              </c:numCache>
            </c:numRef>
          </c:val>
        </c:ser>
        <c:ser>
          <c:idx val="1"/>
          <c:order val="2"/>
          <c:tx>
            <c:strRef>
              <c:f>Sheet1!$A$4</c:f>
              <c:strCache>
                <c:ptCount val="1"/>
                <c:pt idx="0">
                  <c:v>P3</c:v>
                </c:pt>
              </c:strCache>
            </c:strRef>
          </c:tx>
          <c:spPr>
            <a:solidFill>
              <a:srgbClr val="0000FF"/>
            </a:solidFill>
            <a:ln w="17002">
              <a:solidFill>
                <a:schemeClr val="tx1"/>
              </a:solidFill>
              <a:prstDash val="solid"/>
            </a:ln>
          </c:spPr>
          <c:invertIfNegative val="0"/>
          <c:dLbls>
            <c:delete val="1"/>
          </c:dLbls>
          <c:cat>
            <c:strRef>
              <c:f>Sheet1!$B$1:$S$1</c:f>
              <c:strCach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strCache>
            </c:strRef>
          </c:cat>
          <c:val>
            <c:numRef>
              <c:f>Sheet1!$B$4:$S$4</c:f>
              <c:numCache>
                <c:formatCode>General</c:formatCode>
                <c:ptCount val="18"/>
                <c:pt idx="0">
                  <c:v>190</c:v>
                </c:pt>
                <c:pt idx="1">
                  <c:v>730</c:v>
                </c:pt>
                <c:pt idx="2">
                  <c:v>127</c:v>
                </c:pt>
                <c:pt idx="3">
                  <c:v>59</c:v>
                </c:pt>
                <c:pt idx="4">
                  <c:v>116</c:v>
                </c:pt>
                <c:pt idx="5">
                  <c:v>22</c:v>
                </c:pt>
                <c:pt idx="6">
                  <c:v>7</c:v>
                </c:pt>
                <c:pt idx="7">
                  <c:v>4</c:v>
                </c:pt>
                <c:pt idx="8">
                  <c:v>28</c:v>
                </c:pt>
                <c:pt idx="9">
                  <c:v>794</c:v>
                </c:pt>
                <c:pt idx="10">
                  <c:v>484</c:v>
                </c:pt>
                <c:pt idx="11">
                  <c:v>662</c:v>
                </c:pt>
                <c:pt idx="12">
                  <c:v>24</c:v>
                </c:pt>
                <c:pt idx="13">
                  <c:v>0</c:v>
                </c:pt>
                <c:pt idx="14">
                  <c:v>0</c:v>
                </c:pt>
                <c:pt idx="15">
                  <c:v>0</c:v>
                </c:pt>
                <c:pt idx="16">
                  <c:v>0</c:v>
                </c:pt>
                <c:pt idx="17">
                  <c:v>0</c:v>
                </c:pt>
              </c:numCache>
            </c:numRef>
          </c:val>
        </c:ser>
        <c:ser>
          <c:idx val="2"/>
          <c:order val="3"/>
          <c:tx>
            <c:strRef>
              <c:f>Sheet1!$A$5</c:f>
              <c:strCache>
                <c:ptCount val="1"/>
                <c:pt idx="0">
                  <c:v>Total</c:v>
                </c:pt>
              </c:strCache>
            </c:strRef>
          </c:tx>
          <c:spPr>
            <a:noFill/>
            <a:ln w="34005">
              <a:noFill/>
            </a:ln>
          </c:spPr>
          <c:invertIfNegative val="0"/>
          <c:dLbls>
            <c:dLbl>
              <c:idx val="1"/>
              <c:layout>
                <c:manualLayout>
                  <c:x val="2.0110397498459397E-3"/>
                  <c:y val="0.20280604092520393"/>
                </c:manualLayout>
              </c:layout>
              <c:tx>
                <c:rich>
                  <a:bodyPr/>
                  <a:lstStyle/>
                  <a:p>
                    <a:pPr>
                      <a:defRPr sz="1339" b="1" i="0" u="none" strike="noStrike" baseline="0">
                        <a:solidFill>
                          <a:schemeClr val="tx1"/>
                        </a:solidFill>
                        <a:latin typeface="Arial Narrow" panose="020B0606020202030204" pitchFamily="34" charset="0"/>
                        <a:ea typeface="Arial"/>
                        <a:cs typeface="Arial"/>
                      </a:defRPr>
                    </a:pPr>
                    <a:r>
                      <a:rPr lang="en-US">
                        <a:latin typeface="Arial Narrow" panose="020B0606020202030204" pitchFamily="34" charset="0"/>
                      </a:rPr>
                      <a:t>1126</a:t>
                    </a:r>
                    <a:endParaRPr lang="en-US"/>
                  </a:p>
                </c:rich>
              </c:tx>
              <c:spPr>
                <a:noFill/>
                <a:ln w="34005">
                  <a:noFill/>
                </a:ln>
              </c:spPr>
              <c:dLblPos val="ctr"/>
              <c:showLegendKey val="0"/>
              <c:showVal val="0"/>
              <c:showCatName val="0"/>
              <c:showSerName val="0"/>
              <c:showPercent val="0"/>
              <c:showBubbleSize val="0"/>
              <c:extLst>
                <c:ext xmlns:c15="http://schemas.microsoft.com/office/drawing/2012/chart" uri="{CE6537A1-D6FC-4f65-9D91-7224C49458BB}">
                  <c15:layout/>
                </c:ext>
              </c:extLst>
            </c:dLbl>
            <c:dLbl>
              <c:idx val="2"/>
              <c:layout>
                <c:manualLayout>
                  <c:x val="-9.6536026034043385E-4"/>
                  <c:y val="2.4846844928046629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1510649556678084E-3"/>
                  <c:y val="2.7549597106462268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6.2201062577960315E-4"/>
                  <c:y val="1.6228779940878919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2.0234689201168998E-3"/>
                  <c:y val="1.4028026530350015E-4"/>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7.9989974340587426E-4"/>
                  <c:y val="-1.3564378155275829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2.5526428616643787E-3"/>
                  <c:y val="0.1133151861349262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2.0235192329576624E-3"/>
                  <c:y val="0.15432684452563961"/>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0"/>
              <c:layout>
                <c:manualLayout>
                  <c:x val="-1.4943956042509465E-3"/>
                  <c:y val="8.101017338885684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1"/>
              <c:layout>
                <c:manualLayout>
                  <c:x val="6.220296117572401E-4"/>
                  <c:y val="0.12556470325549463"/>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2"/>
              <c:layout>
                <c:manualLayout>
                  <c:x val="2.5829720116673935E-4"/>
                  <c:y val="-2.3748964944267818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1.6926171850661247E-3"/>
                  <c:y val="-2.7790431746003413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4"/>
              <c:layout>
                <c:manualLayout>
                  <c:x val="-1.163613168018627E-3"/>
                  <c:y val="-2.8414143787176251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5"/>
              <c:layout>
                <c:manualLayout>
                  <c:x val="-6.3448953931202203E-4"/>
                  <c:y val="-2.8414143787176251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6"/>
              <c:layout>
                <c:manualLayout>
                  <c:x val="1.4819356766962756E-3"/>
                  <c:y val="-2.8414143787176251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17"/>
              <c:layout>
                <c:manualLayout>
                  <c:x val="-2.7508454565018641E-3"/>
                  <c:y val="-3.0806488284783974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w="34005">
                <a:noFill/>
              </a:ln>
            </c:spPr>
            <c:txPr>
              <a:bodyPr/>
              <a:lstStyle/>
              <a:p>
                <a:pPr>
                  <a:defRPr sz="1339" b="1" i="0" u="none" strike="noStrike" baseline="0">
                    <a:solidFill>
                      <a:schemeClr val="tx1"/>
                    </a:solidFill>
                    <a:latin typeface="Arial Narrow" panose="020B0606020202030204" pitchFamily="34" charset="0"/>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S$1</c:f>
              <c:strCache>
                <c:ptCount val="18"/>
                <c:pt idx="0">
                  <c:v>1998</c:v>
                </c:pt>
                <c:pt idx="1">
                  <c:v>1999</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c:v>
                </c:pt>
              </c:strCache>
            </c:strRef>
          </c:cat>
          <c:val>
            <c:numRef>
              <c:f>Sheet1!$B$5:$S$5</c:f>
              <c:numCache>
                <c:formatCode>General</c:formatCode>
                <c:ptCount val="18"/>
                <c:pt idx="0">
                  <c:v>1934</c:v>
                </c:pt>
                <c:pt idx="1">
                  <c:v>1126</c:v>
                </c:pt>
                <c:pt idx="2">
                  <c:v>265</c:v>
                </c:pt>
                <c:pt idx="3">
                  <c:v>268</c:v>
                </c:pt>
                <c:pt idx="4">
                  <c:v>1600</c:v>
                </c:pt>
                <c:pt idx="5">
                  <c:v>225</c:v>
                </c:pt>
                <c:pt idx="6">
                  <c:v>134</c:v>
                </c:pt>
                <c:pt idx="7">
                  <c:v>66</c:v>
                </c:pt>
                <c:pt idx="8">
                  <c:v>676</c:v>
                </c:pt>
                <c:pt idx="9">
                  <c:v>874</c:v>
                </c:pt>
                <c:pt idx="10">
                  <c:v>559</c:v>
                </c:pt>
                <c:pt idx="11">
                  <c:v>741</c:v>
                </c:pt>
                <c:pt idx="12">
                  <c:v>42</c:v>
                </c:pt>
                <c:pt idx="13">
                  <c:v>1</c:v>
                </c:pt>
                <c:pt idx="14">
                  <c:v>0</c:v>
                </c:pt>
                <c:pt idx="15">
                  <c:v>0</c:v>
                </c:pt>
                <c:pt idx="16">
                  <c:v>0</c:v>
                </c:pt>
                <c:pt idx="17">
                  <c:v>0</c:v>
                </c:pt>
              </c:numCache>
            </c:numRef>
          </c:val>
        </c:ser>
        <c:dLbls>
          <c:showLegendKey val="0"/>
          <c:showVal val="1"/>
          <c:showCatName val="0"/>
          <c:showSerName val="0"/>
          <c:showPercent val="0"/>
          <c:showBubbleSize val="0"/>
        </c:dLbls>
        <c:gapWidth val="70"/>
        <c:overlap val="100"/>
        <c:axId val="142842112"/>
        <c:axId val="134922624"/>
      </c:barChart>
      <c:catAx>
        <c:axId val="142842112"/>
        <c:scaling>
          <c:orientation val="minMax"/>
        </c:scaling>
        <c:delete val="0"/>
        <c:axPos val="b"/>
        <c:numFmt formatCode="General" sourceLinked="1"/>
        <c:majorTickMark val="out"/>
        <c:minorTickMark val="none"/>
        <c:tickLblPos val="nextTo"/>
        <c:spPr>
          <a:ln w="4251">
            <a:solidFill>
              <a:schemeClr val="tx1"/>
            </a:solidFill>
            <a:prstDash val="solid"/>
          </a:ln>
        </c:spPr>
        <c:txPr>
          <a:bodyPr rot="0" vert="horz"/>
          <a:lstStyle/>
          <a:p>
            <a:pPr>
              <a:defRPr sz="937" b="1" i="0" u="none" strike="noStrike" baseline="0">
                <a:solidFill>
                  <a:schemeClr val="tx1"/>
                </a:solidFill>
                <a:latin typeface="Arial"/>
                <a:ea typeface="Arial"/>
                <a:cs typeface="Arial"/>
              </a:defRPr>
            </a:pPr>
            <a:endParaRPr lang="en-US"/>
          </a:p>
        </c:txPr>
        <c:crossAx val="134922624"/>
        <c:crosses val="autoZero"/>
        <c:auto val="1"/>
        <c:lblAlgn val="ctr"/>
        <c:lblOffset val="100"/>
        <c:tickLblSkip val="1"/>
        <c:tickMarkSkip val="1"/>
        <c:noMultiLvlLbl val="0"/>
      </c:catAx>
      <c:valAx>
        <c:axId val="134922624"/>
        <c:scaling>
          <c:orientation val="minMax"/>
          <c:max val="2100"/>
          <c:min val="0"/>
        </c:scaling>
        <c:delete val="0"/>
        <c:axPos val="l"/>
        <c:majorGridlines>
          <c:spPr>
            <a:ln w="4251">
              <a:solidFill>
                <a:schemeClr val="tx1"/>
              </a:solidFill>
              <a:prstDash val="sysDash"/>
            </a:ln>
          </c:spPr>
        </c:majorGridlines>
        <c:numFmt formatCode="General" sourceLinked="1"/>
        <c:majorTickMark val="out"/>
        <c:minorTickMark val="none"/>
        <c:tickLblPos val="nextTo"/>
        <c:spPr>
          <a:ln w="4251">
            <a:solidFill>
              <a:schemeClr val="tx1"/>
            </a:solidFill>
            <a:prstDash val="solid"/>
          </a:ln>
        </c:spPr>
        <c:txPr>
          <a:bodyPr rot="0" vert="horz"/>
          <a:lstStyle/>
          <a:p>
            <a:pPr>
              <a:defRPr sz="1339" b="1" i="0" u="none" strike="noStrike" baseline="0">
                <a:solidFill>
                  <a:schemeClr val="tx1"/>
                </a:solidFill>
                <a:latin typeface="Arial"/>
                <a:ea typeface="Arial"/>
                <a:cs typeface="Arial"/>
              </a:defRPr>
            </a:pPr>
            <a:endParaRPr lang="en-US"/>
          </a:p>
        </c:txPr>
        <c:crossAx val="142842112"/>
        <c:crosses val="autoZero"/>
        <c:crossBetween val="between"/>
        <c:majorUnit val="300"/>
      </c:valAx>
      <c:spPr>
        <a:noFill/>
        <a:ln w="17002">
          <a:solidFill>
            <a:schemeClr val="tx1"/>
          </a:solidFill>
          <a:prstDash val="solid"/>
        </a:ln>
      </c:spPr>
    </c:plotArea>
    <c:plotVisOnly val="1"/>
    <c:dispBlanksAs val="gap"/>
    <c:showDLblsOverMax val="0"/>
  </c:chart>
  <c:spPr>
    <a:noFill/>
    <a:ln>
      <a:noFill/>
    </a:ln>
  </c:spPr>
  <c:txPr>
    <a:bodyPr/>
    <a:lstStyle/>
    <a:p>
      <a:pPr>
        <a:defRPr sz="2410"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8049677750075"/>
          <c:y val="5.4198054459018465E-2"/>
          <c:w val="0.85430751778525138"/>
          <c:h val="0.81460237677670644"/>
        </c:manualLayout>
      </c:layout>
      <c:barChart>
        <c:barDir val="col"/>
        <c:grouping val="clustered"/>
        <c:varyColors val="0"/>
        <c:ser>
          <c:idx val="0"/>
          <c:order val="0"/>
          <c:tx>
            <c:strRef>
              <c:f>Sheet1!$A$2</c:f>
              <c:strCache>
                <c:ptCount val="1"/>
              </c:strCache>
            </c:strRef>
          </c:tx>
          <c:spPr>
            <a:solidFill>
              <a:srgbClr val="99CCFF"/>
            </a:solidFill>
            <a:ln w="12407">
              <a:solidFill>
                <a:schemeClr val="tx1"/>
              </a:solidFill>
              <a:prstDash val="solid"/>
            </a:ln>
          </c:spPr>
          <c:invertIfNegative val="0"/>
          <c:dLbls>
            <c:dLbl>
              <c:idx val="1"/>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5"/>
              <c:delete val="1"/>
              <c:extLst>
                <c:ext xmlns:c15="http://schemas.microsoft.com/office/drawing/2012/chart" uri="{CE6537A1-D6FC-4f65-9D91-7224C49458BB}"/>
              </c:extLst>
            </c:dLbl>
            <c:numFmt formatCode="0.0" sourceLinked="0"/>
            <c:spPr>
              <a:noFill/>
              <a:ln w="24814">
                <a:noFill/>
              </a:ln>
            </c:spPr>
            <c:txPr>
              <a:bodyPr/>
              <a:lstStyle/>
              <a:p>
                <a:pPr>
                  <a:defRPr sz="1564" b="1" i="0" u="none" strike="noStrike" baseline="0">
                    <a:solidFill>
                      <a:srgbClr val="8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NFHS
2005</c:v>
                </c:pt>
                <c:pt idx="2">
                  <c:v>DLHS
2007</c:v>
                </c:pt>
                <c:pt idx="4">
                  <c:v>CES
2009</c:v>
                </c:pt>
                <c:pt idx="6">
                  <c:v>RSOC 2013</c:v>
                </c:pt>
              </c:strCache>
            </c:strRef>
          </c:cat>
          <c:val>
            <c:numRef>
              <c:f>Sheet1!$B$2:$H$2</c:f>
              <c:numCache>
                <c:formatCode>General</c:formatCode>
                <c:ptCount val="7"/>
                <c:pt idx="0">
                  <c:v>43.5</c:v>
                </c:pt>
                <c:pt idx="1">
                  <c:v>0</c:v>
                </c:pt>
                <c:pt idx="2">
                  <c:v>53.5</c:v>
                </c:pt>
                <c:pt idx="3">
                  <c:v>0</c:v>
                </c:pt>
                <c:pt idx="4">
                  <c:v>61</c:v>
                </c:pt>
                <c:pt idx="6">
                  <c:v>65</c:v>
                </c:pt>
              </c:numCache>
            </c:numRef>
          </c:val>
        </c:ser>
        <c:ser>
          <c:idx val="1"/>
          <c:order val="1"/>
          <c:tx>
            <c:strRef>
              <c:f>Sheet1!$A$3</c:f>
              <c:strCache>
                <c:ptCount val="1"/>
              </c:strCache>
            </c:strRef>
          </c:tx>
          <c:invertIfNegative val="0"/>
          <c:cat>
            <c:strRef>
              <c:f>Sheet1!$B$1:$H$1</c:f>
              <c:strCache>
                <c:ptCount val="7"/>
                <c:pt idx="0">
                  <c:v>NFHS
2005</c:v>
                </c:pt>
                <c:pt idx="2">
                  <c:v>DLHS
2007</c:v>
                </c:pt>
                <c:pt idx="4">
                  <c:v>CES
2009</c:v>
                </c:pt>
                <c:pt idx="6">
                  <c:v>RSOC 2013</c:v>
                </c:pt>
              </c:strCache>
            </c:strRef>
          </c:cat>
          <c:val>
            <c:numRef>
              <c:f>Sheet1!$B$3:$H$3</c:f>
              <c:numCache>
                <c:formatCode>General</c:formatCode>
                <c:ptCount val="7"/>
              </c:numCache>
            </c:numRef>
          </c:val>
        </c:ser>
        <c:dLbls>
          <c:showLegendKey val="0"/>
          <c:showVal val="0"/>
          <c:showCatName val="0"/>
          <c:showSerName val="0"/>
          <c:showPercent val="0"/>
          <c:showBubbleSize val="0"/>
        </c:dLbls>
        <c:gapWidth val="70"/>
        <c:overlap val="-100"/>
        <c:axId val="89410944"/>
        <c:axId val="98992128"/>
      </c:barChart>
      <c:catAx>
        <c:axId val="89410944"/>
        <c:scaling>
          <c:orientation val="minMax"/>
        </c:scaling>
        <c:delete val="0"/>
        <c:axPos val="b"/>
        <c:numFmt formatCode="General" sourceLinked="1"/>
        <c:majorTickMark val="out"/>
        <c:minorTickMark val="none"/>
        <c:tickLblPos val="nextTo"/>
        <c:spPr>
          <a:ln w="3102">
            <a:solidFill>
              <a:schemeClr val="tx1"/>
            </a:solidFill>
            <a:prstDash val="solid"/>
          </a:ln>
        </c:spPr>
        <c:txPr>
          <a:bodyPr rot="0" vert="horz"/>
          <a:lstStyle/>
          <a:p>
            <a:pPr>
              <a:defRPr sz="1400" b="1" i="0" u="none" strike="noStrike" baseline="0">
                <a:solidFill>
                  <a:schemeClr val="tx1"/>
                </a:solidFill>
                <a:latin typeface="Arial"/>
                <a:ea typeface="Arial"/>
                <a:cs typeface="Arial"/>
              </a:defRPr>
            </a:pPr>
            <a:endParaRPr lang="en-US"/>
          </a:p>
        </c:txPr>
        <c:crossAx val="98992128"/>
        <c:crosses val="autoZero"/>
        <c:auto val="1"/>
        <c:lblAlgn val="ctr"/>
        <c:lblOffset val="100"/>
        <c:tickLblSkip val="1"/>
        <c:tickMarkSkip val="1"/>
        <c:noMultiLvlLbl val="0"/>
      </c:catAx>
      <c:valAx>
        <c:axId val="98992128"/>
        <c:scaling>
          <c:orientation val="minMax"/>
          <c:max val="70"/>
          <c:min val="0"/>
        </c:scaling>
        <c:delete val="0"/>
        <c:axPos val="l"/>
        <c:title>
          <c:tx>
            <c:rich>
              <a:bodyPr/>
              <a:lstStyle/>
              <a:p>
                <a:pPr>
                  <a:defRPr sz="1600" b="1" i="0" u="none" strike="noStrike" baseline="0">
                    <a:solidFill>
                      <a:srgbClr val="000000"/>
                    </a:solidFill>
                    <a:latin typeface="Arial"/>
                    <a:ea typeface="Arial"/>
                    <a:cs typeface="Arial"/>
                  </a:defRPr>
                </a:pPr>
                <a:r>
                  <a:rPr lang="en-US" sz="1600" dirty="0"/>
                  <a:t>% Full </a:t>
                </a:r>
                <a:r>
                  <a:rPr lang="en-US" sz="1600" dirty="0" smtClean="0"/>
                  <a:t>immunization </a:t>
                </a:r>
                <a:r>
                  <a:rPr lang="en-US" sz="1600" dirty="0"/>
                  <a:t>in children </a:t>
                </a:r>
                <a:r>
                  <a:rPr lang="en-US" sz="1600" dirty="0" smtClean="0"/>
                  <a:t>12-23 </a:t>
                </a:r>
                <a:r>
                  <a:rPr lang="en-US" sz="1600" dirty="0" err="1" smtClean="0"/>
                  <a:t>monthss</a:t>
                </a:r>
                <a:r>
                  <a:rPr lang="en-US" sz="1600" dirty="0" smtClean="0"/>
                  <a:t> </a:t>
                </a:r>
                <a:r>
                  <a:rPr lang="en-US" sz="1600" dirty="0"/>
                  <a:t>age</a:t>
                </a:r>
              </a:p>
            </c:rich>
          </c:tx>
          <c:layout>
            <c:manualLayout>
              <c:xMode val="edge"/>
              <c:yMode val="edge"/>
              <c:x val="2.2680654850508294E-2"/>
              <c:y val="0.13839619064407818"/>
            </c:manualLayout>
          </c:layout>
          <c:overlay val="0"/>
        </c:title>
        <c:numFmt formatCode="#,##0" sourceLinked="0"/>
        <c:majorTickMark val="out"/>
        <c:minorTickMark val="none"/>
        <c:tickLblPos val="nextTo"/>
        <c:spPr>
          <a:ln w="3102">
            <a:solidFill>
              <a:schemeClr val="tx1"/>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89410944"/>
        <c:crosses val="autoZero"/>
        <c:crossBetween val="between"/>
        <c:majorUnit val="14"/>
        <c:minorUnit val="14"/>
      </c:valAx>
      <c:spPr>
        <a:noFill/>
        <a:ln w="25392">
          <a:noFill/>
        </a:ln>
      </c:spPr>
    </c:plotArea>
    <c:plotVisOnly val="1"/>
    <c:dispBlanksAs val="gap"/>
    <c:showDLblsOverMax val="0"/>
  </c:chart>
  <c:spPr>
    <a:noFill/>
    <a:ln>
      <a:noFill/>
    </a:ln>
  </c:spPr>
  <c:txPr>
    <a:bodyPr/>
    <a:lstStyle/>
    <a:p>
      <a:pPr>
        <a:defRPr sz="1756" b="1" i="0" u="none" strike="noStrike" baseline="0">
          <a:solidFill>
            <a:schemeClr val="tx1"/>
          </a:solidFill>
          <a:latin typeface="Times New Roman"/>
          <a:ea typeface="Times New Roman"/>
          <a:cs typeface="Times New Roman"/>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1A5FC0-F6BB-4BB5-8670-B050B78D9CFF}"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DCA4877C-0008-4ADF-A0E0-6EE1E0F12667}">
      <dgm:prSet custT="1"/>
      <dgm:spPr>
        <a:noFill/>
      </dgm:spPr>
      <dgm:t>
        <a:bodyPr/>
        <a:lstStyle/>
        <a:p>
          <a:pPr algn="ctr" rtl="0"/>
          <a:r>
            <a:rPr lang="en-US" sz="3200" b="1" dirty="0" smtClean="0">
              <a:solidFill>
                <a:srgbClr val="1F02CE"/>
              </a:solidFill>
            </a:rPr>
            <a:t>The Polio Eradication &amp; Endgame Strategic Plan 2013-2018</a:t>
          </a:r>
          <a:endParaRPr lang="en-US" sz="3200" b="1" dirty="0">
            <a:solidFill>
              <a:srgbClr val="1F02CE"/>
            </a:solidFill>
          </a:endParaRPr>
        </a:p>
      </dgm:t>
    </dgm:pt>
    <dgm:pt modelId="{4CE2CAA4-B6C3-497F-BD94-45E15F20709C}" type="parTrans" cxnId="{9003F6AF-572F-4062-A230-20613F8B07DC}">
      <dgm:prSet/>
      <dgm:spPr/>
      <dgm:t>
        <a:bodyPr/>
        <a:lstStyle/>
        <a:p>
          <a:endParaRPr lang="en-US" sz="2000" b="0">
            <a:solidFill>
              <a:srgbClr val="C00000"/>
            </a:solidFill>
          </a:endParaRPr>
        </a:p>
      </dgm:t>
    </dgm:pt>
    <dgm:pt modelId="{9EC97246-F735-484F-A34E-880E31C06830}" type="sibTrans" cxnId="{9003F6AF-572F-4062-A230-20613F8B07DC}">
      <dgm:prSet/>
      <dgm:spPr/>
      <dgm:t>
        <a:bodyPr/>
        <a:lstStyle/>
        <a:p>
          <a:endParaRPr lang="en-US" sz="2000" b="0">
            <a:solidFill>
              <a:srgbClr val="C00000"/>
            </a:solidFill>
          </a:endParaRPr>
        </a:p>
      </dgm:t>
    </dgm:pt>
    <dgm:pt modelId="{E5CAA793-7095-4E43-B26F-781BCFF6FE58}" type="pres">
      <dgm:prSet presAssocID="{7B1A5FC0-F6BB-4BB5-8670-B050B78D9CFF}" presName="linear" presStyleCnt="0">
        <dgm:presLayoutVars>
          <dgm:animLvl val="lvl"/>
          <dgm:resizeHandles val="exact"/>
        </dgm:presLayoutVars>
      </dgm:prSet>
      <dgm:spPr/>
      <dgm:t>
        <a:bodyPr/>
        <a:lstStyle/>
        <a:p>
          <a:endParaRPr lang="en-US"/>
        </a:p>
      </dgm:t>
    </dgm:pt>
    <dgm:pt modelId="{28F510CF-8895-4B96-9E9D-F25CC2EC5274}" type="pres">
      <dgm:prSet presAssocID="{DCA4877C-0008-4ADF-A0E0-6EE1E0F12667}" presName="parentText" presStyleLbl="node1" presStyleIdx="0" presStyleCnt="1">
        <dgm:presLayoutVars>
          <dgm:chMax val="0"/>
          <dgm:bulletEnabled val="1"/>
        </dgm:presLayoutVars>
      </dgm:prSet>
      <dgm:spPr/>
      <dgm:t>
        <a:bodyPr/>
        <a:lstStyle/>
        <a:p>
          <a:endParaRPr lang="en-US"/>
        </a:p>
      </dgm:t>
    </dgm:pt>
  </dgm:ptLst>
  <dgm:cxnLst>
    <dgm:cxn modelId="{9003F6AF-572F-4062-A230-20613F8B07DC}" srcId="{7B1A5FC0-F6BB-4BB5-8670-B050B78D9CFF}" destId="{DCA4877C-0008-4ADF-A0E0-6EE1E0F12667}" srcOrd="0" destOrd="0" parTransId="{4CE2CAA4-B6C3-497F-BD94-45E15F20709C}" sibTransId="{9EC97246-F735-484F-A34E-880E31C06830}"/>
    <dgm:cxn modelId="{D4020B92-15E5-4604-B0AB-2ECFCAA07EDF}" type="presOf" srcId="{7B1A5FC0-F6BB-4BB5-8670-B050B78D9CFF}" destId="{E5CAA793-7095-4E43-B26F-781BCFF6FE58}" srcOrd="0" destOrd="0" presId="urn:microsoft.com/office/officeart/2005/8/layout/vList2"/>
    <dgm:cxn modelId="{A4091843-F922-4AA9-97BB-80235B1F250C}" type="presOf" srcId="{DCA4877C-0008-4ADF-A0E0-6EE1E0F12667}" destId="{28F510CF-8895-4B96-9E9D-F25CC2EC5274}" srcOrd="0" destOrd="0" presId="urn:microsoft.com/office/officeart/2005/8/layout/vList2"/>
    <dgm:cxn modelId="{86770582-C4A8-4A38-8219-E24638B57005}" type="presParOf" srcId="{E5CAA793-7095-4E43-B26F-781BCFF6FE58}" destId="{28F510CF-8895-4B96-9E9D-F25CC2EC5274}"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8E0806A-E08D-B841-B5FC-08272623546C}" type="doc">
      <dgm:prSet loTypeId="urn:microsoft.com/office/officeart/2008/layout/LinedList" loCatId="" qsTypeId="urn:microsoft.com/office/officeart/2005/8/quickstyle/simple4" qsCatId="simple" csTypeId="urn:microsoft.com/office/officeart/2005/8/colors/accent5_2" csCatId="accent5" phldr="1"/>
      <dgm:spPr/>
      <dgm:t>
        <a:bodyPr/>
        <a:lstStyle/>
        <a:p>
          <a:endParaRPr lang="en-US"/>
        </a:p>
      </dgm:t>
    </dgm:pt>
    <dgm:pt modelId="{FF3E87D5-504D-1746-AE25-3A828716CF29}">
      <dgm:prSet phldrT="[Text]" custT="1"/>
      <dgm:spPr/>
      <dgm:t>
        <a:bodyPr/>
        <a:lstStyle/>
        <a:p>
          <a:r>
            <a:rPr lang="en-US" sz="2400" b="1" dirty="0" smtClean="0"/>
            <a:t>STUDY</a:t>
          </a:r>
        </a:p>
        <a:p>
          <a:r>
            <a:rPr lang="en-US" sz="2400" b="1" dirty="0" smtClean="0"/>
            <a:t>FINDINGS</a:t>
          </a:r>
          <a:endParaRPr lang="en-US" sz="2400" b="1" dirty="0"/>
        </a:p>
      </dgm:t>
    </dgm:pt>
    <dgm:pt modelId="{0F6B5794-6774-FF41-B51E-D8FCAC911B85}" type="parTrans" cxnId="{00F5A2A3-31DC-7B4F-9858-EAA920AA4022}">
      <dgm:prSet/>
      <dgm:spPr/>
      <dgm:t>
        <a:bodyPr/>
        <a:lstStyle/>
        <a:p>
          <a:endParaRPr lang="en-US"/>
        </a:p>
      </dgm:t>
    </dgm:pt>
    <dgm:pt modelId="{016BE94B-945C-3942-911B-4ED251BA2FF9}" type="sibTrans" cxnId="{00F5A2A3-31DC-7B4F-9858-EAA920AA4022}">
      <dgm:prSet/>
      <dgm:spPr/>
      <dgm:t>
        <a:bodyPr/>
        <a:lstStyle/>
        <a:p>
          <a:endParaRPr lang="en-US"/>
        </a:p>
      </dgm:t>
    </dgm:pt>
    <dgm:pt modelId="{0287F5E0-5DAA-B040-98F7-B6E3E59259B5}">
      <dgm:prSet phldrT="[Text]" custT="1"/>
      <dgm:spPr/>
      <dgm:t>
        <a:bodyPr/>
        <a:lstStyle/>
        <a:p>
          <a:r>
            <a:rPr lang="en-US" sz="2400" dirty="0" smtClean="0"/>
            <a:t>A dose of IPV given to children aged 1–4 years previously vaccinated with OPV substantially increased </a:t>
          </a:r>
          <a:r>
            <a:rPr lang="en-US" sz="2400" dirty="0" err="1" smtClean="0"/>
            <a:t>humoral</a:t>
          </a:r>
          <a:r>
            <a:rPr lang="en-US" sz="2400" dirty="0" smtClean="0"/>
            <a:t> and intestinal mucosal immunity to poliovirus</a:t>
          </a:r>
          <a:endParaRPr lang="en-US" sz="2400" dirty="0"/>
        </a:p>
      </dgm:t>
    </dgm:pt>
    <dgm:pt modelId="{16F043C3-FE02-3D4A-8567-D9EFA16C2645}" type="parTrans" cxnId="{2C219BA9-F124-4F43-8741-91FD04D533D0}">
      <dgm:prSet/>
      <dgm:spPr/>
      <dgm:t>
        <a:bodyPr/>
        <a:lstStyle/>
        <a:p>
          <a:endParaRPr lang="en-US"/>
        </a:p>
      </dgm:t>
    </dgm:pt>
    <dgm:pt modelId="{EDF92A31-34AA-BA45-AE71-BFDFC8465794}" type="sibTrans" cxnId="{2C219BA9-F124-4F43-8741-91FD04D533D0}">
      <dgm:prSet/>
      <dgm:spPr/>
      <dgm:t>
        <a:bodyPr/>
        <a:lstStyle/>
        <a:p>
          <a:endParaRPr lang="en-US"/>
        </a:p>
      </dgm:t>
    </dgm:pt>
    <dgm:pt modelId="{C37F41CF-FB74-A149-A572-D99B093FD2A0}">
      <dgm:prSet phldrT="[Text]" custT="1"/>
      <dgm:spPr/>
      <dgm:t>
        <a:bodyPr/>
        <a:lstStyle/>
        <a:p>
          <a:r>
            <a:rPr lang="en-US" sz="2400" dirty="0" smtClean="0"/>
            <a:t>Serum neutralizing antibodies were substantially increased and these children were signiﬁcantly less likely to shed poliovirus after challenge with bOPV</a:t>
          </a:r>
          <a:endParaRPr lang="en-US" sz="2400" dirty="0"/>
        </a:p>
      </dgm:t>
    </dgm:pt>
    <dgm:pt modelId="{EB698FA2-A94E-DC4D-AA5E-8353CF8A89B5}" type="parTrans" cxnId="{103B167F-E096-B944-9182-2B2BC8C52E52}">
      <dgm:prSet/>
      <dgm:spPr/>
      <dgm:t>
        <a:bodyPr/>
        <a:lstStyle/>
        <a:p>
          <a:endParaRPr lang="en-US"/>
        </a:p>
      </dgm:t>
    </dgm:pt>
    <dgm:pt modelId="{EF94A0EA-7864-AD4B-BA71-AAA81CE1CCF7}" type="sibTrans" cxnId="{103B167F-E096-B944-9182-2B2BC8C52E52}">
      <dgm:prSet/>
      <dgm:spPr/>
      <dgm:t>
        <a:bodyPr/>
        <a:lstStyle/>
        <a:p>
          <a:endParaRPr lang="en-US"/>
        </a:p>
      </dgm:t>
    </dgm:pt>
    <dgm:pt modelId="{BABE27CF-7FBA-CB4F-A49A-E5696F1BF95D}" type="pres">
      <dgm:prSet presAssocID="{88E0806A-E08D-B841-B5FC-08272623546C}" presName="vert0" presStyleCnt="0">
        <dgm:presLayoutVars>
          <dgm:dir/>
          <dgm:animOne val="branch"/>
          <dgm:animLvl val="lvl"/>
        </dgm:presLayoutVars>
      </dgm:prSet>
      <dgm:spPr/>
      <dgm:t>
        <a:bodyPr/>
        <a:lstStyle/>
        <a:p>
          <a:endParaRPr lang="en-US"/>
        </a:p>
      </dgm:t>
    </dgm:pt>
    <dgm:pt modelId="{7005C3D2-1E24-584B-B7FC-1A2CDF7CB943}" type="pres">
      <dgm:prSet presAssocID="{FF3E87D5-504D-1746-AE25-3A828716CF29}" presName="thickLine" presStyleLbl="alignNode1" presStyleIdx="0" presStyleCnt="1"/>
      <dgm:spPr/>
    </dgm:pt>
    <dgm:pt modelId="{62405ED8-C319-0E4D-BAB6-388982A8676E}" type="pres">
      <dgm:prSet presAssocID="{FF3E87D5-504D-1746-AE25-3A828716CF29}" presName="horz1" presStyleCnt="0"/>
      <dgm:spPr/>
    </dgm:pt>
    <dgm:pt modelId="{59F45931-32F4-5341-98C3-F683142F98EE}" type="pres">
      <dgm:prSet presAssocID="{FF3E87D5-504D-1746-AE25-3A828716CF29}" presName="tx1" presStyleLbl="revTx" presStyleIdx="0" presStyleCnt="3"/>
      <dgm:spPr/>
      <dgm:t>
        <a:bodyPr/>
        <a:lstStyle/>
        <a:p>
          <a:endParaRPr lang="en-US"/>
        </a:p>
      </dgm:t>
    </dgm:pt>
    <dgm:pt modelId="{B6FE885E-109B-5E42-B891-903237EBBD7C}" type="pres">
      <dgm:prSet presAssocID="{FF3E87D5-504D-1746-AE25-3A828716CF29}" presName="vert1" presStyleCnt="0"/>
      <dgm:spPr/>
    </dgm:pt>
    <dgm:pt modelId="{33C7C5B1-F82A-BD40-855E-249AAE4D4D57}" type="pres">
      <dgm:prSet presAssocID="{0287F5E0-5DAA-B040-98F7-B6E3E59259B5}" presName="vertSpace2a" presStyleCnt="0"/>
      <dgm:spPr/>
    </dgm:pt>
    <dgm:pt modelId="{F75DF43B-E7B0-5145-98EB-B56A6DAD2A0B}" type="pres">
      <dgm:prSet presAssocID="{0287F5E0-5DAA-B040-98F7-B6E3E59259B5}" presName="horz2" presStyleCnt="0"/>
      <dgm:spPr/>
    </dgm:pt>
    <dgm:pt modelId="{F43320EF-6F0C-E042-A842-C1B1FA7231B5}" type="pres">
      <dgm:prSet presAssocID="{0287F5E0-5DAA-B040-98F7-B6E3E59259B5}" presName="horzSpace2" presStyleCnt="0"/>
      <dgm:spPr/>
    </dgm:pt>
    <dgm:pt modelId="{27AD6512-005C-F34E-BB08-D08079210BFF}" type="pres">
      <dgm:prSet presAssocID="{0287F5E0-5DAA-B040-98F7-B6E3E59259B5}" presName="tx2" presStyleLbl="revTx" presStyleIdx="1" presStyleCnt="3"/>
      <dgm:spPr/>
      <dgm:t>
        <a:bodyPr/>
        <a:lstStyle/>
        <a:p>
          <a:endParaRPr lang="en-US"/>
        </a:p>
      </dgm:t>
    </dgm:pt>
    <dgm:pt modelId="{4ED170A7-7A09-E142-8692-BAD8D6A4F86F}" type="pres">
      <dgm:prSet presAssocID="{0287F5E0-5DAA-B040-98F7-B6E3E59259B5}" presName="vert2" presStyleCnt="0"/>
      <dgm:spPr/>
    </dgm:pt>
    <dgm:pt modelId="{67281D1A-5331-1D4A-A140-1624993C5529}" type="pres">
      <dgm:prSet presAssocID="{0287F5E0-5DAA-B040-98F7-B6E3E59259B5}" presName="thinLine2b" presStyleLbl="callout" presStyleIdx="0" presStyleCnt="2"/>
      <dgm:spPr/>
    </dgm:pt>
    <dgm:pt modelId="{3F92338B-DD2F-DD48-887F-B100F1E1714B}" type="pres">
      <dgm:prSet presAssocID="{0287F5E0-5DAA-B040-98F7-B6E3E59259B5}" presName="vertSpace2b" presStyleCnt="0"/>
      <dgm:spPr/>
    </dgm:pt>
    <dgm:pt modelId="{79C6894E-6E9A-DC42-8495-D9D98D117B82}" type="pres">
      <dgm:prSet presAssocID="{C37F41CF-FB74-A149-A572-D99B093FD2A0}" presName="horz2" presStyleCnt="0"/>
      <dgm:spPr/>
    </dgm:pt>
    <dgm:pt modelId="{EB2CD863-F5C8-FA45-A7A8-E722AE32C212}" type="pres">
      <dgm:prSet presAssocID="{C37F41CF-FB74-A149-A572-D99B093FD2A0}" presName="horzSpace2" presStyleCnt="0"/>
      <dgm:spPr/>
    </dgm:pt>
    <dgm:pt modelId="{09EEC4DF-314D-FF4A-9135-3AB16F4C9153}" type="pres">
      <dgm:prSet presAssocID="{C37F41CF-FB74-A149-A572-D99B093FD2A0}" presName="tx2" presStyleLbl="revTx" presStyleIdx="2" presStyleCnt="3"/>
      <dgm:spPr/>
      <dgm:t>
        <a:bodyPr/>
        <a:lstStyle/>
        <a:p>
          <a:endParaRPr lang="en-US"/>
        </a:p>
      </dgm:t>
    </dgm:pt>
    <dgm:pt modelId="{1A0DB183-9F10-654E-B905-0694CD4373F2}" type="pres">
      <dgm:prSet presAssocID="{C37F41CF-FB74-A149-A572-D99B093FD2A0}" presName="vert2" presStyleCnt="0"/>
      <dgm:spPr/>
    </dgm:pt>
    <dgm:pt modelId="{DEE1C1CD-0A36-1A48-B0C4-18ECD3A2350B}" type="pres">
      <dgm:prSet presAssocID="{C37F41CF-FB74-A149-A572-D99B093FD2A0}" presName="thinLine2b" presStyleLbl="callout" presStyleIdx="1" presStyleCnt="2"/>
      <dgm:spPr/>
    </dgm:pt>
    <dgm:pt modelId="{3662BB59-AB63-A648-A656-C3747D295873}" type="pres">
      <dgm:prSet presAssocID="{C37F41CF-FB74-A149-A572-D99B093FD2A0}" presName="vertSpace2b" presStyleCnt="0"/>
      <dgm:spPr/>
    </dgm:pt>
  </dgm:ptLst>
  <dgm:cxnLst>
    <dgm:cxn modelId="{00F5A2A3-31DC-7B4F-9858-EAA920AA4022}" srcId="{88E0806A-E08D-B841-B5FC-08272623546C}" destId="{FF3E87D5-504D-1746-AE25-3A828716CF29}" srcOrd="0" destOrd="0" parTransId="{0F6B5794-6774-FF41-B51E-D8FCAC911B85}" sibTransId="{016BE94B-945C-3942-911B-4ED251BA2FF9}"/>
    <dgm:cxn modelId="{020C48A1-D170-46D3-A8D0-6C58318F2ACA}" type="presOf" srcId="{FF3E87D5-504D-1746-AE25-3A828716CF29}" destId="{59F45931-32F4-5341-98C3-F683142F98EE}" srcOrd="0" destOrd="0" presId="urn:microsoft.com/office/officeart/2008/layout/LinedList"/>
    <dgm:cxn modelId="{103B167F-E096-B944-9182-2B2BC8C52E52}" srcId="{FF3E87D5-504D-1746-AE25-3A828716CF29}" destId="{C37F41CF-FB74-A149-A572-D99B093FD2A0}" srcOrd="1" destOrd="0" parTransId="{EB698FA2-A94E-DC4D-AA5E-8353CF8A89B5}" sibTransId="{EF94A0EA-7864-AD4B-BA71-AAA81CE1CCF7}"/>
    <dgm:cxn modelId="{6203E22A-0A1D-4E35-8931-74342DBF8E2C}" type="presOf" srcId="{C37F41CF-FB74-A149-A572-D99B093FD2A0}" destId="{09EEC4DF-314D-FF4A-9135-3AB16F4C9153}" srcOrd="0" destOrd="0" presId="urn:microsoft.com/office/officeart/2008/layout/LinedList"/>
    <dgm:cxn modelId="{2C219BA9-F124-4F43-8741-91FD04D533D0}" srcId="{FF3E87D5-504D-1746-AE25-3A828716CF29}" destId="{0287F5E0-5DAA-B040-98F7-B6E3E59259B5}" srcOrd="0" destOrd="0" parTransId="{16F043C3-FE02-3D4A-8567-D9EFA16C2645}" sibTransId="{EDF92A31-34AA-BA45-AE71-BFDFC8465794}"/>
    <dgm:cxn modelId="{9176475D-AD54-443E-8BE1-484BFE51C70C}" type="presOf" srcId="{88E0806A-E08D-B841-B5FC-08272623546C}" destId="{BABE27CF-7FBA-CB4F-A49A-E5696F1BF95D}" srcOrd="0" destOrd="0" presId="urn:microsoft.com/office/officeart/2008/layout/LinedList"/>
    <dgm:cxn modelId="{CAB6D28D-5615-412F-9E5E-4C7191267461}" type="presOf" srcId="{0287F5E0-5DAA-B040-98F7-B6E3E59259B5}" destId="{27AD6512-005C-F34E-BB08-D08079210BFF}" srcOrd="0" destOrd="0" presId="urn:microsoft.com/office/officeart/2008/layout/LinedList"/>
    <dgm:cxn modelId="{3CDF47A7-5281-4E1D-9770-00A52351DF93}" type="presParOf" srcId="{BABE27CF-7FBA-CB4F-A49A-E5696F1BF95D}" destId="{7005C3D2-1E24-584B-B7FC-1A2CDF7CB943}" srcOrd="0" destOrd="0" presId="urn:microsoft.com/office/officeart/2008/layout/LinedList"/>
    <dgm:cxn modelId="{E2781A62-BD85-438B-98D1-C98A7EDF542E}" type="presParOf" srcId="{BABE27CF-7FBA-CB4F-A49A-E5696F1BF95D}" destId="{62405ED8-C319-0E4D-BAB6-388982A8676E}" srcOrd="1" destOrd="0" presId="urn:microsoft.com/office/officeart/2008/layout/LinedList"/>
    <dgm:cxn modelId="{C6D1266E-4C7D-407C-BABB-E125F361EF13}" type="presParOf" srcId="{62405ED8-C319-0E4D-BAB6-388982A8676E}" destId="{59F45931-32F4-5341-98C3-F683142F98EE}" srcOrd="0" destOrd="0" presId="urn:microsoft.com/office/officeart/2008/layout/LinedList"/>
    <dgm:cxn modelId="{E7DE6FD8-3C57-493D-AB93-90B76B07BA26}" type="presParOf" srcId="{62405ED8-C319-0E4D-BAB6-388982A8676E}" destId="{B6FE885E-109B-5E42-B891-903237EBBD7C}" srcOrd="1" destOrd="0" presId="urn:microsoft.com/office/officeart/2008/layout/LinedList"/>
    <dgm:cxn modelId="{9841DB45-A873-48D8-8917-793BAD79521F}" type="presParOf" srcId="{B6FE885E-109B-5E42-B891-903237EBBD7C}" destId="{33C7C5B1-F82A-BD40-855E-249AAE4D4D57}" srcOrd="0" destOrd="0" presId="urn:microsoft.com/office/officeart/2008/layout/LinedList"/>
    <dgm:cxn modelId="{12FCA6E5-D09A-4EB5-B26E-F419831C04F4}" type="presParOf" srcId="{B6FE885E-109B-5E42-B891-903237EBBD7C}" destId="{F75DF43B-E7B0-5145-98EB-B56A6DAD2A0B}" srcOrd="1" destOrd="0" presId="urn:microsoft.com/office/officeart/2008/layout/LinedList"/>
    <dgm:cxn modelId="{F05723F3-290C-4936-B3D8-91ACA20DFBA0}" type="presParOf" srcId="{F75DF43B-E7B0-5145-98EB-B56A6DAD2A0B}" destId="{F43320EF-6F0C-E042-A842-C1B1FA7231B5}" srcOrd="0" destOrd="0" presId="urn:microsoft.com/office/officeart/2008/layout/LinedList"/>
    <dgm:cxn modelId="{6F5F0DAF-8F3E-4047-9B92-D9888CF920B1}" type="presParOf" srcId="{F75DF43B-E7B0-5145-98EB-B56A6DAD2A0B}" destId="{27AD6512-005C-F34E-BB08-D08079210BFF}" srcOrd="1" destOrd="0" presId="urn:microsoft.com/office/officeart/2008/layout/LinedList"/>
    <dgm:cxn modelId="{C8A5F22A-E013-4195-AEB0-3B4E609BB6A0}" type="presParOf" srcId="{F75DF43B-E7B0-5145-98EB-B56A6DAD2A0B}" destId="{4ED170A7-7A09-E142-8692-BAD8D6A4F86F}" srcOrd="2" destOrd="0" presId="urn:microsoft.com/office/officeart/2008/layout/LinedList"/>
    <dgm:cxn modelId="{96C26CB9-D662-4BDA-81CA-3AF441A94082}" type="presParOf" srcId="{B6FE885E-109B-5E42-B891-903237EBBD7C}" destId="{67281D1A-5331-1D4A-A140-1624993C5529}" srcOrd="2" destOrd="0" presId="urn:microsoft.com/office/officeart/2008/layout/LinedList"/>
    <dgm:cxn modelId="{13F0AD18-856C-414A-9964-38A7B7F278CA}" type="presParOf" srcId="{B6FE885E-109B-5E42-B891-903237EBBD7C}" destId="{3F92338B-DD2F-DD48-887F-B100F1E1714B}" srcOrd="3" destOrd="0" presId="urn:microsoft.com/office/officeart/2008/layout/LinedList"/>
    <dgm:cxn modelId="{BE0927C7-69AB-458B-AA2F-9A4AE0994962}" type="presParOf" srcId="{B6FE885E-109B-5E42-B891-903237EBBD7C}" destId="{79C6894E-6E9A-DC42-8495-D9D98D117B82}" srcOrd="4" destOrd="0" presId="urn:microsoft.com/office/officeart/2008/layout/LinedList"/>
    <dgm:cxn modelId="{8E389FAC-021C-4155-95B9-A41F3CF91BD6}" type="presParOf" srcId="{79C6894E-6E9A-DC42-8495-D9D98D117B82}" destId="{EB2CD863-F5C8-FA45-A7A8-E722AE32C212}" srcOrd="0" destOrd="0" presId="urn:microsoft.com/office/officeart/2008/layout/LinedList"/>
    <dgm:cxn modelId="{D17745AD-42AD-41D4-932E-9666C102C83A}" type="presParOf" srcId="{79C6894E-6E9A-DC42-8495-D9D98D117B82}" destId="{09EEC4DF-314D-FF4A-9135-3AB16F4C9153}" srcOrd="1" destOrd="0" presId="urn:microsoft.com/office/officeart/2008/layout/LinedList"/>
    <dgm:cxn modelId="{69646916-232B-444A-8704-B2D230F12504}" type="presParOf" srcId="{79C6894E-6E9A-DC42-8495-D9D98D117B82}" destId="{1A0DB183-9F10-654E-B905-0694CD4373F2}" srcOrd="2" destOrd="0" presId="urn:microsoft.com/office/officeart/2008/layout/LinedList"/>
    <dgm:cxn modelId="{207EB55D-6540-4B6E-B54A-BD94720933E5}" type="presParOf" srcId="{B6FE885E-109B-5E42-B891-903237EBBD7C}" destId="{DEE1C1CD-0A36-1A48-B0C4-18ECD3A2350B}" srcOrd="5" destOrd="0" presId="urn:microsoft.com/office/officeart/2008/layout/LinedList"/>
    <dgm:cxn modelId="{30C37B2D-7874-44AE-B84B-8B6FC839D3EA}" type="presParOf" srcId="{B6FE885E-109B-5E42-B891-903237EBBD7C}" destId="{3662BB59-AB63-A648-A656-C3747D295873}" srcOrd="6"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B896ECC-F992-4EE8-92A4-E1E817B4846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B59B8AF-19EE-4A02-AA27-6CA177945EB0}">
      <dgm:prSet/>
      <dgm:spPr>
        <a:noFill/>
      </dgm:spPr>
      <dgm:t>
        <a:bodyPr/>
        <a:lstStyle/>
        <a:p>
          <a:pPr algn="ctr" rtl="0"/>
          <a:r>
            <a:rPr lang="en-GB" dirty="0" smtClean="0">
              <a:solidFill>
                <a:srgbClr val="C00000"/>
              </a:solidFill>
            </a:rPr>
            <a:t>Single dose IPV introduction in routine schedule eliminated VAPP in Hungary (Data:1961-2011)</a:t>
          </a:r>
          <a:endParaRPr lang="en-US" dirty="0">
            <a:solidFill>
              <a:srgbClr val="C00000"/>
            </a:solidFill>
          </a:endParaRPr>
        </a:p>
      </dgm:t>
    </dgm:pt>
    <dgm:pt modelId="{FE094730-B0D0-470D-98F3-FF5973396F91}" type="parTrans" cxnId="{A7C5D5AB-F06B-47B3-BAE0-F9A92921F609}">
      <dgm:prSet/>
      <dgm:spPr/>
      <dgm:t>
        <a:bodyPr/>
        <a:lstStyle/>
        <a:p>
          <a:endParaRPr lang="en-US">
            <a:solidFill>
              <a:srgbClr val="C00000"/>
            </a:solidFill>
          </a:endParaRPr>
        </a:p>
      </dgm:t>
    </dgm:pt>
    <dgm:pt modelId="{BCF92A2C-564B-47E5-90D5-8011CCE3874F}" type="sibTrans" cxnId="{A7C5D5AB-F06B-47B3-BAE0-F9A92921F609}">
      <dgm:prSet/>
      <dgm:spPr/>
      <dgm:t>
        <a:bodyPr/>
        <a:lstStyle/>
        <a:p>
          <a:endParaRPr lang="en-US">
            <a:solidFill>
              <a:srgbClr val="C00000"/>
            </a:solidFill>
          </a:endParaRPr>
        </a:p>
      </dgm:t>
    </dgm:pt>
    <dgm:pt modelId="{ACAA341A-32AB-47DD-A135-8F0CA0AE1581}" type="pres">
      <dgm:prSet presAssocID="{EB896ECC-F992-4EE8-92A4-E1E817B48461}" presName="linear" presStyleCnt="0">
        <dgm:presLayoutVars>
          <dgm:animLvl val="lvl"/>
          <dgm:resizeHandles val="exact"/>
        </dgm:presLayoutVars>
      </dgm:prSet>
      <dgm:spPr/>
      <dgm:t>
        <a:bodyPr/>
        <a:lstStyle/>
        <a:p>
          <a:endParaRPr lang="en-US"/>
        </a:p>
      </dgm:t>
    </dgm:pt>
    <dgm:pt modelId="{23A40FE0-1355-4821-801B-D60749E76C19}" type="pres">
      <dgm:prSet presAssocID="{0B59B8AF-19EE-4A02-AA27-6CA177945EB0}" presName="parentText" presStyleLbl="node1" presStyleIdx="0" presStyleCnt="1">
        <dgm:presLayoutVars>
          <dgm:chMax val="0"/>
          <dgm:bulletEnabled val="1"/>
        </dgm:presLayoutVars>
      </dgm:prSet>
      <dgm:spPr/>
      <dgm:t>
        <a:bodyPr/>
        <a:lstStyle/>
        <a:p>
          <a:endParaRPr lang="en-US"/>
        </a:p>
      </dgm:t>
    </dgm:pt>
  </dgm:ptLst>
  <dgm:cxnLst>
    <dgm:cxn modelId="{A7C5D5AB-F06B-47B3-BAE0-F9A92921F609}" srcId="{EB896ECC-F992-4EE8-92A4-E1E817B48461}" destId="{0B59B8AF-19EE-4A02-AA27-6CA177945EB0}" srcOrd="0" destOrd="0" parTransId="{FE094730-B0D0-470D-98F3-FF5973396F91}" sibTransId="{BCF92A2C-564B-47E5-90D5-8011CCE3874F}"/>
    <dgm:cxn modelId="{FCA11F84-9BDA-46AE-967D-3077C860F9ED}" type="presOf" srcId="{EB896ECC-F992-4EE8-92A4-E1E817B48461}" destId="{ACAA341A-32AB-47DD-A135-8F0CA0AE1581}" srcOrd="0" destOrd="0" presId="urn:microsoft.com/office/officeart/2005/8/layout/vList2"/>
    <dgm:cxn modelId="{7A033326-6D88-4651-B9D4-BE5819053BCC}" type="presOf" srcId="{0B59B8AF-19EE-4A02-AA27-6CA177945EB0}" destId="{23A40FE0-1355-4821-801B-D60749E76C19}" srcOrd="0" destOrd="0" presId="urn:microsoft.com/office/officeart/2005/8/layout/vList2"/>
    <dgm:cxn modelId="{077FA780-6B97-4ED2-88D7-E64E4674E195}" type="presParOf" srcId="{ACAA341A-32AB-47DD-A135-8F0CA0AE1581}" destId="{23A40FE0-1355-4821-801B-D60749E76C19}" srcOrd="0" destOrd="0" presId="urn:microsoft.com/office/officeart/2005/8/layout/vList2"/>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81B3E65-BD49-47FE-AEC2-ABB40528DC29}"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E3812AF7-82DF-44FB-B124-561B14FCEF16}">
      <dgm:prSet custT="1"/>
      <dgm:spPr>
        <a:noFill/>
      </dgm:spPr>
      <dgm:t>
        <a:bodyPr/>
        <a:lstStyle/>
        <a:p>
          <a:pPr algn="ctr" rtl="0"/>
          <a:r>
            <a:rPr lang="en-US" sz="4800" b="1" dirty="0" smtClean="0">
              <a:solidFill>
                <a:schemeClr val="bg1">
                  <a:lumMod val="10000"/>
                  <a:lumOff val="90000"/>
                </a:schemeClr>
              </a:solidFill>
            </a:rPr>
            <a:t>The approach</a:t>
          </a:r>
          <a:endParaRPr lang="en-US" sz="4800" b="1" dirty="0">
            <a:solidFill>
              <a:schemeClr val="bg1">
                <a:lumMod val="10000"/>
                <a:lumOff val="90000"/>
              </a:schemeClr>
            </a:solidFill>
          </a:endParaRPr>
        </a:p>
      </dgm:t>
    </dgm:pt>
    <dgm:pt modelId="{032F7972-6D19-4EEB-BCA0-90A726CF23F7}" type="parTrans" cxnId="{DEC0996C-DDD0-4583-A916-63A16D76D4C0}">
      <dgm:prSet/>
      <dgm:spPr/>
      <dgm:t>
        <a:bodyPr/>
        <a:lstStyle/>
        <a:p>
          <a:endParaRPr lang="en-US" sz="2400" b="1">
            <a:solidFill>
              <a:schemeClr val="bg1">
                <a:lumMod val="10000"/>
                <a:lumOff val="90000"/>
              </a:schemeClr>
            </a:solidFill>
          </a:endParaRPr>
        </a:p>
      </dgm:t>
    </dgm:pt>
    <dgm:pt modelId="{701D2A22-70A2-4526-A484-6D9FF392D83C}" type="sibTrans" cxnId="{DEC0996C-DDD0-4583-A916-63A16D76D4C0}">
      <dgm:prSet/>
      <dgm:spPr/>
      <dgm:t>
        <a:bodyPr/>
        <a:lstStyle/>
        <a:p>
          <a:endParaRPr lang="en-US" sz="2400" b="1">
            <a:solidFill>
              <a:schemeClr val="bg1">
                <a:lumMod val="10000"/>
                <a:lumOff val="90000"/>
              </a:schemeClr>
            </a:solidFill>
          </a:endParaRPr>
        </a:p>
      </dgm:t>
    </dgm:pt>
    <dgm:pt modelId="{F04356AA-9740-41EC-A0B4-B6C7D49DE776}" type="pres">
      <dgm:prSet presAssocID="{C81B3E65-BD49-47FE-AEC2-ABB40528DC29}" presName="linear" presStyleCnt="0">
        <dgm:presLayoutVars>
          <dgm:animLvl val="lvl"/>
          <dgm:resizeHandles val="exact"/>
        </dgm:presLayoutVars>
      </dgm:prSet>
      <dgm:spPr/>
      <dgm:t>
        <a:bodyPr/>
        <a:lstStyle/>
        <a:p>
          <a:endParaRPr lang="en-US"/>
        </a:p>
      </dgm:t>
    </dgm:pt>
    <dgm:pt modelId="{1E13AEAE-43ED-4928-86A2-4DD73D1D17F4}" type="pres">
      <dgm:prSet presAssocID="{E3812AF7-82DF-44FB-B124-561B14FCEF16}" presName="parentText" presStyleLbl="node1" presStyleIdx="0" presStyleCnt="1">
        <dgm:presLayoutVars>
          <dgm:chMax val="0"/>
          <dgm:bulletEnabled val="1"/>
        </dgm:presLayoutVars>
      </dgm:prSet>
      <dgm:spPr/>
      <dgm:t>
        <a:bodyPr/>
        <a:lstStyle/>
        <a:p>
          <a:endParaRPr lang="en-US"/>
        </a:p>
      </dgm:t>
    </dgm:pt>
  </dgm:ptLst>
  <dgm:cxnLst>
    <dgm:cxn modelId="{DEC0996C-DDD0-4583-A916-63A16D76D4C0}" srcId="{C81B3E65-BD49-47FE-AEC2-ABB40528DC29}" destId="{E3812AF7-82DF-44FB-B124-561B14FCEF16}" srcOrd="0" destOrd="0" parTransId="{032F7972-6D19-4EEB-BCA0-90A726CF23F7}" sibTransId="{701D2A22-70A2-4526-A484-6D9FF392D83C}"/>
    <dgm:cxn modelId="{C37FE81B-7155-47FA-958A-1A6045BFCA35}" type="presOf" srcId="{C81B3E65-BD49-47FE-AEC2-ABB40528DC29}" destId="{F04356AA-9740-41EC-A0B4-B6C7D49DE776}" srcOrd="0" destOrd="0" presId="urn:microsoft.com/office/officeart/2005/8/layout/vList2"/>
    <dgm:cxn modelId="{A26AE876-A050-46FF-BA4B-FEB7B35212F0}" type="presOf" srcId="{E3812AF7-82DF-44FB-B124-561B14FCEF16}" destId="{1E13AEAE-43ED-4928-86A2-4DD73D1D17F4}" srcOrd="0" destOrd="0" presId="urn:microsoft.com/office/officeart/2005/8/layout/vList2"/>
    <dgm:cxn modelId="{1E05F6FC-164B-4B0F-B623-E67FCB7B0E05}" type="presParOf" srcId="{F04356AA-9740-41EC-A0B4-B6C7D49DE776}" destId="{1E13AEAE-43ED-4928-86A2-4DD73D1D17F4}" srcOrd="0" destOrd="0" presId="urn:microsoft.com/office/officeart/2005/8/layout/vList2"/>
  </dgm:cxnLst>
  <dgm:bg>
    <a:solidFill>
      <a:srgbClr val="7030A0"/>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897FCE8-B210-46E9-BCA5-3D9F39781291}"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7E9E67ED-3A10-47F0-9A4E-AC280E9B8D64}">
      <dgm:prSet/>
      <dgm:spPr>
        <a:noFill/>
      </dgm:spPr>
      <dgm:t>
        <a:bodyPr/>
        <a:lstStyle/>
        <a:p>
          <a:pPr algn="ctr" rtl="0"/>
          <a:r>
            <a:rPr lang="en-US" dirty="0" smtClean="0">
              <a:solidFill>
                <a:schemeClr val="bg1">
                  <a:lumMod val="10000"/>
                  <a:lumOff val="90000"/>
                </a:schemeClr>
              </a:solidFill>
            </a:rPr>
            <a:t>Recommended IPV Schedule*</a:t>
          </a:r>
          <a:endParaRPr lang="en-US" dirty="0">
            <a:solidFill>
              <a:schemeClr val="bg1">
                <a:lumMod val="10000"/>
                <a:lumOff val="90000"/>
              </a:schemeClr>
            </a:solidFill>
          </a:endParaRPr>
        </a:p>
      </dgm:t>
    </dgm:pt>
    <dgm:pt modelId="{27C3627B-569F-4E57-814F-D12C9CF2514A}" type="parTrans" cxnId="{1E160BBA-359B-4CA0-A3CE-CF3A2999F928}">
      <dgm:prSet/>
      <dgm:spPr/>
      <dgm:t>
        <a:bodyPr/>
        <a:lstStyle/>
        <a:p>
          <a:pPr algn="ctr"/>
          <a:endParaRPr lang="en-US">
            <a:solidFill>
              <a:schemeClr val="bg1">
                <a:lumMod val="10000"/>
                <a:lumOff val="90000"/>
              </a:schemeClr>
            </a:solidFill>
          </a:endParaRPr>
        </a:p>
      </dgm:t>
    </dgm:pt>
    <dgm:pt modelId="{9C541D6D-DE5B-4816-B685-6D1C7F9A160C}" type="sibTrans" cxnId="{1E160BBA-359B-4CA0-A3CE-CF3A2999F928}">
      <dgm:prSet/>
      <dgm:spPr/>
      <dgm:t>
        <a:bodyPr/>
        <a:lstStyle/>
        <a:p>
          <a:pPr algn="ctr"/>
          <a:endParaRPr lang="en-US">
            <a:solidFill>
              <a:schemeClr val="bg1">
                <a:lumMod val="10000"/>
                <a:lumOff val="90000"/>
              </a:schemeClr>
            </a:solidFill>
          </a:endParaRPr>
        </a:p>
      </dgm:t>
    </dgm:pt>
    <dgm:pt modelId="{6705AFE3-53F0-489E-B013-F62248C6FCB7}" type="pres">
      <dgm:prSet presAssocID="{7897FCE8-B210-46E9-BCA5-3D9F39781291}" presName="linear" presStyleCnt="0">
        <dgm:presLayoutVars>
          <dgm:animLvl val="lvl"/>
          <dgm:resizeHandles val="exact"/>
        </dgm:presLayoutVars>
      </dgm:prSet>
      <dgm:spPr/>
      <dgm:t>
        <a:bodyPr/>
        <a:lstStyle/>
        <a:p>
          <a:endParaRPr lang="en-US"/>
        </a:p>
      </dgm:t>
    </dgm:pt>
    <dgm:pt modelId="{B6738BC8-3C90-4FF3-90F9-E06D51F6C092}" type="pres">
      <dgm:prSet presAssocID="{7E9E67ED-3A10-47F0-9A4E-AC280E9B8D64}" presName="parentText" presStyleLbl="node1" presStyleIdx="0" presStyleCnt="1">
        <dgm:presLayoutVars>
          <dgm:chMax val="0"/>
          <dgm:bulletEnabled val="1"/>
        </dgm:presLayoutVars>
      </dgm:prSet>
      <dgm:spPr/>
      <dgm:t>
        <a:bodyPr/>
        <a:lstStyle/>
        <a:p>
          <a:endParaRPr lang="en-US"/>
        </a:p>
      </dgm:t>
    </dgm:pt>
  </dgm:ptLst>
  <dgm:cxnLst>
    <dgm:cxn modelId="{1E160BBA-359B-4CA0-A3CE-CF3A2999F928}" srcId="{7897FCE8-B210-46E9-BCA5-3D9F39781291}" destId="{7E9E67ED-3A10-47F0-9A4E-AC280E9B8D64}" srcOrd="0" destOrd="0" parTransId="{27C3627B-569F-4E57-814F-D12C9CF2514A}" sibTransId="{9C541D6D-DE5B-4816-B685-6D1C7F9A160C}"/>
    <dgm:cxn modelId="{A0226A58-A92A-4BFF-BE5C-7205246E854C}" type="presOf" srcId="{7E9E67ED-3A10-47F0-9A4E-AC280E9B8D64}" destId="{B6738BC8-3C90-4FF3-90F9-E06D51F6C092}" srcOrd="0" destOrd="0" presId="urn:microsoft.com/office/officeart/2005/8/layout/vList2"/>
    <dgm:cxn modelId="{14F2E1A3-584B-4DA2-AD88-3AD78FB402F6}" type="presOf" srcId="{7897FCE8-B210-46E9-BCA5-3D9F39781291}" destId="{6705AFE3-53F0-489E-B013-F62248C6FCB7}" srcOrd="0" destOrd="0" presId="urn:microsoft.com/office/officeart/2005/8/layout/vList2"/>
    <dgm:cxn modelId="{1C8DBB15-DF0A-4A47-A113-F128CE368A7F}" type="presParOf" srcId="{6705AFE3-53F0-489E-B013-F62248C6FCB7}" destId="{B6738BC8-3C90-4FF3-90F9-E06D51F6C092}" srcOrd="0" destOrd="0" presId="urn:microsoft.com/office/officeart/2005/8/layout/vList2"/>
  </dgm:cxnLst>
  <dgm:bg>
    <a:solidFill>
      <a:srgbClr val="7030A0"/>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7B6C5A9E-C0FE-A540-A4F7-EC5C58C06BCE}" type="doc">
      <dgm:prSet loTypeId="urn:microsoft.com/office/officeart/2005/8/layout/vList6" loCatId="" qsTypeId="urn:microsoft.com/office/officeart/2005/8/quickstyle/simple5" qsCatId="simple" csTypeId="urn:microsoft.com/office/officeart/2005/8/colors/accent0_2" csCatId="mainScheme" phldr="1"/>
      <dgm:spPr/>
      <dgm:t>
        <a:bodyPr/>
        <a:lstStyle/>
        <a:p>
          <a:endParaRPr lang="en-US"/>
        </a:p>
      </dgm:t>
    </dgm:pt>
    <dgm:pt modelId="{FDC6FB3B-5D52-554C-93A2-5469449BD861}">
      <dgm:prSet custT="1"/>
      <dgm:spPr>
        <a:solidFill>
          <a:schemeClr val="bg1"/>
        </a:solidFill>
      </dgm:spPr>
      <dgm:t>
        <a:bodyPr/>
        <a:lstStyle/>
        <a:p>
          <a:pPr rtl="0"/>
          <a:r>
            <a:rPr lang="en-US" sz="2400" b="1" dirty="0" smtClean="0">
              <a:solidFill>
                <a:srgbClr val="F8F8F8"/>
              </a:solidFill>
            </a:rPr>
            <a:t>At least one dose of IPV </a:t>
          </a:r>
          <a:r>
            <a:rPr lang="en-US" sz="2400" b="1" u="sng" dirty="0" smtClean="0">
              <a:solidFill>
                <a:srgbClr val="F8F8F8"/>
              </a:solidFill>
            </a:rPr>
            <a:t>at 14 weeks</a:t>
          </a:r>
          <a:r>
            <a:rPr lang="en-US" sz="2400" b="1" dirty="0" smtClean="0">
              <a:solidFill>
                <a:srgbClr val="F8F8F8"/>
              </a:solidFill>
            </a:rPr>
            <a:t> or </a:t>
          </a:r>
          <a:r>
            <a:rPr lang="en-US" sz="2400" b="1" u="sng" dirty="0" smtClean="0">
              <a:solidFill>
                <a:srgbClr val="F8F8F8"/>
              </a:solidFill>
            </a:rPr>
            <a:t>first contact </a:t>
          </a:r>
          <a:r>
            <a:rPr lang="en-US" sz="2400" b="1" dirty="0" smtClean="0">
              <a:solidFill>
                <a:srgbClr val="F8F8F8"/>
              </a:solidFill>
            </a:rPr>
            <a:t>afterwards</a:t>
          </a:r>
          <a:endParaRPr lang="en-US" sz="2400" b="1" dirty="0">
            <a:solidFill>
              <a:srgbClr val="F8F8F8"/>
            </a:solidFill>
          </a:endParaRPr>
        </a:p>
      </dgm:t>
    </dgm:pt>
    <dgm:pt modelId="{0D55BDA6-9716-7A4B-A979-61E8CC5B610C}" type="parTrans" cxnId="{9C1B12B1-C306-C848-A5A6-984F282AF538}">
      <dgm:prSet/>
      <dgm:spPr/>
      <dgm:t>
        <a:bodyPr/>
        <a:lstStyle/>
        <a:p>
          <a:endParaRPr lang="en-US"/>
        </a:p>
      </dgm:t>
    </dgm:pt>
    <dgm:pt modelId="{2EBF2B28-65CF-2D4D-A32D-B841E8726AA2}" type="sibTrans" cxnId="{9C1B12B1-C306-C848-A5A6-984F282AF538}">
      <dgm:prSet/>
      <dgm:spPr/>
      <dgm:t>
        <a:bodyPr/>
        <a:lstStyle/>
        <a:p>
          <a:endParaRPr lang="en-US"/>
        </a:p>
      </dgm:t>
    </dgm:pt>
    <dgm:pt modelId="{84F18309-8055-2142-94B5-37453457CE9E}">
      <dgm:prSet custT="1"/>
      <dgm:spPr>
        <a:solidFill>
          <a:srgbClr val="FFC000">
            <a:alpha val="90000"/>
          </a:srgbClr>
        </a:solidFill>
      </dgm:spPr>
      <dgm:t>
        <a:bodyPr/>
        <a:lstStyle/>
        <a:p>
          <a:pPr rtl="0"/>
          <a:r>
            <a:rPr lang="en-US" sz="2000" b="0" dirty="0" smtClean="0"/>
            <a:t>All children who are behind on their schedule should receive </a:t>
          </a:r>
          <a:r>
            <a:rPr lang="en-US" sz="2000" b="1" u="sng" dirty="0" smtClean="0"/>
            <a:t>at least one dose</a:t>
          </a:r>
          <a:r>
            <a:rPr lang="en-US" sz="2000" b="0" dirty="0" smtClean="0"/>
            <a:t> of the IPV at the first immunization contact after 14 weeks of age</a:t>
          </a:r>
          <a:endParaRPr lang="en-US" sz="2000" b="0" dirty="0"/>
        </a:p>
      </dgm:t>
    </dgm:pt>
    <dgm:pt modelId="{9AB80234-86BA-D54E-95B1-208D2BD0E69E}" type="parTrans" cxnId="{B90AA300-1092-6948-9EF0-CA20B236D447}">
      <dgm:prSet/>
      <dgm:spPr/>
      <dgm:t>
        <a:bodyPr/>
        <a:lstStyle/>
        <a:p>
          <a:endParaRPr lang="en-US"/>
        </a:p>
      </dgm:t>
    </dgm:pt>
    <dgm:pt modelId="{64CF3A63-FCA9-B34B-A2CC-37D0C32DD72E}" type="sibTrans" cxnId="{B90AA300-1092-6948-9EF0-CA20B236D447}">
      <dgm:prSet/>
      <dgm:spPr/>
      <dgm:t>
        <a:bodyPr/>
        <a:lstStyle/>
        <a:p>
          <a:endParaRPr lang="en-US"/>
        </a:p>
      </dgm:t>
    </dgm:pt>
    <dgm:pt modelId="{FE795087-76C0-A44B-A149-F1CC9AC2641E}">
      <dgm:prSet custT="1"/>
      <dgm:spPr>
        <a:solidFill>
          <a:schemeClr val="bg1"/>
        </a:solidFill>
      </dgm:spPr>
      <dgm:t>
        <a:bodyPr/>
        <a:lstStyle/>
        <a:p>
          <a:pPr algn="l" rtl="0"/>
          <a:r>
            <a:rPr lang="en-US" sz="2400" b="0" dirty="0" smtClean="0">
              <a:solidFill>
                <a:srgbClr val="F8F8F8"/>
              </a:solidFill>
            </a:rPr>
            <a:t>IPV does </a:t>
          </a:r>
          <a:r>
            <a:rPr lang="en-US" sz="2400" b="1" u="sng" dirty="0" smtClean="0">
              <a:solidFill>
                <a:srgbClr val="F8F8F8"/>
              </a:solidFill>
            </a:rPr>
            <a:t>not replace ANY of the OPV doses</a:t>
          </a:r>
          <a:endParaRPr lang="en-US" sz="1800" b="0" dirty="0">
            <a:solidFill>
              <a:srgbClr val="F8F8F8"/>
            </a:solidFill>
          </a:endParaRPr>
        </a:p>
      </dgm:t>
    </dgm:pt>
    <dgm:pt modelId="{5ACA7C63-3A3C-E94E-9DE6-D28DA08CAB6E}" type="parTrans" cxnId="{2E14EE63-78FB-EB4E-9C2C-582AEF82D023}">
      <dgm:prSet/>
      <dgm:spPr/>
      <dgm:t>
        <a:bodyPr/>
        <a:lstStyle/>
        <a:p>
          <a:endParaRPr lang="en-US"/>
        </a:p>
      </dgm:t>
    </dgm:pt>
    <dgm:pt modelId="{FEEB209F-ADFE-EA44-B7AF-CA770E2A2FCE}" type="sibTrans" cxnId="{2E14EE63-78FB-EB4E-9C2C-582AEF82D023}">
      <dgm:prSet/>
      <dgm:spPr/>
      <dgm:t>
        <a:bodyPr/>
        <a:lstStyle/>
        <a:p>
          <a:endParaRPr lang="en-US"/>
        </a:p>
      </dgm:t>
    </dgm:pt>
    <dgm:pt modelId="{4065D0B6-3DEF-C949-91BF-4CD52ACDC5ED}">
      <dgm:prSet custT="1"/>
      <dgm:spPr>
        <a:solidFill>
          <a:srgbClr val="FFC000">
            <a:alpha val="90000"/>
          </a:srgbClr>
        </a:solidFill>
      </dgm:spPr>
      <dgm:t>
        <a:bodyPr/>
        <a:lstStyle/>
        <a:p>
          <a:r>
            <a:rPr lang="en-US" sz="2000" dirty="0" smtClean="0"/>
            <a:t>Until polio transmission is interrupted globally, OPV will be a critical component of the eradication strategy</a:t>
          </a:r>
          <a:endParaRPr lang="en-US" sz="2000" dirty="0"/>
        </a:p>
      </dgm:t>
    </dgm:pt>
    <dgm:pt modelId="{33A5BD10-FF4D-EA4A-9876-D9FDF87018A0}" type="parTrans" cxnId="{1635E398-03CB-3840-982E-41F7645F4326}">
      <dgm:prSet/>
      <dgm:spPr/>
      <dgm:t>
        <a:bodyPr/>
        <a:lstStyle/>
        <a:p>
          <a:endParaRPr lang="en-US"/>
        </a:p>
      </dgm:t>
    </dgm:pt>
    <dgm:pt modelId="{7C74D26B-CD2B-6640-AF28-D0D336FFC543}" type="sibTrans" cxnId="{1635E398-03CB-3840-982E-41F7645F4326}">
      <dgm:prSet/>
      <dgm:spPr/>
      <dgm:t>
        <a:bodyPr/>
        <a:lstStyle/>
        <a:p>
          <a:endParaRPr lang="en-US"/>
        </a:p>
      </dgm:t>
    </dgm:pt>
    <dgm:pt modelId="{98045C54-902B-B74F-934D-51AA8A8DCAA0}" type="pres">
      <dgm:prSet presAssocID="{7B6C5A9E-C0FE-A540-A4F7-EC5C58C06BCE}" presName="Name0" presStyleCnt="0">
        <dgm:presLayoutVars>
          <dgm:dir/>
          <dgm:animLvl val="lvl"/>
          <dgm:resizeHandles/>
        </dgm:presLayoutVars>
      </dgm:prSet>
      <dgm:spPr/>
      <dgm:t>
        <a:bodyPr/>
        <a:lstStyle/>
        <a:p>
          <a:endParaRPr lang="en-US"/>
        </a:p>
      </dgm:t>
    </dgm:pt>
    <dgm:pt modelId="{4A42DECC-8892-9947-833F-F53087710551}" type="pres">
      <dgm:prSet presAssocID="{FDC6FB3B-5D52-554C-93A2-5469449BD861}" presName="linNode" presStyleCnt="0"/>
      <dgm:spPr/>
      <dgm:t>
        <a:bodyPr/>
        <a:lstStyle/>
        <a:p>
          <a:endParaRPr lang="en-US"/>
        </a:p>
      </dgm:t>
    </dgm:pt>
    <dgm:pt modelId="{28AAD027-F4CE-2F4D-A30B-4DAC1E97B95F}" type="pres">
      <dgm:prSet presAssocID="{FDC6FB3B-5D52-554C-93A2-5469449BD861}" presName="parentShp" presStyleLbl="node1" presStyleIdx="0" presStyleCnt="2">
        <dgm:presLayoutVars>
          <dgm:bulletEnabled val="1"/>
        </dgm:presLayoutVars>
      </dgm:prSet>
      <dgm:spPr/>
      <dgm:t>
        <a:bodyPr/>
        <a:lstStyle/>
        <a:p>
          <a:endParaRPr lang="en-US"/>
        </a:p>
      </dgm:t>
    </dgm:pt>
    <dgm:pt modelId="{774755A8-DC51-9348-862A-BB5CF313E0FE}" type="pres">
      <dgm:prSet presAssocID="{FDC6FB3B-5D52-554C-93A2-5469449BD861}" presName="childShp" presStyleLbl="bgAccFollowNode1" presStyleIdx="0" presStyleCnt="2">
        <dgm:presLayoutVars>
          <dgm:bulletEnabled val="1"/>
        </dgm:presLayoutVars>
      </dgm:prSet>
      <dgm:spPr/>
      <dgm:t>
        <a:bodyPr/>
        <a:lstStyle/>
        <a:p>
          <a:endParaRPr lang="en-US"/>
        </a:p>
      </dgm:t>
    </dgm:pt>
    <dgm:pt modelId="{14D8E538-0B19-6847-B6A7-C818FB8F4A94}" type="pres">
      <dgm:prSet presAssocID="{2EBF2B28-65CF-2D4D-A32D-B841E8726AA2}" presName="spacing" presStyleCnt="0"/>
      <dgm:spPr/>
      <dgm:t>
        <a:bodyPr/>
        <a:lstStyle/>
        <a:p>
          <a:endParaRPr lang="en-US"/>
        </a:p>
      </dgm:t>
    </dgm:pt>
    <dgm:pt modelId="{518C2FBB-1E33-754B-9156-0DDEFE24544B}" type="pres">
      <dgm:prSet presAssocID="{FE795087-76C0-A44B-A149-F1CC9AC2641E}" presName="linNode" presStyleCnt="0"/>
      <dgm:spPr/>
      <dgm:t>
        <a:bodyPr/>
        <a:lstStyle/>
        <a:p>
          <a:endParaRPr lang="en-US"/>
        </a:p>
      </dgm:t>
    </dgm:pt>
    <dgm:pt modelId="{C5E8E389-94E0-9B43-9F24-F8D9A87189AA}" type="pres">
      <dgm:prSet presAssocID="{FE795087-76C0-A44B-A149-F1CC9AC2641E}" presName="parentShp" presStyleLbl="node1" presStyleIdx="1" presStyleCnt="2">
        <dgm:presLayoutVars>
          <dgm:bulletEnabled val="1"/>
        </dgm:presLayoutVars>
      </dgm:prSet>
      <dgm:spPr/>
      <dgm:t>
        <a:bodyPr/>
        <a:lstStyle/>
        <a:p>
          <a:endParaRPr lang="en-US"/>
        </a:p>
      </dgm:t>
    </dgm:pt>
    <dgm:pt modelId="{F9F6DE78-E266-BD43-BC44-3CD8482DA562}" type="pres">
      <dgm:prSet presAssocID="{FE795087-76C0-A44B-A149-F1CC9AC2641E}" presName="childShp" presStyleLbl="bgAccFollowNode1" presStyleIdx="1" presStyleCnt="2">
        <dgm:presLayoutVars>
          <dgm:bulletEnabled val="1"/>
        </dgm:presLayoutVars>
      </dgm:prSet>
      <dgm:spPr/>
      <dgm:t>
        <a:bodyPr/>
        <a:lstStyle/>
        <a:p>
          <a:endParaRPr lang="en-US"/>
        </a:p>
      </dgm:t>
    </dgm:pt>
  </dgm:ptLst>
  <dgm:cxnLst>
    <dgm:cxn modelId="{F248FCF7-C93E-4A67-BA78-EA83A1649DA3}" type="presOf" srcId="{FDC6FB3B-5D52-554C-93A2-5469449BD861}" destId="{28AAD027-F4CE-2F4D-A30B-4DAC1E97B95F}" srcOrd="0" destOrd="0" presId="urn:microsoft.com/office/officeart/2005/8/layout/vList6"/>
    <dgm:cxn modelId="{B90AA300-1092-6948-9EF0-CA20B236D447}" srcId="{FDC6FB3B-5D52-554C-93A2-5469449BD861}" destId="{84F18309-8055-2142-94B5-37453457CE9E}" srcOrd="0" destOrd="0" parTransId="{9AB80234-86BA-D54E-95B1-208D2BD0E69E}" sibTransId="{64CF3A63-FCA9-B34B-A2CC-37D0C32DD72E}"/>
    <dgm:cxn modelId="{7A2FCB0D-6212-4DBE-91A5-7516D5955ED2}" type="presOf" srcId="{FE795087-76C0-A44B-A149-F1CC9AC2641E}" destId="{C5E8E389-94E0-9B43-9F24-F8D9A87189AA}" srcOrd="0" destOrd="0" presId="urn:microsoft.com/office/officeart/2005/8/layout/vList6"/>
    <dgm:cxn modelId="{25023EDE-6A78-4B48-A289-DF4C94A5A85B}" type="presOf" srcId="{7B6C5A9E-C0FE-A540-A4F7-EC5C58C06BCE}" destId="{98045C54-902B-B74F-934D-51AA8A8DCAA0}" srcOrd="0" destOrd="0" presId="urn:microsoft.com/office/officeart/2005/8/layout/vList6"/>
    <dgm:cxn modelId="{2E14EE63-78FB-EB4E-9C2C-582AEF82D023}" srcId="{7B6C5A9E-C0FE-A540-A4F7-EC5C58C06BCE}" destId="{FE795087-76C0-A44B-A149-F1CC9AC2641E}" srcOrd="1" destOrd="0" parTransId="{5ACA7C63-3A3C-E94E-9DE6-D28DA08CAB6E}" sibTransId="{FEEB209F-ADFE-EA44-B7AF-CA770E2A2FCE}"/>
    <dgm:cxn modelId="{661A68A9-EA44-4E8C-925B-6367F7B6A956}" type="presOf" srcId="{84F18309-8055-2142-94B5-37453457CE9E}" destId="{774755A8-DC51-9348-862A-BB5CF313E0FE}" srcOrd="0" destOrd="0" presId="urn:microsoft.com/office/officeart/2005/8/layout/vList6"/>
    <dgm:cxn modelId="{9C1B12B1-C306-C848-A5A6-984F282AF538}" srcId="{7B6C5A9E-C0FE-A540-A4F7-EC5C58C06BCE}" destId="{FDC6FB3B-5D52-554C-93A2-5469449BD861}" srcOrd="0" destOrd="0" parTransId="{0D55BDA6-9716-7A4B-A979-61E8CC5B610C}" sibTransId="{2EBF2B28-65CF-2D4D-A32D-B841E8726AA2}"/>
    <dgm:cxn modelId="{403F799B-74CC-4D10-B87F-A257EB72E3B1}" type="presOf" srcId="{4065D0B6-3DEF-C949-91BF-4CD52ACDC5ED}" destId="{F9F6DE78-E266-BD43-BC44-3CD8482DA562}" srcOrd="0" destOrd="0" presId="urn:microsoft.com/office/officeart/2005/8/layout/vList6"/>
    <dgm:cxn modelId="{1635E398-03CB-3840-982E-41F7645F4326}" srcId="{FE795087-76C0-A44B-A149-F1CC9AC2641E}" destId="{4065D0B6-3DEF-C949-91BF-4CD52ACDC5ED}" srcOrd="0" destOrd="0" parTransId="{33A5BD10-FF4D-EA4A-9876-D9FDF87018A0}" sibTransId="{7C74D26B-CD2B-6640-AF28-D0D336FFC543}"/>
    <dgm:cxn modelId="{22BEFB9F-A15A-49ED-8654-36BB44A37401}" type="presParOf" srcId="{98045C54-902B-B74F-934D-51AA8A8DCAA0}" destId="{4A42DECC-8892-9947-833F-F53087710551}" srcOrd="0" destOrd="0" presId="urn:microsoft.com/office/officeart/2005/8/layout/vList6"/>
    <dgm:cxn modelId="{9A2E5E8D-667F-4CC4-9A10-2DB59B65AA81}" type="presParOf" srcId="{4A42DECC-8892-9947-833F-F53087710551}" destId="{28AAD027-F4CE-2F4D-A30B-4DAC1E97B95F}" srcOrd="0" destOrd="0" presId="urn:microsoft.com/office/officeart/2005/8/layout/vList6"/>
    <dgm:cxn modelId="{EE4A31A4-04E2-4F4E-B547-6E353212BEF6}" type="presParOf" srcId="{4A42DECC-8892-9947-833F-F53087710551}" destId="{774755A8-DC51-9348-862A-BB5CF313E0FE}" srcOrd="1" destOrd="0" presId="urn:microsoft.com/office/officeart/2005/8/layout/vList6"/>
    <dgm:cxn modelId="{256D8815-C8B5-47D6-A0F9-B98F9F49AB62}" type="presParOf" srcId="{98045C54-902B-B74F-934D-51AA8A8DCAA0}" destId="{14D8E538-0B19-6847-B6A7-C818FB8F4A94}" srcOrd="1" destOrd="0" presId="urn:microsoft.com/office/officeart/2005/8/layout/vList6"/>
    <dgm:cxn modelId="{A13F0DEA-00F1-49C1-B9AC-E4581809BAFB}" type="presParOf" srcId="{98045C54-902B-B74F-934D-51AA8A8DCAA0}" destId="{518C2FBB-1E33-754B-9156-0DDEFE24544B}" srcOrd="2" destOrd="0" presId="urn:microsoft.com/office/officeart/2005/8/layout/vList6"/>
    <dgm:cxn modelId="{9D9018C7-E83A-404E-BABA-51F37CB4EC7A}" type="presParOf" srcId="{518C2FBB-1E33-754B-9156-0DDEFE24544B}" destId="{C5E8E389-94E0-9B43-9F24-F8D9A87189AA}" srcOrd="0" destOrd="0" presId="urn:microsoft.com/office/officeart/2005/8/layout/vList6"/>
    <dgm:cxn modelId="{F0931B5A-899C-4B79-91DF-65F976862380}" type="presParOf" srcId="{518C2FBB-1E33-754B-9156-0DDEFE24544B}" destId="{F9F6DE78-E266-BD43-BC44-3CD8482DA562}" srcOrd="1" destOrd="0" presId="urn:microsoft.com/office/officeart/2005/8/layout/vList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6F98C0A-8FF7-495F-91F8-CE74D697BBC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FF5809AD-960D-4B89-BCA4-5B55097FFABB}">
      <dgm:prSet custT="1"/>
      <dgm:spPr>
        <a:noFill/>
      </dgm:spPr>
      <dgm:t>
        <a:bodyPr/>
        <a:lstStyle/>
        <a:p>
          <a:pPr algn="ctr" rtl="0"/>
          <a:r>
            <a:rPr lang="en-US" sz="4000" b="1" dirty="0" smtClean="0">
              <a:solidFill>
                <a:schemeClr val="bg1">
                  <a:lumMod val="10000"/>
                  <a:lumOff val="90000"/>
                </a:schemeClr>
              </a:solidFill>
            </a:rPr>
            <a:t>Rationale for OPV2 withdrawal</a:t>
          </a:r>
          <a:endParaRPr lang="en-US" sz="4000" b="1" dirty="0">
            <a:solidFill>
              <a:schemeClr val="bg1">
                <a:lumMod val="10000"/>
                <a:lumOff val="90000"/>
              </a:schemeClr>
            </a:solidFill>
          </a:endParaRPr>
        </a:p>
      </dgm:t>
    </dgm:pt>
    <dgm:pt modelId="{0EB0096B-13E5-4FBE-9974-AB5444A19028}" type="parTrans" cxnId="{48435B2F-BB18-463A-9BE1-957AF1F00138}">
      <dgm:prSet/>
      <dgm:spPr/>
      <dgm:t>
        <a:bodyPr/>
        <a:lstStyle/>
        <a:p>
          <a:endParaRPr lang="en-US">
            <a:solidFill>
              <a:schemeClr val="bg1">
                <a:lumMod val="10000"/>
                <a:lumOff val="90000"/>
              </a:schemeClr>
            </a:solidFill>
          </a:endParaRPr>
        </a:p>
      </dgm:t>
    </dgm:pt>
    <dgm:pt modelId="{CC9BBD56-4D00-469B-9501-8C4E6E6C0365}" type="sibTrans" cxnId="{48435B2F-BB18-463A-9BE1-957AF1F00138}">
      <dgm:prSet/>
      <dgm:spPr/>
      <dgm:t>
        <a:bodyPr/>
        <a:lstStyle/>
        <a:p>
          <a:endParaRPr lang="en-US">
            <a:solidFill>
              <a:schemeClr val="bg1">
                <a:lumMod val="10000"/>
                <a:lumOff val="90000"/>
              </a:schemeClr>
            </a:solidFill>
          </a:endParaRPr>
        </a:p>
      </dgm:t>
    </dgm:pt>
    <dgm:pt modelId="{285412E5-1C04-426C-8BF3-318E84A52C1E}" type="pres">
      <dgm:prSet presAssocID="{D6F98C0A-8FF7-495F-91F8-CE74D697BBC6}" presName="linear" presStyleCnt="0">
        <dgm:presLayoutVars>
          <dgm:animLvl val="lvl"/>
          <dgm:resizeHandles val="exact"/>
        </dgm:presLayoutVars>
      </dgm:prSet>
      <dgm:spPr/>
      <dgm:t>
        <a:bodyPr/>
        <a:lstStyle/>
        <a:p>
          <a:endParaRPr lang="en-US"/>
        </a:p>
      </dgm:t>
    </dgm:pt>
    <dgm:pt modelId="{D3D0DA91-48A6-4B93-AE3E-1DD9E5C99DCF}" type="pres">
      <dgm:prSet presAssocID="{FF5809AD-960D-4B89-BCA4-5B55097FFABB}" presName="parentText" presStyleLbl="node1" presStyleIdx="0" presStyleCnt="1" custLinFactNeighborX="216" custLinFactNeighborY="-31263">
        <dgm:presLayoutVars>
          <dgm:chMax val="0"/>
          <dgm:bulletEnabled val="1"/>
        </dgm:presLayoutVars>
      </dgm:prSet>
      <dgm:spPr/>
      <dgm:t>
        <a:bodyPr/>
        <a:lstStyle/>
        <a:p>
          <a:endParaRPr lang="en-US"/>
        </a:p>
      </dgm:t>
    </dgm:pt>
  </dgm:ptLst>
  <dgm:cxnLst>
    <dgm:cxn modelId="{48435B2F-BB18-463A-9BE1-957AF1F00138}" srcId="{D6F98C0A-8FF7-495F-91F8-CE74D697BBC6}" destId="{FF5809AD-960D-4B89-BCA4-5B55097FFABB}" srcOrd="0" destOrd="0" parTransId="{0EB0096B-13E5-4FBE-9974-AB5444A19028}" sibTransId="{CC9BBD56-4D00-469B-9501-8C4E6E6C0365}"/>
    <dgm:cxn modelId="{473F4536-04E8-4D5F-B1CD-A5AF1B7063AB}" type="presOf" srcId="{D6F98C0A-8FF7-495F-91F8-CE74D697BBC6}" destId="{285412E5-1C04-426C-8BF3-318E84A52C1E}" srcOrd="0" destOrd="0" presId="urn:microsoft.com/office/officeart/2005/8/layout/vList2"/>
    <dgm:cxn modelId="{47CDBB32-BEF2-4795-869F-F7884711C1DA}" type="presOf" srcId="{FF5809AD-960D-4B89-BCA4-5B55097FFABB}" destId="{D3D0DA91-48A6-4B93-AE3E-1DD9E5C99DCF}" srcOrd="0" destOrd="0" presId="urn:microsoft.com/office/officeart/2005/8/layout/vList2"/>
    <dgm:cxn modelId="{FF5F7AA1-1CEF-4B37-8252-559B136D0B55}" type="presParOf" srcId="{285412E5-1C04-426C-8BF3-318E84A52C1E}" destId="{D3D0DA91-48A6-4B93-AE3E-1DD9E5C99DCF}" srcOrd="0" destOrd="0" presId="urn:microsoft.com/office/officeart/2005/8/layout/vList2"/>
  </dgm:cxnLst>
  <dgm:bg>
    <a:solidFill>
      <a:srgbClr val="7030A0"/>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571D5FD-13A6-CD40-B07E-054F749B3CEE}" type="doc">
      <dgm:prSet loTypeId="urn:microsoft.com/office/officeart/2008/layout/LinedList" loCatId="" qsTypeId="urn:microsoft.com/office/officeart/2005/8/quickstyle/simple4" qsCatId="simple" csTypeId="urn:microsoft.com/office/officeart/2005/8/colors/colorful4" csCatId="colorful" phldr="1"/>
      <dgm:spPr/>
      <dgm:t>
        <a:bodyPr/>
        <a:lstStyle/>
        <a:p>
          <a:endParaRPr lang="en-US"/>
        </a:p>
      </dgm:t>
    </dgm:pt>
    <dgm:pt modelId="{973D66C8-BD69-DE4D-A047-E323EFFD98CC}">
      <dgm:prSet custT="1"/>
      <dgm:spPr/>
      <dgm:t>
        <a:bodyPr/>
        <a:lstStyle/>
        <a:p>
          <a:pPr rtl="0"/>
          <a:r>
            <a:rPr lang="en-US" sz="2400" b="0" baseline="0" dirty="0" smtClean="0">
              <a:solidFill>
                <a:schemeClr val="bg1"/>
              </a:solidFill>
            </a:rPr>
            <a:t>Last naturally occurring case of WPV case detected in Aligarh, India in </a:t>
          </a:r>
          <a:r>
            <a:rPr lang="en-US" sz="2400" b="0" baseline="0" dirty="0" smtClean="0">
              <a:solidFill>
                <a:schemeClr val="bg1"/>
              </a:solidFill>
            </a:rPr>
            <a:t>1999 – WPV 2 ERADICATION CERTIFIED</a:t>
          </a:r>
          <a:br>
            <a:rPr lang="en-US" sz="2400" b="0" baseline="0" dirty="0" smtClean="0">
              <a:solidFill>
                <a:schemeClr val="bg1"/>
              </a:solidFill>
            </a:rPr>
          </a:br>
          <a:r>
            <a:rPr lang="en-US" sz="2400" b="0" baseline="0" dirty="0" smtClean="0">
              <a:solidFill>
                <a:schemeClr val="bg1"/>
              </a:solidFill>
            </a:rPr>
            <a:t>I</a:t>
          </a:r>
        </a:p>
        <a:p>
          <a:pPr rtl="0"/>
          <a:endParaRPr lang="en-US" sz="2400" dirty="0">
            <a:solidFill>
              <a:schemeClr val="bg1"/>
            </a:solidFill>
          </a:endParaRPr>
        </a:p>
      </dgm:t>
    </dgm:pt>
    <dgm:pt modelId="{6D8F04E8-FC5F-4741-9187-18F6C1DD401E}" type="parTrans" cxnId="{E8334926-4C8F-E44B-8490-B9BA8D70681F}">
      <dgm:prSet/>
      <dgm:spPr/>
      <dgm:t>
        <a:bodyPr/>
        <a:lstStyle/>
        <a:p>
          <a:endParaRPr lang="en-US" sz="2000"/>
        </a:p>
      </dgm:t>
    </dgm:pt>
    <dgm:pt modelId="{6CD434EB-C114-1B4C-8C5F-636981D40286}" type="sibTrans" cxnId="{E8334926-4C8F-E44B-8490-B9BA8D70681F}">
      <dgm:prSet/>
      <dgm:spPr/>
      <dgm:t>
        <a:bodyPr/>
        <a:lstStyle/>
        <a:p>
          <a:endParaRPr lang="en-US" sz="2000"/>
        </a:p>
      </dgm:t>
    </dgm:pt>
    <dgm:pt modelId="{F7B1E80B-52DD-1243-AC71-09FC783E79B2}">
      <dgm:prSet custT="1"/>
      <dgm:spPr/>
      <dgm:t>
        <a:bodyPr/>
        <a:lstStyle/>
        <a:p>
          <a:pPr rtl="0"/>
          <a:r>
            <a:rPr lang="en-US" sz="2400" b="1" baseline="0" dirty="0" smtClean="0">
              <a:solidFill>
                <a:schemeClr val="bg1"/>
              </a:solidFill>
            </a:rPr>
            <a:t>Type 2 polio vaccine causes &gt;95% of Vaccine Derived Polio Virus (VDPV) cases </a:t>
          </a:r>
          <a:endParaRPr lang="en-US" sz="2400" dirty="0">
            <a:solidFill>
              <a:schemeClr val="bg1"/>
            </a:solidFill>
          </a:endParaRPr>
        </a:p>
      </dgm:t>
    </dgm:pt>
    <dgm:pt modelId="{0D43E4ED-B12A-6742-BD36-C928CC822C76}" type="parTrans" cxnId="{8DCAA1AD-E253-1C42-9F60-9D3BC92CF0E5}">
      <dgm:prSet/>
      <dgm:spPr/>
      <dgm:t>
        <a:bodyPr/>
        <a:lstStyle/>
        <a:p>
          <a:endParaRPr lang="en-US" sz="2000"/>
        </a:p>
      </dgm:t>
    </dgm:pt>
    <dgm:pt modelId="{B98BA130-5A38-EA40-B421-DBAB43948230}" type="sibTrans" cxnId="{8DCAA1AD-E253-1C42-9F60-9D3BC92CF0E5}">
      <dgm:prSet/>
      <dgm:spPr/>
      <dgm:t>
        <a:bodyPr/>
        <a:lstStyle/>
        <a:p>
          <a:endParaRPr lang="en-US" sz="2000"/>
        </a:p>
      </dgm:t>
    </dgm:pt>
    <dgm:pt modelId="{51FA2D80-2909-3C49-AAA7-7EBEADF38BBC}">
      <dgm:prSet custT="1"/>
      <dgm:spPr/>
      <dgm:t>
        <a:bodyPr/>
        <a:lstStyle/>
        <a:p>
          <a:pPr rtl="0"/>
          <a:r>
            <a:rPr lang="en-US" sz="2400" b="0" baseline="0" dirty="0" smtClean="0">
              <a:solidFill>
                <a:schemeClr val="bg1"/>
              </a:solidFill>
            </a:rPr>
            <a:t>Type 2 causes approximately 40% of Vaccine-associated paralytic poliomyelitis (VAPP) cases</a:t>
          </a:r>
          <a:endParaRPr lang="en-US" sz="2400" dirty="0">
            <a:solidFill>
              <a:schemeClr val="bg1"/>
            </a:solidFill>
          </a:endParaRPr>
        </a:p>
      </dgm:t>
    </dgm:pt>
    <dgm:pt modelId="{8D48860C-6758-1B42-821E-6F425F68A06E}" type="parTrans" cxnId="{4DD97579-81AA-994C-8E88-992005245497}">
      <dgm:prSet/>
      <dgm:spPr/>
      <dgm:t>
        <a:bodyPr/>
        <a:lstStyle/>
        <a:p>
          <a:endParaRPr lang="en-US" sz="2000"/>
        </a:p>
      </dgm:t>
    </dgm:pt>
    <dgm:pt modelId="{C698160A-72BB-E448-A5CF-90EB8F6B31BC}" type="sibTrans" cxnId="{4DD97579-81AA-994C-8E88-992005245497}">
      <dgm:prSet/>
      <dgm:spPr/>
      <dgm:t>
        <a:bodyPr/>
        <a:lstStyle/>
        <a:p>
          <a:endParaRPr lang="en-US" sz="2000"/>
        </a:p>
      </dgm:t>
    </dgm:pt>
    <dgm:pt modelId="{12F74FA6-7786-2841-8922-9E8A71595B6D}">
      <dgm:prSet custT="1"/>
      <dgm:spPr/>
      <dgm:t>
        <a:bodyPr/>
        <a:lstStyle/>
        <a:p>
          <a:pPr rtl="0"/>
          <a:r>
            <a:rPr lang="en-US" sz="2400" b="0" baseline="0" dirty="0" smtClean="0">
              <a:solidFill>
                <a:schemeClr val="bg1"/>
              </a:solidFill>
            </a:rPr>
            <a:t>Type 2 component of OPV interferes with immune response to types 1 and types 3 </a:t>
          </a:r>
          <a:endParaRPr lang="en-US" sz="2400" dirty="0">
            <a:solidFill>
              <a:schemeClr val="bg1"/>
            </a:solidFill>
          </a:endParaRPr>
        </a:p>
      </dgm:t>
    </dgm:pt>
    <dgm:pt modelId="{AFB730BB-2943-1347-8FDD-A017083596B0}" type="parTrans" cxnId="{85AFCD82-53DE-3542-AB25-0FF475C30EF5}">
      <dgm:prSet/>
      <dgm:spPr/>
      <dgm:t>
        <a:bodyPr/>
        <a:lstStyle/>
        <a:p>
          <a:endParaRPr lang="en-US" sz="2000"/>
        </a:p>
      </dgm:t>
    </dgm:pt>
    <dgm:pt modelId="{E2C36DCE-8387-AD4F-BCB1-B13086B9BBBE}" type="sibTrans" cxnId="{85AFCD82-53DE-3542-AB25-0FF475C30EF5}">
      <dgm:prSet/>
      <dgm:spPr/>
      <dgm:t>
        <a:bodyPr/>
        <a:lstStyle/>
        <a:p>
          <a:endParaRPr lang="en-US" sz="2000"/>
        </a:p>
      </dgm:t>
    </dgm:pt>
    <dgm:pt modelId="{8152D05C-1677-6240-ACD0-848B0C77A742}">
      <dgm:prSet custT="1"/>
      <dgm:spPr/>
      <dgm:t>
        <a:bodyPr/>
        <a:lstStyle/>
        <a:p>
          <a:pPr rtl="0"/>
          <a:endParaRPr lang="en-US" sz="2400" dirty="0"/>
        </a:p>
      </dgm:t>
    </dgm:pt>
    <dgm:pt modelId="{0C619BE7-A239-0748-915F-20644745FE35}" type="parTrans" cxnId="{6E200E13-3E75-2C48-8859-DE6DEC064672}">
      <dgm:prSet/>
      <dgm:spPr/>
      <dgm:t>
        <a:bodyPr/>
        <a:lstStyle/>
        <a:p>
          <a:endParaRPr lang="en-US" sz="2000"/>
        </a:p>
      </dgm:t>
    </dgm:pt>
    <dgm:pt modelId="{F662D700-03B0-B34F-8D15-06B15FD9B87B}" type="sibTrans" cxnId="{6E200E13-3E75-2C48-8859-DE6DEC064672}">
      <dgm:prSet/>
      <dgm:spPr/>
      <dgm:t>
        <a:bodyPr/>
        <a:lstStyle/>
        <a:p>
          <a:endParaRPr lang="en-US" sz="2000"/>
        </a:p>
      </dgm:t>
    </dgm:pt>
    <dgm:pt modelId="{6C0B7AE9-F1FE-DD4B-B9BA-3FC930D3FEDA}" type="pres">
      <dgm:prSet presAssocID="{1571D5FD-13A6-CD40-B07E-054F749B3CEE}" presName="vert0" presStyleCnt="0">
        <dgm:presLayoutVars>
          <dgm:dir/>
          <dgm:animOne val="branch"/>
          <dgm:animLvl val="lvl"/>
        </dgm:presLayoutVars>
      </dgm:prSet>
      <dgm:spPr/>
      <dgm:t>
        <a:bodyPr/>
        <a:lstStyle/>
        <a:p>
          <a:endParaRPr lang="en-US"/>
        </a:p>
      </dgm:t>
    </dgm:pt>
    <dgm:pt modelId="{79F426BE-53AB-D14B-A5A1-EB03A1D30B61}" type="pres">
      <dgm:prSet presAssocID="{973D66C8-BD69-DE4D-A047-E323EFFD98CC}" presName="thickLine" presStyleLbl="alignNode1" presStyleIdx="0" presStyleCnt="5"/>
      <dgm:spPr/>
    </dgm:pt>
    <dgm:pt modelId="{B7F737BB-127F-724B-9211-963907317F19}" type="pres">
      <dgm:prSet presAssocID="{973D66C8-BD69-DE4D-A047-E323EFFD98CC}" presName="horz1" presStyleCnt="0"/>
      <dgm:spPr/>
    </dgm:pt>
    <dgm:pt modelId="{FC40FD0A-BD8F-1346-A22B-F039DA2CCB30}" type="pres">
      <dgm:prSet presAssocID="{973D66C8-BD69-DE4D-A047-E323EFFD98CC}" presName="tx1" presStyleLbl="revTx" presStyleIdx="0" presStyleCnt="5"/>
      <dgm:spPr/>
      <dgm:t>
        <a:bodyPr/>
        <a:lstStyle/>
        <a:p>
          <a:endParaRPr lang="en-US"/>
        </a:p>
      </dgm:t>
    </dgm:pt>
    <dgm:pt modelId="{97FF2230-4F40-2D41-9809-7A2375830C83}" type="pres">
      <dgm:prSet presAssocID="{973D66C8-BD69-DE4D-A047-E323EFFD98CC}" presName="vert1" presStyleCnt="0"/>
      <dgm:spPr/>
    </dgm:pt>
    <dgm:pt modelId="{40CD082F-24A1-B245-B273-1F8695DBA533}" type="pres">
      <dgm:prSet presAssocID="{F7B1E80B-52DD-1243-AC71-09FC783E79B2}" presName="thickLine" presStyleLbl="alignNode1" presStyleIdx="1" presStyleCnt="5"/>
      <dgm:spPr/>
    </dgm:pt>
    <dgm:pt modelId="{46021929-6049-BD44-8E83-EAF12A3AE03D}" type="pres">
      <dgm:prSet presAssocID="{F7B1E80B-52DD-1243-AC71-09FC783E79B2}" presName="horz1" presStyleCnt="0"/>
      <dgm:spPr/>
    </dgm:pt>
    <dgm:pt modelId="{0E11222B-3E55-C049-B212-F60715C47091}" type="pres">
      <dgm:prSet presAssocID="{F7B1E80B-52DD-1243-AC71-09FC783E79B2}" presName="tx1" presStyleLbl="revTx" presStyleIdx="1" presStyleCnt="5"/>
      <dgm:spPr/>
      <dgm:t>
        <a:bodyPr/>
        <a:lstStyle/>
        <a:p>
          <a:endParaRPr lang="en-US"/>
        </a:p>
      </dgm:t>
    </dgm:pt>
    <dgm:pt modelId="{6BCEAE54-4B03-844C-BFA2-B1DE36E1BFC2}" type="pres">
      <dgm:prSet presAssocID="{F7B1E80B-52DD-1243-AC71-09FC783E79B2}" presName="vert1" presStyleCnt="0"/>
      <dgm:spPr/>
    </dgm:pt>
    <dgm:pt modelId="{90A66873-6564-254F-93DD-529A803EBDDA}" type="pres">
      <dgm:prSet presAssocID="{51FA2D80-2909-3C49-AAA7-7EBEADF38BBC}" presName="thickLine" presStyleLbl="alignNode1" presStyleIdx="2" presStyleCnt="5"/>
      <dgm:spPr/>
    </dgm:pt>
    <dgm:pt modelId="{CB836B4B-C3BF-5D4F-BB7E-56BCB3638702}" type="pres">
      <dgm:prSet presAssocID="{51FA2D80-2909-3C49-AAA7-7EBEADF38BBC}" presName="horz1" presStyleCnt="0"/>
      <dgm:spPr/>
    </dgm:pt>
    <dgm:pt modelId="{FC6D7338-B966-ED41-A623-32BE3C44E6BF}" type="pres">
      <dgm:prSet presAssocID="{51FA2D80-2909-3C49-AAA7-7EBEADF38BBC}" presName="tx1" presStyleLbl="revTx" presStyleIdx="2" presStyleCnt="5"/>
      <dgm:spPr/>
      <dgm:t>
        <a:bodyPr/>
        <a:lstStyle/>
        <a:p>
          <a:endParaRPr lang="en-US"/>
        </a:p>
      </dgm:t>
    </dgm:pt>
    <dgm:pt modelId="{7C9AF2A5-F075-074B-8422-0A7FADEF6258}" type="pres">
      <dgm:prSet presAssocID="{51FA2D80-2909-3C49-AAA7-7EBEADF38BBC}" presName="vert1" presStyleCnt="0"/>
      <dgm:spPr/>
    </dgm:pt>
    <dgm:pt modelId="{F178F2CE-E7F3-934C-B0B6-39F2A7DEACF0}" type="pres">
      <dgm:prSet presAssocID="{12F74FA6-7786-2841-8922-9E8A71595B6D}" presName="thickLine" presStyleLbl="alignNode1" presStyleIdx="3" presStyleCnt="5"/>
      <dgm:spPr/>
    </dgm:pt>
    <dgm:pt modelId="{3F35BA92-D686-434F-866B-0BC46D5A17C2}" type="pres">
      <dgm:prSet presAssocID="{12F74FA6-7786-2841-8922-9E8A71595B6D}" presName="horz1" presStyleCnt="0"/>
      <dgm:spPr/>
    </dgm:pt>
    <dgm:pt modelId="{8549972A-1707-1A48-94E7-B0C28C627A71}" type="pres">
      <dgm:prSet presAssocID="{12F74FA6-7786-2841-8922-9E8A71595B6D}" presName="tx1" presStyleLbl="revTx" presStyleIdx="3" presStyleCnt="5"/>
      <dgm:spPr/>
      <dgm:t>
        <a:bodyPr/>
        <a:lstStyle/>
        <a:p>
          <a:endParaRPr lang="en-US"/>
        </a:p>
      </dgm:t>
    </dgm:pt>
    <dgm:pt modelId="{5C508DE9-0F2F-8742-AAB2-375B50D13A9A}" type="pres">
      <dgm:prSet presAssocID="{12F74FA6-7786-2841-8922-9E8A71595B6D}" presName="vert1" presStyleCnt="0"/>
      <dgm:spPr/>
    </dgm:pt>
    <dgm:pt modelId="{64BC9CB2-0642-E240-9AFA-1D6BB6927970}" type="pres">
      <dgm:prSet presAssocID="{8152D05C-1677-6240-ACD0-848B0C77A742}" presName="thickLine" presStyleLbl="alignNode1" presStyleIdx="4" presStyleCnt="5"/>
      <dgm:spPr/>
    </dgm:pt>
    <dgm:pt modelId="{5847AAF5-9274-3343-9ADF-6317442680D1}" type="pres">
      <dgm:prSet presAssocID="{8152D05C-1677-6240-ACD0-848B0C77A742}" presName="horz1" presStyleCnt="0"/>
      <dgm:spPr/>
    </dgm:pt>
    <dgm:pt modelId="{D00DBF76-B143-354C-A5EC-DF8456BADCE0}" type="pres">
      <dgm:prSet presAssocID="{8152D05C-1677-6240-ACD0-848B0C77A742}" presName="tx1" presStyleLbl="revTx" presStyleIdx="4" presStyleCnt="5"/>
      <dgm:spPr/>
      <dgm:t>
        <a:bodyPr/>
        <a:lstStyle/>
        <a:p>
          <a:endParaRPr lang="en-US"/>
        </a:p>
      </dgm:t>
    </dgm:pt>
    <dgm:pt modelId="{A5E2113C-EE45-7B4A-8FC2-544CE7F621D4}" type="pres">
      <dgm:prSet presAssocID="{8152D05C-1677-6240-ACD0-848B0C77A742}" presName="vert1" presStyleCnt="0"/>
      <dgm:spPr/>
    </dgm:pt>
  </dgm:ptLst>
  <dgm:cxnLst>
    <dgm:cxn modelId="{85AFCD82-53DE-3542-AB25-0FF475C30EF5}" srcId="{1571D5FD-13A6-CD40-B07E-054F749B3CEE}" destId="{12F74FA6-7786-2841-8922-9E8A71595B6D}" srcOrd="3" destOrd="0" parTransId="{AFB730BB-2943-1347-8FDD-A017083596B0}" sibTransId="{E2C36DCE-8387-AD4F-BCB1-B13086B9BBBE}"/>
    <dgm:cxn modelId="{5B873047-2770-4E77-94D2-AB75572E0CC8}" type="presOf" srcId="{F7B1E80B-52DD-1243-AC71-09FC783E79B2}" destId="{0E11222B-3E55-C049-B212-F60715C47091}" srcOrd="0" destOrd="0" presId="urn:microsoft.com/office/officeart/2008/layout/LinedList"/>
    <dgm:cxn modelId="{FBDA21D7-D7F0-4970-9566-6F889DBA204B}" type="presOf" srcId="{8152D05C-1677-6240-ACD0-848B0C77A742}" destId="{D00DBF76-B143-354C-A5EC-DF8456BADCE0}" srcOrd="0" destOrd="0" presId="urn:microsoft.com/office/officeart/2008/layout/LinedList"/>
    <dgm:cxn modelId="{E8334926-4C8F-E44B-8490-B9BA8D70681F}" srcId="{1571D5FD-13A6-CD40-B07E-054F749B3CEE}" destId="{973D66C8-BD69-DE4D-A047-E323EFFD98CC}" srcOrd="0" destOrd="0" parTransId="{6D8F04E8-FC5F-4741-9187-18F6C1DD401E}" sibTransId="{6CD434EB-C114-1B4C-8C5F-636981D40286}"/>
    <dgm:cxn modelId="{8CA47C1C-AA8B-4128-8748-AAAB71CA727D}" type="presOf" srcId="{973D66C8-BD69-DE4D-A047-E323EFFD98CC}" destId="{FC40FD0A-BD8F-1346-A22B-F039DA2CCB30}" srcOrd="0" destOrd="0" presId="urn:microsoft.com/office/officeart/2008/layout/LinedList"/>
    <dgm:cxn modelId="{8DCAA1AD-E253-1C42-9F60-9D3BC92CF0E5}" srcId="{1571D5FD-13A6-CD40-B07E-054F749B3CEE}" destId="{F7B1E80B-52DD-1243-AC71-09FC783E79B2}" srcOrd="1" destOrd="0" parTransId="{0D43E4ED-B12A-6742-BD36-C928CC822C76}" sibTransId="{B98BA130-5A38-EA40-B421-DBAB43948230}"/>
    <dgm:cxn modelId="{4DD97579-81AA-994C-8E88-992005245497}" srcId="{1571D5FD-13A6-CD40-B07E-054F749B3CEE}" destId="{51FA2D80-2909-3C49-AAA7-7EBEADF38BBC}" srcOrd="2" destOrd="0" parTransId="{8D48860C-6758-1B42-821E-6F425F68A06E}" sibTransId="{C698160A-72BB-E448-A5CF-90EB8F6B31BC}"/>
    <dgm:cxn modelId="{6E200E13-3E75-2C48-8859-DE6DEC064672}" srcId="{1571D5FD-13A6-CD40-B07E-054F749B3CEE}" destId="{8152D05C-1677-6240-ACD0-848B0C77A742}" srcOrd="4" destOrd="0" parTransId="{0C619BE7-A239-0748-915F-20644745FE35}" sibTransId="{F662D700-03B0-B34F-8D15-06B15FD9B87B}"/>
    <dgm:cxn modelId="{86D596F2-082E-4FA8-81CF-E2C28D26BC8A}" type="presOf" srcId="{51FA2D80-2909-3C49-AAA7-7EBEADF38BBC}" destId="{FC6D7338-B966-ED41-A623-32BE3C44E6BF}" srcOrd="0" destOrd="0" presId="urn:microsoft.com/office/officeart/2008/layout/LinedList"/>
    <dgm:cxn modelId="{87C3DA4F-FE4C-425C-A99E-4A776A3DF3C1}" type="presOf" srcId="{12F74FA6-7786-2841-8922-9E8A71595B6D}" destId="{8549972A-1707-1A48-94E7-B0C28C627A71}" srcOrd="0" destOrd="0" presId="urn:microsoft.com/office/officeart/2008/layout/LinedList"/>
    <dgm:cxn modelId="{70870036-98F3-4EAA-AC4F-A2DE894FF8FE}" type="presOf" srcId="{1571D5FD-13A6-CD40-B07E-054F749B3CEE}" destId="{6C0B7AE9-F1FE-DD4B-B9BA-3FC930D3FEDA}" srcOrd="0" destOrd="0" presId="urn:microsoft.com/office/officeart/2008/layout/LinedList"/>
    <dgm:cxn modelId="{B3DD4AA4-3F6D-4CC4-9DDF-0438B9CE42C8}" type="presParOf" srcId="{6C0B7AE9-F1FE-DD4B-B9BA-3FC930D3FEDA}" destId="{79F426BE-53AB-D14B-A5A1-EB03A1D30B61}" srcOrd="0" destOrd="0" presId="urn:microsoft.com/office/officeart/2008/layout/LinedList"/>
    <dgm:cxn modelId="{D70CBCF5-2590-464C-A545-3B25E7340A99}" type="presParOf" srcId="{6C0B7AE9-F1FE-DD4B-B9BA-3FC930D3FEDA}" destId="{B7F737BB-127F-724B-9211-963907317F19}" srcOrd="1" destOrd="0" presId="urn:microsoft.com/office/officeart/2008/layout/LinedList"/>
    <dgm:cxn modelId="{E840C32A-D34F-4BA9-8D24-77150323D2C5}" type="presParOf" srcId="{B7F737BB-127F-724B-9211-963907317F19}" destId="{FC40FD0A-BD8F-1346-A22B-F039DA2CCB30}" srcOrd="0" destOrd="0" presId="urn:microsoft.com/office/officeart/2008/layout/LinedList"/>
    <dgm:cxn modelId="{DECF58C6-6842-43E5-9A71-577FF7B8D9F9}" type="presParOf" srcId="{B7F737BB-127F-724B-9211-963907317F19}" destId="{97FF2230-4F40-2D41-9809-7A2375830C83}" srcOrd="1" destOrd="0" presId="urn:microsoft.com/office/officeart/2008/layout/LinedList"/>
    <dgm:cxn modelId="{1445EE0E-8E9B-453D-BF29-DDD3DAF7C643}" type="presParOf" srcId="{6C0B7AE9-F1FE-DD4B-B9BA-3FC930D3FEDA}" destId="{40CD082F-24A1-B245-B273-1F8695DBA533}" srcOrd="2" destOrd="0" presId="urn:microsoft.com/office/officeart/2008/layout/LinedList"/>
    <dgm:cxn modelId="{7A896A57-6F43-4BA5-9F17-E810A521E419}" type="presParOf" srcId="{6C0B7AE9-F1FE-DD4B-B9BA-3FC930D3FEDA}" destId="{46021929-6049-BD44-8E83-EAF12A3AE03D}" srcOrd="3" destOrd="0" presId="urn:microsoft.com/office/officeart/2008/layout/LinedList"/>
    <dgm:cxn modelId="{9B662515-6C69-4AAC-BD50-0D249F4CCDCD}" type="presParOf" srcId="{46021929-6049-BD44-8E83-EAF12A3AE03D}" destId="{0E11222B-3E55-C049-B212-F60715C47091}" srcOrd="0" destOrd="0" presId="urn:microsoft.com/office/officeart/2008/layout/LinedList"/>
    <dgm:cxn modelId="{01EF8DAF-7248-4B90-9308-DA5F7DDB9ACD}" type="presParOf" srcId="{46021929-6049-BD44-8E83-EAF12A3AE03D}" destId="{6BCEAE54-4B03-844C-BFA2-B1DE36E1BFC2}" srcOrd="1" destOrd="0" presId="urn:microsoft.com/office/officeart/2008/layout/LinedList"/>
    <dgm:cxn modelId="{9AF54184-8042-4733-A615-92DA7556E67F}" type="presParOf" srcId="{6C0B7AE9-F1FE-DD4B-B9BA-3FC930D3FEDA}" destId="{90A66873-6564-254F-93DD-529A803EBDDA}" srcOrd="4" destOrd="0" presId="urn:microsoft.com/office/officeart/2008/layout/LinedList"/>
    <dgm:cxn modelId="{2EB8CD98-DF62-4BEB-B65D-69BBA4814D9A}" type="presParOf" srcId="{6C0B7AE9-F1FE-DD4B-B9BA-3FC930D3FEDA}" destId="{CB836B4B-C3BF-5D4F-BB7E-56BCB3638702}" srcOrd="5" destOrd="0" presId="urn:microsoft.com/office/officeart/2008/layout/LinedList"/>
    <dgm:cxn modelId="{DB062DFE-F9E2-479A-8500-BA0A472E2222}" type="presParOf" srcId="{CB836B4B-C3BF-5D4F-BB7E-56BCB3638702}" destId="{FC6D7338-B966-ED41-A623-32BE3C44E6BF}" srcOrd="0" destOrd="0" presId="urn:microsoft.com/office/officeart/2008/layout/LinedList"/>
    <dgm:cxn modelId="{BC784E32-FE86-48CB-BAC6-E0EFEE1C2955}" type="presParOf" srcId="{CB836B4B-C3BF-5D4F-BB7E-56BCB3638702}" destId="{7C9AF2A5-F075-074B-8422-0A7FADEF6258}" srcOrd="1" destOrd="0" presId="urn:microsoft.com/office/officeart/2008/layout/LinedList"/>
    <dgm:cxn modelId="{C418465A-D62F-4E38-9F71-E48808EA18B7}" type="presParOf" srcId="{6C0B7AE9-F1FE-DD4B-B9BA-3FC930D3FEDA}" destId="{F178F2CE-E7F3-934C-B0B6-39F2A7DEACF0}" srcOrd="6" destOrd="0" presId="urn:microsoft.com/office/officeart/2008/layout/LinedList"/>
    <dgm:cxn modelId="{243C3DEE-8F05-42EE-8041-8DAA2AEC130B}" type="presParOf" srcId="{6C0B7AE9-F1FE-DD4B-B9BA-3FC930D3FEDA}" destId="{3F35BA92-D686-434F-866B-0BC46D5A17C2}" srcOrd="7" destOrd="0" presId="urn:microsoft.com/office/officeart/2008/layout/LinedList"/>
    <dgm:cxn modelId="{D6C333D9-ACDD-4707-8679-4251A9043679}" type="presParOf" srcId="{3F35BA92-D686-434F-866B-0BC46D5A17C2}" destId="{8549972A-1707-1A48-94E7-B0C28C627A71}" srcOrd="0" destOrd="0" presId="urn:microsoft.com/office/officeart/2008/layout/LinedList"/>
    <dgm:cxn modelId="{ED32107A-2871-4F78-9E66-24F8E2418149}" type="presParOf" srcId="{3F35BA92-D686-434F-866B-0BC46D5A17C2}" destId="{5C508DE9-0F2F-8742-AAB2-375B50D13A9A}" srcOrd="1" destOrd="0" presId="urn:microsoft.com/office/officeart/2008/layout/LinedList"/>
    <dgm:cxn modelId="{51F721B8-4A54-4DBB-BA0D-493164AC4535}" type="presParOf" srcId="{6C0B7AE9-F1FE-DD4B-B9BA-3FC930D3FEDA}" destId="{64BC9CB2-0642-E240-9AFA-1D6BB6927970}" srcOrd="8" destOrd="0" presId="urn:microsoft.com/office/officeart/2008/layout/LinedList"/>
    <dgm:cxn modelId="{A263CD2A-D30A-43FE-B052-8A26F9CDBA71}" type="presParOf" srcId="{6C0B7AE9-F1FE-DD4B-B9BA-3FC930D3FEDA}" destId="{5847AAF5-9274-3343-9ADF-6317442680D1}" srcOrd="9" destOrd="0" presId="urn:microsoft.com/office/officeart/2008/layout/LinedList"/>
    <dgm:cxn modelId="{D9BEC384-CAD7-4CFF-A53F-217461939303}" type="presParOf" srcId="{5847AAF5-9274-3343-9ADF-6317442680D1}" destId="{D00DBF76-B143-354C-A5EC-DF8456BADCE0}" srcOrd="0" destOrd="0" presId="urn:microsoft.com/office/officeart/2008/layout/LinedList"/>
    <dgm:cxn modelId="{ECA5183A-9EE9-45D6-A09E-BC27083B7393}" type="presParOf" srcId="{5847AAF5-9274-3343-9ADF-6317442680D1}" destId="{A5E2113C-EE45-7B4A-8FC2-544CE7F621D4}"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EC6C1A2-CA91-4178-AE34-4E7D8888A722}"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F59B865-E8C2-4717-B0E3-47B21F6D3B5F}">
      <dgm:prSet custT="1"/>
      <dgm:spPr>
        <a:solidFill>
          <a:srgbClr val="7030A0"/>
        </a:solidFill>
      </dgm:spPr>
      <dgm:t>
        <a:bodyPr/>
        <a:lstStyle/>
        <a:p>
          <a:pPr algn="ctr" rtl="0"/>
          <a:r>
            <a:rPr lang="en-US" sz="3600" b="1" smtClean="0">
              <a:solidFill>
                <a:schemeClr val="bg1">
                  <a:lumMod val="10000"/>
                  <a:lumOff val="90000"/>
                </a:schemeClr>
              </a:solidFill>
            </a:rPr>
            <a:t>Withdrawal</a:t>
          </a:r>
          <a:r>
            <a:rPr lang="en-US" sz="3600" b="1" i="1" smtClean="0">
              <a:solidFill>
                <a:schemeClr val="bg1">
                  <a:lumMod val="10000"/>
                  <a:lumOff val="90000"/>
                </a:schemeClr>
              </a:solidFill>
            </a:rPr>
            <a:t> </a:t>
          </a:r>
          <a:r>
            <a:rPr lang="en-US" sz="3600" b="1" smtClean="0">
              <a:solidFill>
                <a:schemeClr val="bg1">
                  <a:lumMod val="10000"/>
                  <a:lumOff val="90000"/>
                </a:schemeClr>
              </a:solidFill>
            </a:rPr>
            <a:t>of Oral Polio Vaccines </a:t>
          </a:r>
          <a:endParaRPr lang="en-US" sz="3600" b="1">
            <a:solidFill>
              <a:schemeClr val="bg1">
                <a:lumMod val="10000"/>
                <a:lumOff val="90000"/>
              </a:schemeClr>
            </a:solidFill>
          </a:endParaRPr>
        </a:p>
      </dgm:t>
    </dgm:pt>
    <dgm:pt modelId="{24B4C8DE-5AF9-4511-B066-C9586737B05E}" type="parTrans" cxnId="{418B11DB-8ED9-4258-B804-55D1474198A5}">
      <dgm:prSet/>
      <dgm:spPr/>
      <dgm:t>
        <a:bodyPr/>
        <a:lstStyle/>
        <a:p>
          <a:endParaRPr lang="en-US"/>
        </a:p>
      </dgm:t>
    </dgm:pt>
    <dgm:pt modelId="{59DF403A-5DF3-4A59-BE1A-0EABEF45925C}" type="sibTrans" cxnId="{418B11DB-8ED9-4258-B804-55D1474198A5}">
      <dgm:prSet/>
      <dgm:spPr/>
      <dgm:t>
        <a:bodyPr/>
        <a:lstStyle/>
        <a:p>
          <a:endParaRPr lang="en-US"/>
        </a:p>
      </dgm:t>
    </dgm:pt>
    <dgm:pt modelId="{5CC513D0-BC89-407B-82B3-4F82352FE4C0}" type="pres">
      <dgm:prSet presAssocID="{CEC6C1A2-CA91-4178-AE34-4E7D8888A722}" presName="linear" presStyleCnt="0">
        <dgm:presLayoutVars>
          <dgm:animLvl val="lvl"/>
          <dgm:resizeHandles val="exact"/>
        </dgm:presLayoutVars>
      </dgm:prSet>
      <dgm:spPr/>
      <dgm:t>
        <a:bodyPr/>
        <a:lstStyle/>
        <a:p>
          <a:endParaRPr lang="en-US"/>
        </a:p>
      </dgm:t>
    </dgm:pt>
    <dgm:pt modelId="{D8100ACD-194A-4826-ACF5-EF6B802008DE}" type="pres">
      <dgm:prSet presAssocID="{CF59B865-E8C2-4717-B0E3-47B21F6D3B5F}" presName="parentText" presStyleLbl="node1" presStyleIdx="0" presStyleCnt="1">
        <dgm:presLayoutVars>
          <dgm:chMax val="0"/>
          <dgm:bulletEnabled val="1"/>
        </dgm:presLayoutVars>
      </dgm:prSet>
      <dgm:spPr/>
      <dgm:t>
        <a:bodyPr/>
        <a:lstStyle/>
        <a:p>
          <a:endParaRPr lang="en-US"/>
        </a:p>
      </dgm:t>
    </dgm:pt>
  </dgm:ptLst>
  <dgm:cxnLst>
    <dgm:cxn modelId="{418B11DB-8ED9-4258-B804-55D1474198A5}" srcId="{CEC6C1A2-CA91-4178-AE34-4E7D8888A722}" destId="{CF59B865-E8C2-4717-B0E3-47B21F6D3B5F}" srcOrd="0" destOrd="0" parTransId="{24B4C8DE-5AF9-4511-B066-C9586737B05E}" sibTransId="{59DF403A-5DF3-4A59-BE1A-0EABEF45925C}"/>
    <dgm:cxn modelId="{A880612A-F967-407E-AF8C-80B6472A8E39}" type="presOf" srcId="{CEC6C1A2-CA91-4178-AE34-4E7D8888A722}" destId="{5CC513D0-BC89-407B-82B3-4F82352FE4C0}" srcOrd="0" destOrd="0" presId="urn:microsoft.com/office/officeart/2005/8/layout/vList2"/>
    <dgm:cxn modelId="{341BE78A-38B6-4173-9A10-63F7BD0EB92E}" type="presOf" srcId="{CF59B865-E8C2-4717-B0E3-47B21F6D3B5F}" destId="{D8100ACD-194A-4826-ACF5-EF6B802008DE}" srcOrd="0" destOrd="0" presId="urn:microsoft.com/office/officeart/2005/8/layout/vList2"/>
    <dgm:cxn modelId="{02129C68-7FAF-4990-B422-8341BC194779}" type="presParOf" srcId="{5CC513D0-BC89-407B-82B3-4F82352FE4C0}" destId="{D8100ACD-194A-4826-ACF5-EF6B802008DE}"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4DE36F1-81F1-4A0A-8B14-9E62AD8F8DA0}"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DFA50035-0899-4F06-BB6D-32D587215014}">
      <dgm:prSet custT="1"/>
      <dgm:spPr>
        <a:noFill/>
      </dgm:spPr>
      <dgm:t>
        <a:bodyPr/>
        <a:lstStyle/>
        <a:p>
          <a:pPr algn="ctr" rtl="0"/>
          <a:r>
            <a:rPr lang="en-US" sz="3600" b="1" dirty="0" smtClean="0">
              <a:solidFill>
                <a:srgbClr val="1F02CE"/>
              </a:solidFill>
            </a:rPr>
            <a:t>Mitigate the risk of low population immunity against type 2 polio</a:t>
          </a:r>
          <a:endParaRPr lang="en-US" sz="3600" dirty="0">
            <a:solidFill>
              <a:srgbClr val="1F02CE"/>
            </a:solidFill>
          </a:endParaRPr>
        </a:p>
      </dgm:t>
    </dgm:pt>
    <dgm:pt modelId="{BBC900E4-3CB7-4937-85CC-3EBAFF85F637}" type="parTrans" cxnId="{03AB1595-2B58-47FF-8B7A-DAD1C0E33619}">
      <dgm:prSet/>
      <dgm:spPr/>
      <dgm:t>
        <a:bodyPr/>
        <a:lstStyle/>
        <a:p>
          <a:pPr algn="ctr"/>
          <a:endParaRPr lang="en-US" sz="2000"/>
        </a:p>
      </dgm:t>
    </dgm:pt>
    <dgm:pt modelId="{F277EA2E-0EC2-4EA6-9E63-B7CB116322CE}" type="sibTrans" cxnId="{03AB1595-2B58-47FF-8B7A-DAD1C0E33619}">
      <dgm:prSet/>
      <dgm:spPr/>
      <dgm:t>
        <a:bodyPr/>
        <a:lstStyle/>
        <a:p>
          <a:pPr algn="ctr"/>
          <a:endParaRPr lang="en-US" sz="2000"/>
        </a:p>
      </dgm:t>
    </dgm:pt>
    <dgm:pt modelId="{8BA3DBDC-0B9A-494D-8E9C-9ACAAF435732}" type="pres">
      <dgm:prSet presAssocID="{44DE36F1-81F1-4A0A-8B14-9E62AD8F8DA0}" presName="linear" presStyleCnt="0">
        <dgm:presLayoutVars>
          <dgm:animLvl val="lvl"/>
          <dgm:resizeHandles val="exact"/>
        </dgm:presLayoutVars>
      </dgm:prSet>
      <dgm:spPr/>
      <dgm:t>
        <a:bodyPr/>
        <a:lstStyle/>
        <a:p>
          <a:endParaRPr lang="en-US"/>
        </a:p>
      </dgm:t>
    </dgm:pt>
    <dgm:pt modelId="{558F84BA-5FF7-4C66-94A1-A164FE54D02F}" type="pres">
      <dgm:prSet presAssocID="{DFA50035-0899-4F06-BB6D-32D587215014}" presName="parentText" presStyleLbl="node1" presStyleIdx="0" presStyleCnt="1" custScaleY="118415" custLinFactNeighborX="-229" custLinFactNeighborY="30203">
        <dgm:presLayoutVars>
          <dgm:chMax val="0"/>
          <dgm:bulletEnabled val="1"/>
        </dgm:presLayoutVars>
      </dgm:prSet>
      <dgm:spPr/>
      <dgm:t>
        <a:bodyPr/>
        <a:lstStyle/>
        <a:p>
          <a:endParaRPr lang="en-US"/>
        </a:p>
      </dgm:t>
    </dgm:pt>
  </dgm:ptLst>
  <dgm:cxnLst>
    <dgm:cxn modelId="{63406DC6-2E22-49F3-951D-3E007B8FB552}" type="presOf" srcId="{DFA50035-0899-4F06-BB6D-32D587215014}" destId="{558F84BA-5FF7-4C66-94A1-A164FE54D02F}" srcOrd="0" destOrd="0" presId="urn:microsoft.com/office/officeart/2005/8/layout/vList2"/>
    <dgm:cxn modelId="{03AB1595-2B58-47FF-8B7A-DAD1C0E33619}" srcId="{44DE36F1-81F1-4A0A-8B14-9E62AD8F8DA0}" destId="{DFA50035-0899-4F06-BB6D-32D587215014}" srcOrd="0" destOrd="0" parTransId="{BBC900E4-3CB7-4937-85CC-3EBAFF85F637}" sibTransId="{F277EA2E-0EC2-4EA6-9E63-B7CB116322CE}"/>
    <dgm:cxn modelId="{E24F7847-23B6-4F79-AD62-112DD674EF15}" type="presOf" srcId="{44DE36F1-81F1-4A0A-8B14-9E62AD8F8DA0}" destId="{8BA3DBDC-0B9A-494D-8E9C-9ACAAF435732}" srcOrd="0" destOrd="0" presId="urn:microsoft.com/office/officeart/2005/8/layout/vList2"/>
    <dgm:cxn modelId="{BE0116E1-8415-427A-BAAA-171499E5DCFE}" type="presParOf" srcId="{8BA3DBDC-0B9A-494D-8E9C-9ACAAF435732}" destId="{558F84BA-5FF7-4C66-94A1-A164FE54D02F}"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CD093A2-B35D-43C5-8360-07B211B7407C}"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349E1929-7D9F-49C6-8498-0838B9632DBB}">
      <dgm:prSet custT="1"/>
      <dgm:spPr>
        <a:noFill/>
      </dgm:spPr>
      <dgm:t>
        <a:bodyPr/>
        <a:lstStyle/>
        <a:p>
          <a:pPr algn="ctr" rtl="0"/>
          <a:r>
            <a:rPr lang="en-GB" sz="3600" b="1" dirty="0" smtClean="0">
              <a:solidFill>
                <a:srgbClr val="1F02CE"/>
              </a:solidFill>
            </a:rPr>
            <a:t>Introduce IPV prior to OPV type 2 withdrawal</a:t>
          </a:r>
          <a:endParaRPr lang="en-US" sz="3600" b="1" dirty="0">
            <a:solidFill>
              <a:srgbClr val="1F02CE"/>
            </a:solidFill>
          </a:endParaRPr>
        </a:p>
      </dgm:t>
    </dgm:pt>
    <dgm:pt modelId="{ADA95093-64E5-4401-8EA1-D24EFD0363C2}" type="parTrans" cxnId="{8575CD57-8154-4A83-8273-C06A05683F0B}">
      <dgm:prSet/>
      <dgm:spPr/>
      <dgm:t>
        <a:bodyPr/>
        <a:lstStyle/>
        <a:p>
          <a:endParaRPr lang="en-US"/>
        </a:p>
      </dgm:t>
    </dgm:pt>
    <dgm:pt modelId="{D534A986-A349-4E16-9F99-ABB0857E08C0}" type="sibTrans" cxnId="{8575CD57-8154-4A83-8273-C06A05683F0B}">
      <dgm:prSet/>
      <dgm:spPr/>
      <dgm:t>
        <a:bodyPr/>
        <a:lstStyle/>
        <a:p>
          <a:endParaRPr lang="en-US"/>
        </a:p>
      </dgm:t>
    </dgm:pt>
    <dgm:pt modelId="{717F746C-5C03-45EA-891E-7661BAF96BDE}" type="pres">
      <dgm:prSet presAssocID="{8CD093A2-B35D-43C5-8360-07B211B7407C}" presName="linear" presStyleCnt="0">
        <dgm:presLayoutVars>
          <dgm:animLvl val="lvl"/>
          <dgm:resizeHandles val="exact"/>
        </dgm:presLayoutVars>
      </dgm:prSet>
      <dgm:spPr/>
      <dgm:t>
        <a:bodyPr/>
        <a:lstStyle/>
        <a:p>
          <a:endParaRPr lang="en-US"/>
        </a:p>
      </dgm:t>
    </dgm:pt>
    <dgm:pt modelId="{227E7FF4-7B39-420D-BAFF-4AF7DBA15D41}" type="pres">
      <dgm:prSet presAssocID="{349E1929-7D9F-49C6-8498-0838B9632DBB}" presName="parentText" presStyleLbl="node1" presStyleIdx="0" presStyleCnt="1" custLinFactNeighborY="50000">
        <dgm:presLayoutVars>
          <dgm:chMax val="0"/>
          <dgm:bulletEnabled val="1"/>
        </dgm:presLayoutVars>
      </dgm:prSet>
      <dgm:spPr/>
      <dgm:t>
        <a:bodyPr/>
        <a:lstStyle/>
        <a:p>
          <a:endParaRPr lang="en-US"/>
        </a:p>
      </dgm:t>
    </dgm:pt>
  </dgm:ptLst>
  <dgm:cxnLst>
    <dgm:cxn modelId="{8575CD57-8154-4A83-8273-C06A05683F0B}" srcId="{8CD093A2-B35D-43C5-8360-07B211B7407C}" destId="{349E1929-7D9F-49C6-8498-0838B9632DBB}" srcOrd="0" destOrd="0" parTransId="{ADA95093-64E5-4401-8EA1-D24EFD0363C2}" sibTransId="{D534A986-A349-4E16-9F99-ABB0857E08C0}"/>
    <dgm:cxn modelId="{1BAA606C-FA8B-44A7-8B10-03C904836AD9}" type="presOf" srcId="{8CD093A2-B35D-43C5-8360-07B211B7407C}" destId="{717F746C-5C03-45EA-891E-7661BAF96BDE}" srcOrd="0" destOrd="0" presId="urn:microsoft.com/office/officeart/2005/8/layout/vList2"/>
    <dgm:cxn modelId="{35B54498-A43A-402D-8FC0-1620B8AF943D}" type="presOf" srcId="{349E1929-7D9F-49C6-8498-0838B9632DBB}" destId="{227E7FF4-7B39-420D-BAFF-4AF7DBA15D41}" srcOrd="0" destOrd="0" presId="urn:microsoft.com/office/officeart/2005/8/layout/vList2"/>
    <dgm:cxn modelId="{5506073B-0ADC-483F-9C55-7E82DBF7FF93}" type="presParOf" srcId="{717F746C-5C03-45EA-891E-7661BAF96BDE}" destId="{227E7FF4-7B39-420D-BAFF-4AF7DBA15D41}"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C6063B0-FC94-44D6-B37B-F251691A368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41E10F3-1879-45ED-B2DC-EA13EFF7C721}">
      <dgm:prSet custT="1"/>
      <dgm:spPr>
        <a:noFill/>
      </dgm:spPr>
      <dgm: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C00000"/>
              </a:solidFill>
            </a:rPr>
            <a:t>Single IPV dose closes humoral immunity gaps in </a:t>
          </a:r>
          <a:r>
            <a:rPr lang="en-GB" sz="2400" b="1" i="1" u="sng" dirty="0" smtClean="0">
              <a:solidFill>
                <a:srgbClr val="C00000"/>
              </a:solidFill>
            </a:rPr>
            <a:t>OPV-vaccinated</a:t>
          </a:r>
          <a:r>
            <a:rPr lang="en-GB" sz="2400" u="sng" dirty="0" smtClean="0">
              <a:solidFill>
                <a:srgbClr val="C00000"/>
              </a:solidFill>
            </a:rPr>
            <a:t> </a:t>
          </a:r>
          <a:r>
            <a:rPr lang="en-GB" sz="2400" dirty="0" smtClean="0">
              <a:solidFill>
                <a:srgbClr val="C00000"/>
              </a:solidFill>
            </a:rPr>
            <a:t>infants</a:t>
          </a:r>
        </a:p>
        <a:p>
          <a:pPr marL="0" marR="0" indent="0" algn="ctr" defTabSz="914400" rtl="0" eaLnBrk="1" fontAlgn="auto" latinLnBrk="0" hangingPunct="1">
            <a:lnSpc>
              <a:spcPct val="100000"/>
            </a:lnSpc>
            <a:spcBef>
              <a:spcPts val="0"/>
            </a:spcBef>
            <a:spcAft>
              <a:spcPts val="0"/>
            </a:spcAft>
            <a:buClrTx/>
            <a:buSzTx/>
            <a:buFontTx/>
            <a:buNone/>
            <a:tabLst/>
            <a:defRPr/>
          </a:pPr>
          <a:r>
            <a:rPr lang="en-GB" sz="2400" dirty="0" smtClean="0">
              <a:solidFill>
                <a:srgbClr val="C00000"/>
              </a:solidFill>
            </a:rPr>
            <a:t>(Côte d'Ivoire, 1990-91)</a:t>
          </a:r>
        </a:p>
      </dgm:t>
    </dgm:pt>
    <dgm:pt modelId="{97CC0BA7-B32B-4061-A760-4C30ABE07CE5}" type="parTrans" cxnId="{FA1CCAB5-95E6-4275-A935-91BFD7127B2A}">
      <dgm:prSet/>
      <dgm:spPr/>
      <dgm:t>
        <a:bodyPr/>
        <a:lstStyle/>
        <a:p>
          <a:endParaRPr lang="en-US" sz="1600">
            <a:solidFill>
              <a:srgbClr val="C00000"/>
            </a:solidFill>
          </a:endParaRPr>
        </a:p>
      </dgm:t>
    </dgm:pt>
    <dgm:pt modelId="{2FF18FD9-807A-46D5-AC95-5C8ECB6B299C}" type="sibTrans" cxnId="{FA1CCAB5-95E6-4275-A935-91BFD7127B2A}">
      <dgm:prSet/>
      <dgm:spPr/>
      <dgm:t>
        <a:bodyPr/>
        <a:lstStyle/>
        <a:p>
          <a:endParaRPr lang="en-US" sz="1600">
            <a:solidFill>
              <a:srgbClr val="C00000"/>
            </a:solidFill>
          </a:endParaRPr>
        </a:p>
      </dgm:t>
    </dgm:pt>
    <dgm:pt modelId="{F5304855-DFFB-44FA-8E66-608055BCF1EA}" type="pres">
      <dgm:prSet presAssocID="{4C6063B0-FC94-44D6-B37B-F251691A368E}" presName="linear" presStyleCnt="0">
        <dgm:presLayoutVars>
          <dgm:animLvl val="lvl"/>
          <dgm:resizeHandles val="exact"/>
        </dgm:presLayoutVars>
      </dgm:prSet>
      <dgm:spPr/>
      <dgm:t>
        <a:bodyPr/>
        <a:lstStyle/>
        <a:p>
          <a:endParaRPr lang="en-US"/>
        </a:p>
      </dgm:t>
    </dgm:pt>
    <dgm:pt modelId="{D99E2B25-54FB-4372-A1DA-E1E35D86D338}" type="pres">
      <dgm:prSet presAssocID="{C41E10F3-1879-45ED-B2DC-EA13EFF7C721}" presName="parentText" presStyleLbl="node1" presStyleIdx="0" presStyleCnt="1" custScaleY="350621" custLinFactNeighborX="-19070" custLinFactNeighborY="-7911">
        <dgm:presLayoutVars>
          <dgm:chMax val="0"/>
          <dgm:bulletEnabled val="1"/>
        </dgm:presLayoutVars>
      </dgm:prSet>
      <dgm:spPr/>
      <dgm:t>
        <a:bodyPr/>
        <a:lstStyle/>
        <a:p>
          <a:endParaRPr lang="en-US"/>
        </a:p>
      </dgm:t>
    </dgm:pt>
  </dgm:ptLst>
  <dgm:cxnLst>
    <dgm:cxn modelId="{FA1CCAB5-95E6-4275-A935-91BFD7127B2A}" srcId="{4C6063B0-FC94-44D6-B37B-F251691A368E}" destId="{C41E10F3-1879-45ED-B2DC-EA13EFF7C721}" srcOrd="0" destOrd="0" parTransId="{97CC0BA7-B32B-4061-A760-4C30ABE07CE5}" sibTransId="{2FF18FD9-807A-46D5-AC95-5C8ECB6B299C}"/>
    <dgm:cxn modelId="{EB5CC980-E9C5-4B23-8D32-DE92F4B159EA}" type="presOf" srcId="{C41E10F3-1879-45ED-B2DC-EA13EFF7C721}" destId="{D99E2B25-54FB-4372-A1DA-E1E35D86D338}" srcOrd="0" destOrd="0" presId="urn:microsoft.com/office/officeart/2005/8/layout/vList2"/>
    <dgm:cxn modelId="{506755BF-6C4D-435E-8139-103F9BA8C350}" type="presOf" srcId="{4C6063B0-FC94-44D6-B37B-F251691A368E}" destId="{F5304855-DFFB-44FA-8E66-608055BCF1EA}" srcOrd="0" destOrd="0" presId="urn:microsoft.com/office/officeart/2005/8/layout/vList2"/>
    <dgm:cxn modelId="{848DFCD1-8215-456C-B740-67A6F16FE275}" type="presParOf" srcId="{F5304855-DFFB-44FA-8E66-608055BCF1EA}" destId="{D99E2B25-54FB-4372-A1DA-E1E35D86D338}"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B76DD1C-44A6-4981-AF5F-E7719479D9E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B93D40B-749C-41AA-92C4-748C798EB1CF}">
      <dgm:prSet/>
      <dgm:spPr>
        <a:noFill/>
      </dgm:spPr>
      <dgm:t>
        <a:bodyPr/>
        <a:lstStyle/>
        <a:p>
          <a:pPr rtl="0"/>
          <a:r>
            <a:rPr lang="en-GB" dirty="0" smtClean="0">
              <a:solidFill>
                <a:srgbClr val="C00000"/>
              </a:solidFill>
            </a:rPr>
            <a:t>Study in India confirms a single IPV dose closes humoral immunity gap in </a:t>
          </a:r>
          <a:r>
            <a:rPr lang="en-GB" b="1" i="1" u="sng" dirty="0" smtClean="0">
              <a:solidFill>
                <a:srgbClr val="C00000"/>
              </a:solidFill>
            </a:rPr>
            <a:t>OPV primed</a:t>
          </a:r>
          <a:r>
            <a:rPr lang="en-GB" b="1" i="1" dirty="0" smtClean="0">
              <a:solidFill>
                <a:srgbClr val="C00000"/>
              </a:solidFill>
            </a:rPr>
            <a:t> </a:t>
          </a:r>
          <a:r>
            <a:rPr lang="en-GB" dirty="0" smtClean="0">
              <a:solidFill>
                <a:srgbClr val="C00000"/>
              </a:solidFill>
            </a:rPr>
            <a:t>children (Moradabad, 2009)</a:t>
          </a:r>
          <a:endParaRPr lang="en-US" dirty="0">
            <a:solidFill>
              <a:srgbClr val="C00000"/>
            </a:solidFill>
          </a:endParaRPr>
        </a:p>
      </dgm:t>
    </dgm:pt>
    <dgm:pt modelId="{E9543E67-354F-4854-B991-ADDBFBC6E615}" type="parTrans" cxnId="{DF98F60A-6FCA-4B0E-BBF6-EB84088F84C4}">
      <dgm:prSet/>
      <dgm:spPr/>
      <dgm:t>
        <a:bodyPr/>
        <a:lstStyle/>
        <a:p>
          <a:endParaRPr lang="en-US">
            <a:solidFill>
              <a:srgbClr val="C00000"/>
            </a:solidFill>
          </a:endParaRPr>
        </a:p>
      </dgm:t>
    </dgm:pt>
    <dgm:pt modelId="{B9CFC0BD-FAA1-4225-A65B-3964B0407660}" type="sibTrans" cxnId="{DF98F60A-6FCA-4B0E-BBF6-EB84088F84C4}">
      <dgm:prSet/>
      <dgm:spPr/>
      <dgm:t>
        <a:bodyPr/>
        <a:lstStyle/>
        <a:p>
          <a:endParaRPr lang="en-US">
            <a:solidFill>
              <a:srgbClr val="C00000"/>
            </a:solidFill>
          </a:endParaRPr>
        </a:p>
      </dgm:t>
    </dgm:pt>
    <dgm:pt modelId="{799B1922-975D-4134-B614-B82C30FB1E3E}" type="pres">
      <dgm:prSet presAssocID="{7B76DD1C-44A6-4981-AF5F-E7719479D9E6}" presName="linear" presStyleCnt="0">
        <dgm:presLayoutVars>
          <dgm:animLvl val="lvl"/>
          <dgm:resizeHandles val="exact"/>
        </dgm:presLayoutVars>
      </dgm:prSet>
      <dgm:spPr/>
      <dgm:t>
        <a:bodyPr/>
        <a:lstStyle/>
        <a:p>
          <a:endParaRPr lang="en-US"/>
        </a:p>
      </dgm:t>
    </dgm:pt>
    <dgm:pt modelId="{79B4495B-7065-43EC-B538-50776D6C5E04}" type="pres">
      <dgm:prSet presAssocID="{CB93D40B-749C-41AA-92C4-748C798EB1CF}" presName="parentText" presStyleLbl="node1" presStyleIdx="0" presStyleCnt="1" custScaleY="124838" custLinFactNeighborY="-6605">
        <dgm:presLayoutVars>
          <dgm:chMax val="0"/>
          <dgm:bulletEnabled val="1"/>
        </dgm:presLayoutVars>
      </dgm:prSet>
      <dgm:spPr/>
      <dgm:t>
        <a:bodyPr/>
        <a:lstStyle/>
        <a:p>
          <a:endParaRPr lang="en-US"/>
        </a:p>
      </dgm:t>
    </dgm:pt>
  </dgm:ptLst>
  <dgm:cxnLst>
    <dgm:cxn modelId="{6200628C-09A9-4B93-8CAA-3F12321FC2B0}" type="presOf" srcId="{CB93D40B-749C-41AA-92C4-748C798EB1CF}" destId="{79B4495B-7065-43EC-B538-50776D6C5E04}" srcOrd="0" destOrd="0" presId="urn:microsoft.com/office/officeart/2005/8/layout/vList2"/>
    <dgm:cxn modelId="{2423E0D9-8575-4BE2-81E8-0D862F5E1424}" type="presOf" srcId="{7B76DD1C-44A6-4981-AF5F-E7719479D9E6}" destId="{799B1922-975D-4134-B614-B82C30FB1E3E}" srcOrd="0" destOrd="0" presId="urn:microsoft.com/office/officeart/2005/8/layout/vList2"/>
    <dgm:cxn modelId="{DF98F60A-6FCA-4B0E-BBF6-EB84088F84C4}" srcId="{7B76DD1C-44A6-4981-AF5F-E7719479D9E6}" destId="{CB93D40B-749C-41AA-92C4-748C798EB1CF}" srcOrd="0" destOrd="0" parTransId="{E9543E67-354F-4854-B991-ADDBFBC6E615}" sibTransId="{B9CFC0BD-FAA1-4225-A65B-3964B0407660}"/>
    <dgm:cxn modelId="{01CD55DE-A92C-4E97-82AE-C1BB5E73889E}" type="presParOf" srcId="{799B1922-975D-4134-B614-B82C30FB1E3E}" destId="{79B4495B-7065-43EC-B538-50776D6C5E04}"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8BD66F3-EB8E-42B0-9F2E-073C4FDED24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1F1BD9B-A9CF-4CFF-8254-FB3C91632322}">
      <dgm:prSet/>
      <dgm:spPr>
        <a:noFill/>
      </dgm:spPr>
      <dgm:t>
        <a:bodyPr/>
        <a:lstStyle/>
        <a:p>
          <a:pPr algn="ctr" rtl="0"/>
          <a:r>
            <a:rPr lang="en-GB" b="0" dirty="0" smtClean="0">
              <a:solidFill>
                <a:srgbClr val="C00000"/>
              </a:solidFill>
            </a:rPr>
            <a:t>Single IPV boosts mucosal immunity in children with multiple OPV doses (Moradabad, 2011)</a:t>
          </a:r>
          <a:endParaRPr lang="en-US" b="0" dirty="0">
            <a:solidFill>
              <a:srgbClr val="C00000"/>
            </a:solidFill>
          </a:endParaRPr>
        </a:p>
      </dgm:t>
    </dgm:pt>
    <dgm:pt modelId="{C590D0D2-4161-4E5D-96F0-7E677A337031}" type="parTrans" cxnId="{5D1FEFF0-8D46-41D2-8AF0-9B7E0D2B95FA}">
      <dgm:prSet/>
      <dgm:spPr/>
      <dgm:t>
        <a:bodyPr/>
        <a:lstStyle/>
        <a:p>
          <a:endParaRPr lang="en-US"/>
        </a:p>
      </dgm:t>
    </dgm:pt>
    <dgm:pt modelId="{050394A3-818B-411A-A551-4482807A4814}" type="sibTrans" cxnId="{5D1FEFF0-8D46-41D2-8AF0-9B7E0D2B95FA}">
      <dgm:prSet/>
      <dgm:spPr/>
      <dgm:t>
        <a:bodyPr/>
        <a:lstStyle/>
        <a:p>
          <a:endParaRPr lang="en-US"/>
        </a:p>
      </dgm:t>
    </dgm:pt>
    <dgm:pt modelId="{57A5330B-8FF5-4354-A0F5-FAA95C2378E0}" type="pres">
      <dgm:prSet presAssocID="{B8BD66F3-EB8E-42B0-9F2E-073C4FDED24D}" presName="linear" presStyleCnt="0">
        <dgm:presLayoutVars>
          <dgm:animLvl val="lvl"/>
          <dgm:resizeHandles val="exact"/>
        </dgm:presLayoutVars>
      </dgm:prSet>
      <dgm:spPr/>
      <dgm:t>
        <a:bodyPr/>
        <a:lstStyle/>
        <a:p>
          <a:endParaRPr lang="en-US"/>
        </a:p>
      </dgm:t>
    </dgm:pt>
    <dgm:pt modelId="{13342F32-7AEE-470A-B10B-3FA687AB75F9}" type="pres">
      <dgm:prSet presAssocID="{F1F1BD9B-A9CF-4CFF-8254-FB3C91632322}" presName="parentText" presStyleLbl="node1" presStyleIdx="0" presStyleCnt="1" custScaleX="99653" custScaleY="43511">
        <dgm:presLayoutVars>
          <dgm:chMax val="0"/>
          <dgm:bulletEnabled val="1"/>
        </dgm:presLayoutVars>
      </dgm:prSet>
      <dgm:spPr/>
      <dgm:t>
        <a:bodyPr/>
        <a:lstStyle/>
        <a:p>
          <a:endParaRPr lang="en-US"/>
        </a:p>
      </dgm:t>
    </dgm:pt>
  </dgm:ptLst>
  <dgm:cxnLst>
    <dgm:cxn modelId="{5D1FEFF0-8D46-41D2-8AF0-9B7E0D2B95FA}" srcId="{B8BD66F3-EB8E-42B0-9F2E-073C4FDED24D}" destId="{F1F1BD9B-A9CF-4CFF-8254-FB3C91632322}" srcOrd="0" destOrd="0" parTransId="{C590D0D2-4161-4E5D-96F0-7E677A337031}" sibTransId="{050394A3-818B-411A-A551-4482807A4814}"/>
    <dgm:cxn modelId="{7A7F6ECE-F640-4546-A485-DE845404E542}" type="presOf" srcId="{B8BD66F3-EB8E-42B0-9F2E-073C4FDED24D}" destId="{57A5330B-8FF5-4354-A0F5-FAA95C2378E0}" srcOrd="0" destOrd="0" presId="urn:microsoft.com/office/officeart/2005/8/layout/vList2"/>
    <dgm:cxn modelId="{E7CA0870-0E15-46CE-A313-7F8B76E95F72}" type="presOf" srcId="{F1F1BD9B-A9CF-4CFF-8254-FB3C91632322}" destId="{13342F32-7AEE-470A-B10B-3FA687AB75F9}" srcOrd="0" destOrd="0" presId="urn:microsoft.com/office/officeart/2005/8/layout/vList2"/>
    <dgm:cxn modelId="{9236EAC7-1020-41FE-8DE7-39C73EC570A6}" type="presParOf" srcId="{57A5330B-8FF5-4354-A0F5-FAA95C2378E0}" destId="{13342F32-7AEE-470A-B10B-3FA687AB75F9}"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F510CF-8895-4B96-9E9D-F25CC2EC5274}">
      <dsp:nvSpPr>
        <dsp:cNvPr id="0" name=""/>
        <dsp:cNvSpPr/>
      </dsp:nvSpPr>
      <dsp:spPr>
        <a:xfrm>
          <a:off x="0" y="165"/>
          <a:ext cx="8884095" cy="1142669"/>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rtl="0">
            <a:lnSpc>
              <a:spcPct val="90000"/>
            </a:lnSpc>
            <a:spcBef>
              <a:spcPct val="0"/>
            </a:spcBef>
            <a:spcAft>
              <a:spcPct val="35000"/>
            </a:spcAft>
          </a:pPr>
          <a:r>
            <a:rPr lang="en-US" sz="3200" b="1" kern="1200" dirty="0" smtClean="0">
              <a:solidFill>
                <a:srgbClr val="1F02CE"/>
              </a:solidFill>
            </a:rPr>
            <a:t>The Polio Eradication &amp; Endgame Strategic Plan 2013-2018</a:t>
          </a:r>
          <a:endParaRPr lang="en-US" sz="3200" b="1" kern="1200" dirty="0">
            <a:solidFill>
              <a:srgbClr val="1F02CE"/>
            </a:solidFill>
          </a:endParaRPr>
        </a:p>
      </dsp:txBody>
      <dsp:txXfrm>
        <a:off x="55781" y="55946"/>
        <a:ext cx="8772533" cy="103110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05C3D2-1E24-584B-B7FC-1A2CDF7CB943}">
      <dsp:nvSpPr>
        <dsp:cNvPr id="0" name=""/>
        <dsp:cNvSpPr/>
      </dsp:nvSpPr>
      <dsp:spPr>
        <a:xfrm>
          <a:off x="0" y="0"/>
          <a:ext cx="8077200" cy="0"/>
        </a:xfrm>
        <a:prstGeom prst="line">
          <a:avLst/>
        </a:prstGeom>
        <a:gradFill rotWithShape="0">
          <a:gsLst>
            <a:gs pos="0">
              <a:schemeClr val="accent5">
                <a:hueOff val="0"/>
                <a:satOff val="0"/>
                <a:lumOff val="0"/>
                <a:alphaOff val="0"/>
                <a:tint val="100000"/>
                <a:shade val="100000"/>
                <a:satMod val="130000"/>
              </a:schemeClr>
            </a:gs>
            <a:gs pos="100000">
              <a:schemeClr val="accent5">
                <a:hueOff val="0"/>
                <a:satOff val="0"/>
                <a:lumOff val="0"/>
                <a:alphaOff val="0"/>
                <a:tint val="50000"/>
                <a:shade val="100000"/>
                <a:satMod val="350000"/>
              </a:schemeClr>
            </a:gs>
          </a:gsLst>
          <a:lin ang="16200000" scaled="0"/>
        </a:gradFill>
        <a:ln w="9525" cap="flat" cmpd="sng" algn="ctr">
          <a:solidFill>
            <a:schemeClr val="accent5">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59F45931-32F4-5341-98C3-F683142F98EE}">
      <dsp:nvSpPr>
        <dsp:cNvPr id="0" name=""/>
        <dsp:cNvSpPr/>
      </dsp:nvSpPr>
      <dsp:spPr>
        <a:xfrm>
          <a:off x="0" y="0"/>
          <a:ext cx="1615440" cy="4063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b="1" kern="1200" dirty="0" smtClean="0"/>
            <a:t>STUDY</a:t>
          </a:r>
        </a:p>
        <a:p>
          <a:pPr lvl="0" algn="l" defTabSz="1066800">
            <a:lnSpc>
              <a:spcPct val="90000"/>
            </a:lnSpc>
            <a:spcBef>
              <a:spcPct val="0"/>
            </a:spcBef>
            <a:spcAft>
              <a:spcPct val="35000"/>
            </a:spcAft>
          </a:pPr>
          <a:r>
            <a:rPr lang="en-US" sz="2400" b="1" kern="1200" dirty="0" smtClean="0"/>
            <a:t>FINDINGS</a:t>
          </a:r>
          <a:endParaRPr lang="en-US" sz="2400" b="1" kern="1200" dirty="0"/>
        </a:p>
      </dsp:txBody>
      <dsp:txXfrm>
        <a:off x="0" y="0"/>
        <a:ext cx="1615440" cy="4063999"/>
      </dsp:txXfrm>
    </dsp:sp>
    <dsp:sp modelId="{27AD6512-005C-F34E-BB08-D08079210BFF}">
      <dsp:nvSpPr>
        <dsp:cNvPr id="0" name=""/>
        <dsp:cNvSpPr/>
      </dsp:nvSpPr>
      <dsp:spPr>
        <a:xfrm>
          <a:off x="1736597" y="94456"/>
          <a:ext cx="6340602" cy="18891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A dose of IPV given to children aged 1–4 years previously vaccinated with OPV substantially increased </a:t>
          </a:r>
          <a:r>
            <a:rPr lang="en-US" sz="2400" kern="1200" dirty="0" err="1" smtClean="0"/>
            <a:t>humoral</a:t>
          </a:r>
          <a:r>
            <a:rPr lang="en-US" sz="2400" kern="1200" dirty="0" smtClean="0"/>
            <a:t> and intestinal mucosal immunity to poliovirus</a:t>
          </a:r>
          <a:endParaRPr lang="en-US" sz="2400" kern="1200" dirty="0"/>
        </a:p>
      </dsp:txBody>
      <dsp:txXfrm>
        <a:off x="1736597" y="94456"/>
        <a:ext cx="6340602" cy="1889124"/>
      </dsp:txXfrm>
    </dsp:sp>
    <dsp:sp modelId="{67281D1A-5331-1D4A-A140-1624993C5529}">
      <dsp:nvSpPr>
        <dsp:cNvPr id="0" name=""/>
        <dsp:cNvSpPr/>
      </dsp:nvSpPr>
      <dsp:spPr>
        <a:xfrm>
          <a:off x="1615440" y="1983581"/>
          <a:ext cx="6461760" cy="0"/>
        </a:xfrm>
        <a:prstGeom prst="line">
          <a:avLst/>
        </a:prstGeom>
        <a:solidFill>
          <a:schemeClr val="accent5">
            <a:hueOff val="0"/>
            <a:satOff val="0"/>
            <a:lumOff val="0"/>
            <a:alphaOff val="0"/>
          </a:schemeClr>
        </a:solidFill>
        <a:ln w="25400"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dsp:style>
    </dsp:sp>
    <dsp:sp modelId="{09EEC4DF-314D-FF4A-9135-3AB16F4C9153}">
      <dsp:nvSpPr>
        <dsp:cNvPr id="0" name=""/>
        <dsp:cNvSpPr/>
      </dsp:nvSpPr>
      <dsp:spPr>
        <a:xfrm>
          <a:off x="1736597" y="2078037"/>
          <a:ext cx="6340602" cy="18891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Serum neutralizing antibodies were substantially increased and these children were signiﬁcantly less likely to shed poliovirus after challenge with bOPV</a:t>
          </a:r>
          <a:endParaRPr lang="en-US" sz="2400" kern="1200" dirty="0"/>
        </a:p>
      </dsp:txBody>
      <dsp:txXfrm>
        <a:off x="1736597" y="2078037"/>
        <a:ext cx="6340602" cy="1889124"/>
      </dsp:txXfrm>
    </dsp:sp>
    <dsp:sp modelId="{DEE1C1CD-0A36-1A48-B0C4-18ECD3A2350B}">
      <dsp:nvSpPr>
        <dsp:cNvPr id="0" name=""/>
        <dsp:cNvSpPr/>
      </dsp:nvSpPr>
      <dsp:spPr>
        <a:xfrm>
          <a:off x="1615440" y="3967162"/>
          <a:ext cx="6461760" cy="0"/>
        </a:xfrm>
        <a:prstGeom prst="line">
          <a:avLst/>
        </a:prstGeom>
        <a:solidFill>
          <a:schemeClr val="accent5">
            <a:hueOff val="0"/>
            <a:satOff val="0"/>
            <a:lumOff val="0"/>
            <a:alphaOff val="0"/>
          </a:schemeClr>
        </a:solidFill>
        <a:ln w="25400" cap="flat" cmpd="sng" algn="ctr">
          <a:solidFill>
            <a:schemeClr val="accent5">
              <a:tint val="50000"/>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A40FE0-1355-4821-801B-D60749E76C19}">
      <dsp:nvSpPr>
        <dsp:cNvPr id="0" name=""/>
        <dsp:cNvSpPr/>
      </dsp:nvSpPr>
      <dsp:spPr>
        <a:xfrm>
          <a:off x="0" y="17790"/>
          <a:ext cx="8991600" cy="1233179"/>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rtl="0">
            <a:lnSpc>
              <a:spcPct val="90000"/>
            </a:lnSpc>
            <a:spcBef>
              <a:spcPct val="0"/>
            </a:spcBef>
            <a:spcAft>
              <a:spcPct val="35000"/>
            </a:spcAft>
          </a:pPr>
          <a:r>
            <a:rPr lang="en-GB" sz="3100" kern="1200" dirty="0" smtClean="0">
              <a:solidFill>
                <a:srgbClr val="C00000"/>
              </a:solidFill>
            </a:rPr>
            <a:t>Single dose IPV introduction in routine schedule eliminated VAPP in Hungary (Data:1961-2011)</a:t>
          </a:r>
          <a:endParaRPr lang="en-US" sz="3100" kern="1200" dirty="0">
            <a:solidFill>
              <a:srgbClr val="C00000"/>
            </a:solidFill>
          </a:endParaRPr>
        </a:p>
      </dsp:txBody>
      <dsp:txXfrm>
        <a:off x="60199" y="77989"/>
        <a:ext cx="8871202" cy="111278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13AEAE-43ED-4928-86A2-4DD73D1D17F4}">
      <dsp:nvSpPr>
        <dsp:cNvPr id="0" name=""/>
        <dsp:cNvSpPr/>
      </dsp:nvSpPr>
      <dsp:spPr>
        <a:xfrm>
          <a:off x="0" y="242"/>
          <a:ext cx="8308731" cy="768955"/>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182880" rIns="182880" bIns="182880" numCol="1" spcCol="1270" anchor="ctr" anchorCtr="0">
          <a:noAutofit/>
        </a:bodyPr>
        <a:lstStyle/>
        <a:p>
          <a:pPr lvl="0" algn="ctr" defTabSz="2133600" rtl="0">
            <a:lnSpc>
              <a:spcPct val="90000"/>
            </a:lnSpc>
            <a:spcBef>
              <a:spcPct val="0"/>
            </a:spcBef>
            <a:spcAft>
              <a:spcPct val="35000"/>
            </a:spcAft>
          </a:pPr>
          <a:r>
            <a:rPr lang="en-US" sz="4800" b="1" kern="1200" dirty="0" smtClean="0">
              <a:solidFill>
                <a:schemeClr val="bg1">
                  <a:lumMod val="10000"/>
                  <a:lumOff val="90000"/>
                </a:schemeClr>
              </a:solidFill>
            </a:rPr>
            <a:t>The approach</a:t>
          </a:r>
          <a:endParaRPr lang="en-US" sz="4800" b="1" kern="1200" dirty="0">
            <a:solidFill>
              <a:schemeClr val="bg1">
                <a:lumMod val="10000"/>
                <a:lumOff val="90000"/>
              </a:schemeClr>
            </a:solidFill>
          </a:endParaRPr>
        </a:p>
      </dsp:txBody>
      <dsp:txXfrm>
        <a:off x="37537" y="37779"/>
        <a:ext cx="8233657" cy="69388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738BC8-3C90-4FF3-90F9-E06D51F6C092}">
      <dsp:nvSpPr>
        <dsp:cNvPr id="0" name=""/>
        <dsp:cNvSpPr/>
      </dsp:nvSpPr>
      <dsp:spPr>
        <a:xfrm>
          <a:off x="0" y="4573"/>
          <a:ext cx="8229600" cy="935415"/>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lvl="0" algn="ctr" defTabSz="1733550" rtl="0">
            <a:lnSpc>
              <a:spcPct val="90000"/>
            </a:lnSpc>
            <a:spcBef>
              <a:spcPct val="0"/>
            </a:spcBef>
            <a:spcAft>
              <a:spcPct val="35000"/>
            </a:spcAft>
          </a:pPr>
          <a:r>
            <a:rPr lang="en-US" sz="3900" kern="1200" dirty="0" smtClean="0">
              <a:solidFill>
                <a:schemeClr val="bg1">
                  <a:lumMod val="10000"/>
                  <a:lumOff val="90000"/>
                </a:schemeClr>
              </a:solidFill>
            </a:rPr>
            <a:t>Recommended IPV Schedule*</a:t>
          </a:r>
          <a:endParaRPr lang="en-US" sz="3900" kern="1200" dirty="0">
            <a:solidFill>
              <a:schemeClr val="bg1">
                <a:lumMod val="10000"/>
                <a:lumOff val="90000"/>
              </a:schemeClr>
            </a:solidFill>
          </a:endParaRPr>
        </a:p>
      </dsp:txBody>
      <dsp:txXfrm>
        <a:off x="45663" y="50236"/>
        <a:ext cx="8138274" cy="84408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4755A8-DC51-9348-862A-BB5CF313E0FE}">
      <dsp:nvSpPr>
        <dsp:cNvPr id="0" name=""/>
        <dsp:cNvSpPr/>
      </dsp:nvSpPr>
      <dsp:spPr>
        <a:xfrm>
          <a:off x="3291839" y="552"/>
          <a:ext cx="4937760" cy="2154694"/>
        </a:xfrm>
        <a:prstGeom prst="rightArrow">
          <a:avLst>
            <a:gd name="adj1" fmla="val 75000"/>
            <a:gd name="adj2" fmla="val 50000"/>
          </a:avLst>
        </a:prstGeom>
        <a:solidFill>
          <a:srgbClr val="FFC000">
            <a:alpha val="90000"/>
          </a:srgbClr>
        </a:solidFill>
        <a:ln w="9525" cap="flat" cmpd="sng" algn="ctr">
          <a:solidFill>
            <a:schemeClr val="dk2">
              <a:alpha val="9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t" anchorCtr="0">
          <a:noAutofit/>
        </a:bodyPr>
        <a:lstStyle/>
        <a:p>
          <a:pPr marL="228600" lvl="1" indent="-228600" algn="l" defTabSz="889000" rtl="0">
            <a:lnSpc>
              <a:spcPct val="90000"/>
            </a:lnSpc>
            <a:spcBef>
              <a:spcPct val="0"/>
            </a:spcBef>
            <a:spcAft>
              <a:spcPct val="15000"/>
            </a:spcAft>
            <a:buChar char="••"/>
          </a:pPr>
          <a:r>
            <a:rPr lang="en-US" sz="2000" b="0" kern="1200" dirty="0" smtClean="0"/>
            <a:t>All children who are behind on their schedule should receive </a:t>
          </a:r>
          <a:r>
            <a:rPr lang="en-US" sz="2000" b="1" u="sng" kern="1200" dirty="0" smtClean="0"/>
            <a:t>at least one dose</a:t>
          </a:r>
          <a:r>
            <a:rPr lang="en-US" sz="2000" b="0" kern="1200" dirty="0" smtClean="0"/>
            <a:t> of the IPV at the first immunization contact after 14 weeks of age</a:t>
          </a:r>
          <a:endParaRPr lang="en-US" sz="2000" b="0" kern="1200" dirty="0"/>
        </a:p>
      </dsp:txBody>
      <dsp:txXfrm>
        <a:off x="3291839" y="269889"/>
        <a:ext cx="4129750" cy="1616020"/>
      </dsp:txXfrm>
    </dsp:sp>
    <dsp:sp modelId="{28AAD027-F4CE-2F4D-A30B-4DAC1E97B95F}">
      <dsp:nvSpPr>
        <dsp:cNvPr id="0" name=""/>
        <dsp:cNvSpPr/>
      </dsp:nvSpPr>
      <dsp:spPr>
        <a:xfrm>
          <a:off x="0" y="552"/>
          <a:ext cx="3291840" cy="2154694"/>
        </a:xfrm>
        <a:prstGeom prst="roundRect">
          <a:avLst/>
        </a:prstGeom>
        <a:solidFill>
          <a:schemeClr val="bg1"/>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rtl="0">
            <a:lnSpc>
              <a:spcPct val="90000"/>
            </a:lnSpc>
            <a:spcBef>
              <a:spcPct val="0"/>
            </a:spcBef>
            <a:spcAft>
              <a:spcPct val="35000"/>
            </a:spcAft>
          </a:pPr>
          <a:r>
            <a:rPr lang="en-US" sz="2400" b="1" kern="1200" dirty="0" smtClean="0">
              <a:solidFill>
                <a:srgbClr val="F8F8F8"/>
              </a:solidFill>
            </a:rPr>
            <a:t>At least one dose of IPV </a:t>
          </a:r>
          <a:r>
            <a:rPr lang="en-US" sz="2400" b="1" u="sng" kern="1200" dirty="0" smtClean="0">
              <a:solidFill>
                <a:srgbClr val="F8F8F8"/>
              </a:solidFill>
            </a:rPr>
            <a:t>at 14 weeks</a:t>
          </a:r>
          <a:r>
            <a:rPr lang="en-US" sz="2400" b="1" kern="1200" dirty="0" smtClean="0">
              <a:solidFill>
                <a:srgbClr val="F8F8F8"/>
              </a:solidFill>
            </a:rPr>
            <a:t> or </a:t>
          </a:r>
          <a:r>
            <a:rPr lang="en-US" sz="2400" b="1" u="sng" kern="1200" dirty="0" smtClean="0">
              <a:solidFill>
                <a:srgbClr val="F8F8F8"/>
              </a:solidFill>
            </a:rPr>
            <a:t>first contact </a:t>
          </a:r>
          <a:r>
            <a:rPr lang="en-US" sz="2400" b="1" kern="1200" dirty="0" smtClean="0">
              <a:solidFill>
                <a:srgbClr val="F8F8F8"/>
              </a:solidFill>
            </a:rPr>
            <a:t>afterwards</a:t>
          </a:r>
          <a:endParaRPr lang="en-US" sz="2400" b="1" kern="1200" dirty="0">
            <a:solidFill>
              <a:srgbClr val="F8F8F8"/>
            </a:solidFill>
          </a:endParaRPr>
        </a:p>
      </dsp:txBody>
      <dsp:txXfrm>
        <a:off x="105183" y="105735"/>
        <a:ext cx="3081474" cy="1944328"/>
      </dsp:txXfrm>
    </dsp:sp>
    <dsp:sp modelId="{F9F6DE78-E266-BD43-BC44-3CD8482DA562}">
      <dsp:nvSpPr>
        <dsp:cNvPr id="0" name=""/>
        <dsp:cNvSpPr/>
      </dsp:nvSpPr>
      <dsp:spPr>
        <a:xfrm>
          <a:off x="3291839" y="2370716"/>
          <a:ext cx="4937760" cy="2154694"/>
        </a:xfrm>
        <a:prstGeom prst="rightArrow">
          <a:avLst>
            <a:gd name="adj1" fmla="val 75000"/>
            <a:gd name="adj2" fmla="val 50000"/>
          </a:avLst>
        </a:prstGeom>
        <a:solidFill>
          <a:srgbClr val="FFC000">
            <a:alpha val="90000"/>
          </a:srgbClr>
        </a:solidFill>
        <a:ln w="9525" cap="flat" cmpd="sng" algn="ctr">
          <a:solidFill>
            <a:schemeClr val="dk2">
              <a:alpha val="9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Until polio transmission is interrupted globally, OPV will be a critical component of the eradication strategy</a:t>
          </a:r>
          <a:endParaRPr lang="en-US" sz="2000" kern="1200" dirty="0"/>
        </a:p>
      </dsp:txBody>
      <dsp:txXfrm>
        <a:off x="3291839" y="2640053"/>
        <a:ext cx="4129750" cy="1616020"/>
      </dsp:txXfrm>
    </dsp:sp>
    <dsp:sp modelId="{C5E8E389-94E0-9B43-9F24-F8D9A87189AA}">
      <dsp:nvSpPr>
        <dsp:cNvPr id="0" name=""/>
        <dsp:cNvSpPr/>
      </dsp:nvSpPr>
      <dsp:spPr>
        <a:xfrm>
          <a:off x="0" y="2370716"/>
          <a:ext cx="3291840" cy="2154694"/>
        </a:xfrm>
        <a:prstGeom prst="roundRect">
          <a:avLst/>
        </a:prstGeom>
        <a:solidFill>
          <a:schemeClr val="bg1"/>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lvl="0" algn="l" defTabSz="1066800" rtl="0">
            <a:lnSpc>
              <a:spcPct val="90000"/>
            </a:lnSpc>
            <a:spcBef>
              <a:spcPct val="0"/>
            </a:spcBef>
            <a:spcAft>
              <a:spcPct val="35000"/>
            </a:spcAft>
          </a:pPr>
          <a:r>
            <a:rPr lang="en-US" sz="2400" b="0" kern="1200" dirty="0" smtClean="0">
              <a:solidFill>
                <a:srgbClr val="F8F8F8"/>
              </a:solidFill>
            </a:rPr>
            <a:t>IPV does </a:t>
          </a:r>
          <a:r>
            <a:rPr lang="en-US" sz="2400" b="1" u="sng" kern="1200" dirty="0" smtClean="0">
              <a:solidFill>
                <a:srgbClr val="F8F8F8"/>
              </a:solidFill>
            </a:rPr>
            <a:t>not replace ANY of the OPV doses</a:t>
          </a:r>
          <a:endParaRPr lang="en-US" sz="1800" b="0" kern="1200" dirty="0">
            <a:solidFill>
              <a:srgbClr val="F8F8F8"/>
            </a:solidFill>
          </a:endParaRPr>
        </a:p>
      </dsp:txBody>
      <dsp:txXfrm>
        <a:off x="105183" y="2475899"/>
        <a:ext cx="3081474" cy="19443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D0DA91-48A6-4B93-AE3E-1DD9E5C99DCF}">
      <dsp:nvSpPr>
        <dsp:cNvPr id="0" name=""/>
        <dsp:cNvSpPr/>
      </dsp:nvSpPr>
      <dsp:spPr>
        <a:xfrm>
          <a:off x="0" y="0"/>
          <a:ext cx="9140461" cy="615552"/>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lvl="0" algn="ctr" defTabSz="1778000" rtl="0">
            <a:lnSpc>
              <a:spcPct val="90000"/>
            </a:lnSpc>
            <a:spcBef>
              <a:spcPct val="0"/>
            </a:spcBef>
            <a:spcAft>
              <a:spcPct val="35000"/>
            </a:spcAft>
          </a:pPr>
          <a:r>
            <a:rPr lang="en-US" sz="4000" b="1" kern="1200" dirty="0" smtClean="0">
              <a:solidFill>
                <a:schemeClr val="bg1">
                  <a:lumMod val="10000"/>
                  <a:lumOff val="90000"/>
                </a:schemeClr>
              </a:solidFill>
            </a:rPr>
            <a:t>Rationale for OPV2 withdrawal</a:t>
          </a:r>
          <a:endParaRPr lang="en-US" sz="4000" b="1" kern="1200" dirty="0">
            <a:solidFill>
              <a:schemeClr val="bg1">
                <a:lumMod val="10000"/>
                <a:lumOff val="90000"/>
              </a:schemeClr>
            </a:solidFill>
          </a:endParaRPr>
        </a:p>
      </dsp:txBody>
      <dsp:txXfrm>
        <a:off x="30049" y="30049"/>
        <a:ext cx="9080363" cy="5554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F426BE-53AB-D14B-A5A1-EB03A1D30B61}">
      <dsp:nvSpPr>
        <dsp:cNvPr id="0" name=""/>
        <dsp:cNvSpPr/>
      </dsp:nvSpPr>
      <dsp:spPr>
        <a:xfrm>
          <a:off x="0" y="547"/>
          <a:ext cx="8717891" cy="0"/>
        </a:xfrm>
        <a:prstGeom prst="line">
          <a:avLst/>
        </a:prstGeom>
        <a:gradFill rotWithShape="0">
          <a:gsLst>
            <a:gs pos="0">
              <a:schemeClr val="accent4">
                <a:hueOff val="0"/>
                <a:satOff val="0"/>
                <a:lumOff val="0"/>
                <a:alphaOff val="0"/>
                <a:tint val="100000"/>
                <a:shade val="100000"/>
                <a:satMod val="130000"/>
              </a:schemeClr>
            </a:gs>
            <a:gs pos="100000">
              <a:schemeClr val="accent4">
                <a:hueOff val="0"/>
                <a:satOff val="0"/>
                <a:lumOff val="0"/>
                <a:alphaOff val="0"/>
                <a:tint val="50000"/>
                <a:shade val="100000"/>
                <a:satMod val="350000"/>
              </a:schemeClr>
            </a:gs>
          </a:gsLst>
          <a:lin ang="16200000" scaled="0"/>
        </a:gra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FC40FD0A-BD8F-1346-A22B-F039DA2CCB30}">
      <dsp:nvSpPr>
        <dsp:cNvPr id="0" name=""/>
        <dsp:cNvSpPr/>
      </dsp:nvSpPr>
      <dsp:spPr>
        <a:xfrm>
          <a:off x="0" y="547"/>
          <a:ext cx="8717891" cy="896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rtl="0">
            <a:lnSpc>
              <a:spcPct val="90000"/>
            </a:lnSpc>
            <a:spcBef>
              <a:spcPct val="0"/>
            </a:spcBef>
            <a:spcAft>
              <a:spcPct val="35000"/>
            </a:spcAft>
          </a:pPr>
          <a:r>
            <a:rPr lang="en-US" sz="2400" b="0" kern="1200" baseline="0" dirty="0" smtClean="0">
              <a:solidFill>
                <a:schemeClr val="bg1"/>
              </a:solidFill>
            </a:rPr>
            <a:t>Last naturally occurring case of WPV case detected in Aligarh, India in </a:t>
          </a:r>
          <a:r>
            <a:rPr lang="en-US" sz="2400" b="0" kern="1200" baseline="0" dirty="0" smtClean="0">
              <a:solidFill>
                <a:schemeClr val="bg1"/>
              </a:solidFill>
            </a:rPr>
            <a:t>1999 – WPV 2 ERADICATION CERTIFIED</a:t>
          </a:r>
          <a:br>
            <a:rPr lang="en-US" sz="2400" b="0" kern="1200" baseline="0" dirty="0" smtClean="0">
              <a:solidFill>
                <a:schemeClr val="bg1"/>
              </a:solidFill>
            </a:rPr>
          </a:br>
          <a:r>
            <a:rPr lang="en-US" sz="2400" b="0" kern="1200" baseline="0" dirty="0" smtClean="0">
              <a:solidFill>
                <a:schemeClr val="bg1"/>
              </a:solidFill>
            </a:rPr>
            <a:t>I</a:t>
          </a:r>
        </a:p>
        <a:p>
          <a:pPr lvl="0" algn="l" defTabSz="1066800" rtl="0">
            <a:lnSpc>
              <a:spcPct val="90000"/>
            </a:lnSpc>
            <a:spcBef>
              <a:spcPct val="0"/>
            </a:spcBef>
            <a:spcAft>
              <a:spcPct val="35000"/>
            </a:spcAft>
          </a:pPr>
          <a:endParaRPr lang="en-US" sz="2400" kern="1200" dirty="0">
            <a:solidFill>
              <a:schemeClr val="bg1"/>
            </a:solidFill>
          </a:endParaRPr>
        </a:p>
      </dsp:txBody>
      <dsp:txXfrm>
        <a:off x="0" y="547"/>
        <a:ext cx="8717891" cy="896216"/>
      </dsp:txXfrm>
    </dsp:sp>
    <dsp:sp modelId="{40CD082F-24A1-B245-B273-1F8695DBA533}">
      <dsp:nvSpPr>
        <dsp:cNvPr id="0" name=""/>
        <dsp:cNvSpPr/>
      </dsp:nvSpPr>
      <dsp:spPr>
        <a:xfrm>
          <a:off x="0" y="896763"/>
          <a:ext cx="8717891" cy="0"/>
        </a:xfrm>
        <a:prstGeom prst="line">
          <a:avLst/>
        </a:prstGeom>
        <a:gradFill rotWithShape="0">
          <a:gsLst>
            <a:gs pos="0">
              <a:schemeClr val="accent4">
                <a:hueOff val="2411242"/>
                <a:satOff val="-2167"/>
                <a:lumOff val="-343"/>
                <a:alphaOff val="0"/>
                <a:tint val="100000"/>
                <a:shade val="100000"/>
                <a:satMod val="130000"/>
              </a:schemeClr>
            </a:gs>
            <a:gs pos="100000">
              <a:schemeClr val="accent4">
                <a:hueOff val="2411242"/>
                <a:satOff val="-2167"/>
                <a:lumOff val="-343"/>
                <a:alphaOff val="0"/>
                <a:tint val="50000"/>
                <a:shade val="100000"/>
                <a:satMod val="350000"/>
              </a:schemeClr>
            </a:gs>
          </a:gsLst>
          <a:lin ang="16200000" scaled="0"/>
        </a:gradFill>
        <a:ln w="9525" cap="flat" cmpd="sng" algn="ctr">
          <a:solidFill>
            <a:schemeClr val="accent4">
              <a:hueOff val="2411242"/>
              <a:satOff val="-2167"/>
              <a:lumOff val="-343"/>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0E11222B-3E55-C049-B212-F60715C47091}">
      <dsp:nvSpPr>
        <dsp:cNvPr id="0" name=""/>
        <dsp:cNvSpPr/>
      </dsp:nvSpPr>
      <dsp:spPr>
        <a:xfrm>
          <a:off x="0" y="896763"/>
          <a:ext cx="8717891" cy="896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rtl="0">
            <a:lnSpc>
              <a:spcPct val="90000"/>
            </a:lnSpc>
            <a:spcBef>
              <a:spcPct val="0"/>
            </a:spcBef>
            <a:spcAft>
              <a:spcPct val="35000"/>
            </a:spcAft>
          </a:pPr>
          <a:r>
            <a:rPr lang="en-US" sz="2400" b="1" kern="1200" baseline="0" dirty="0" smtClean="0">
              <a:solidFill>
                <a:schemeClr val="bg1"/>
              </a:solidFill>
            </a:rPr>
            <a:t>Type 2 polio vaccine causes &gt;95% of Vaccine Derived Polio Virus (VDPV) cases </a:t>
          </a:r>
          <a:endParaRPr lang="en-US" sz="2400" kern="1200" dirty="0">
            <a:solidFill>
              <a:schemeClr val="bg1"/>
            </a:solidFill>
          </a:endParaRPr>
        </a:p>
      </dsp:txBody>
      <dsp:txXfrm>
        <a:off x="0" y="896763"/>
        <a:ext cx="8717891" cy="896216"/>
      </dsp:txXfrm>
    </dsp:sp>
    <dsp:sp modelId="{90A66873-6564-254F-93DD-529A803EBDDA}">
      <dsp:nvSpPr>
        <dsp:cNvPr id="0" name=""/>
        <dsp:cNvSpPr/>
      </dsp:nvSpPr>
      <dsp:spPr>
        <a:xfrm>
          <a:off x="0" y="1792979"/>
          <a:ext cx="8717891" cy="0"/>
        </a:xfrm>
        <a:prstGeom prst="line">
          <a:avLst/>
        </a:prstGeom>
        <a:gradFill rotWithShape="0">
          <a:gsLst>
            <a:gs pos="0">
              <a:schemeClr val="accent4">
                <a:hueOff val="4822484"/>
                <a:satOff val="-4333"/>
                <a:lumOff val="-686"/>
                <a:alphaOff val="0"/>
                <a:tint val="100000"/>
                <a:shade val="100000"/>
                <a:satMod val="130000"/>
              </a:schemeClr>
            </a:gs>
            <a:gs pos="100000">
              <a:schemeClr val="accent4">
                <a:hueOff val="4822484"/>
                <a:satOff val="-4333"/>
                <a:lumOff val="-686"/>
                <a:alphaOff val="0"/>
                <a:tint val="50000"/>
                <a:shade val="100000"/>
                <a:satMod val="350000"/>
              </a:schemeClr>
            </a:gs>
          </a:gsLst>
          <a:lin ang="16200000" scaled="0"/>
        </a:gradFill>
        <a:ln w="9525" cap="flat" cmpd="sng" algn="ctr">
          <a:solidFill>
            <a:schemeClr val="accent4">
              <a:hueOff val="4822484"/>
              <a:satOff val="-4333"/>
              <a:lumOff val="-686"/>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FC6D7338-B966-ED41-A623-32BE3C44E6BF}">
      <dsp:nvSpPr>
        <dsp:cNvPr id="0" name=""/>
        <dsp:cNvSpPr/>
      </dsp:nvSpPr>
      <dsp:spPr>
        <a:xfrm>
          <a:off x="0" y="1792979"/>
          <a:ext cx="8717891" cy="896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rtl="0">
            <a:lnSpc>
              <a:spcPct val="90000"/>
            </a:lnSpc>
            <a:spcBef>
              <a:spcPct val="0"/>
            </a:spcBef>
            <a:spcAft>
              <a:spcPct val="35000"/>
            </a:spcAft>
          </a:pPr>
          <a:r>
            <a:rPr lang="en-US" sz="2400" b="0" kern="1200" baseline="0" dirty="0" smtClean="0">
              <a:solidFill>
                <a:schemeClr val="bg1"/>
              </a:solidFill>
            </a:rPr>
            <a:t>Type 2 causes approximately 40% of Vaccine-associated paralytic poliomyelitis (VAPP) cases</a:t>
          </a:r>
          <a:endParaRPr lang="en-US" sz="2400" kern="1200" dirty="0">
            <a:solidFill>
              <a:schemeClr val="bg1"/>
            </a:solidFill>
          </a:endParaRPr>
        </a:p>
      </dsp:txBody>
      <dsp:txXfrm>
        <a:off x="0" y="1792979"/>
        <a:ext cx="8717891" cy="896216"/>
      </dsp:txXfrm>
    </dsp:sp>
    <dsp:sp modelId="{F178F2CE-E7F3-934C-B0B6-39F2A7DEACF0}">
      <dsp:nvSpPr>
        <dsp:cNvPr id="0" name=""/>
        <dsp:cNvSpPr/>
      </dsp:nvSpPr>
      <dsp:spPr>
        <a:xfrm>
          <a:off x="0" y="2689196"/>
          <a:ext cx="8717891" cy="0"/>
        </a:xfrm>
        <a:prstGeom prst="line">
          <a:avLst/>
        </a:prstGeom>
        <a:gradFill rotWithShape="0">
          <a:gsLst>
            <a:gs pos="0">
              <a:schemeClr val="accent4">
                <a:hueOff val="7233725"/>
                <a:satOff val="-6500"/>
                <a:lumOff val="-1030"/>
                <a:alphaOff val="0"/>
                <a:tint val="100000"/>
                <a:shade val="100000"/>
                <a:satMod val="130000"/>
              </a:schemeClr>
            </a:gs>
            <a:gs pos="100000">
              <a:schemeClr val="accent4">
                <a:hueOff val="7233725"/>
                <a:satOff val="-6500"/>
                <a:lumOff val="-1030"/>
                <a:alphaOff val="0"/>
                <a:tint val="50000"/>
                <a:shade val="100000"/>
                <a:satMod val="350000"/>
              </a:schemeClr>
            </a:gs>
          </a:gsLst>
          <a:lin ang="16200000" scaled="0"/>
        </a:gradFill>
        <a:ln w="9525" cap="flat" cmpd="sng" algn="ctr">
          <a:solidFill>
            <a:schemeClr val="accent4">
              <a:hueOff val="7233725"/>
              <a:satOff val="-6500"/>
              <a:lumOff val="-103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8549972A-1707-1A48-94E7-B0C28C627A71}">
      <dsp:nvSpPr>
        <dsp:cNvPr id="0" name=""/>
        <dsp:cNvSpPr/>
      </dsp:nvSpPr>
      <dsp:spPr>
        <a:xfrm>
          <a:off x="0" y="2689196"/>
          <a:ext cx="8717891" cy="896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rtl="0">
            <a:lnSpc>
              <a:spcPct val="90000"/>
            </a:lnSpc>
            <a:spcBef>
              <a:spcPct val="0"/>
            </a:spcBef>
            <a:spcAft>
              <a:spcPct val="35000"/>
            </a:spcAft>
          </a:pPr>
          <a:r>
            <a:rPr lang="en-US" sz="2400" b="0" kern="1200" baseline="0" dirty="0" smtClean="0">
              <a:solidFill>
                <a:schemeClr val="bg1"/>
              </a:solidFill>
            </a:rPr>
            <a:t>Type 2 component of OPV interferes with immune response to types 1 and types 3 </a:t>
          </a:r>
          <a:endParaRPr lang="en-US" sz="2400" kern="1200" dirty="0">
            <a:solidFill>
              <a:schemeClr val="bg1"/>
            </a:solidFill>
          </a:endParaRPr>
        </a:p>
      </dsp:txBody>
      <dsp:txXfrm>
        <a:off x="0" y="2689196"/>
        <a:ext cx="8717891" cy="896216"/>
      </dsp:txXfrm>
    </dsp:sp>
    <dsp:sp modelId="{64BC9CB2-0642-E240-9AFA-1D6BB6927970}">
      <dsp:nvSpPr>
        <dsp:cNvPr id="0" name=""/>
        <dsp:cNvSpPr/>
      </dsp:nvSpPr>
      <dsp:spPr>
        <a:xfrm>
          <a:off x="0" y="3585412"/>
          <a:ext cx="8717891" cy="0"/>
        </a:xfrm>
        <a:prstGeom prst="line">
          <a:avLst/>
        </a:prstGeom>
        <a:gradFill rotWithShape="0">
          <a:gsLst>
            <a:gs pos="0">
              <a:schemeClr val="accent4">
                <a:hueOff val="9644967"/>
                <a:satOff val="-8667"/>
                <a:lumOff val="-1373"/>
                <a:alphaOff val="0"/>
                <a:tint val="100000"/>
                <a:shade val="100000"/>
                <a:satMod val="130000"/>
              </a:schemeClr>
            </a:gs>
            <a:gs pos="100000">
              <a:schemeClr val="accent4">
                <a:hueOff val="9644967"/>
                <a:satOff val="-8667"/>
                <a:lumOff val="-1373"/>
                <a:alphaOff val="0"/>
                <a:tint val="50000"/>
                <a:shade val="100000"/>
                <a:satMod val="350000"/>
              </a:schemeClr>
            </a:gs>
          </a:gsLst>
          <a:lin ang="16200000" scaled="0"/>
        </a:gradFill>
        <a:ln w="9525" cap="flat" cmpd="sng" algn="ctr">
          <a:solidFill>
            <a:schemeClr val="accent4">
              <a:hueOff val="9644967"/>
              <a:satOff val="-8667"/>
              <a:lumOff val="-1373"/>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sp>
    <dsp:sp modelId="{D00DBF76-B143-354C-A5EC-DF8456BADCE0}">
      <dsp:nvSpPr>
        <dsp:cNvPr id="0" name=""/>
        <dsp:cNvSpPr/>
      </dsp:nvSpPr>
      <dsp:spPr>
        <a:xfrm>
          <a:off x="0" y="3585412"/>
          <a:ext cx="8717891" cy="896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rtl="0">
            <a:lnSpc>
              <a:spcPct val="90000"/>
            </a:lnSpc>
            <a:spcBef>
              <a:spcPct val="0"/>
            </a:spcBef>
            <a:spcAft>
              <a:spcPct val="35000"/>
            </a:spcAft>
          </a:pPr>
          <a:endParaRPr lang="en-US" sz="2400" kern="1200" dirty="0"/>
        </a:p>
      </dsp:txBody>
      <dsp:txXfrm>
        <a:off x="0" y="3585412"/>
        <a:ext cx="8717891" cy="89621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100ACD-194A-4826-ACF5-EF6B802008DE}">
      <dsp:nvSpPr>
        <dsp:cNvPr id="0" name=""/>
        <dsp:cNvSpPr/>
      </dsp:nvSpPr>
      <dsp:spPr>
        <a:xfrm>
          <a:off x="0" y="539"/>
          <a:ext cx="8458199" cy="1141920"/>
        </a:xfrm>
        <a:prstGeom prst="round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b="1" kern="1200" smtClean="0">
              <a:solidFill>
                <a:schemeClr val="bg1">
                  <a:lumMod val="10000"/>
                  <a:lumOff val="90000"/>
                </a:schemeClr>
              </a:solidFill>
            </a:rPr>
            <a:t>Withdrawal</a:t>
          </a:r>
          <a:r>
            <a:rPr lang="en-US" sz="3600" b="1" i="1" kern="1200" smtClean="0">
              <a:solidFill>
                <a:schemeClr val="bg1">
                  <a:lumMod val="10000"/>
                  <a:lumOff val="90000"/>
                </a:schemeClr>
              </a:solidFill>
            </a:rPr>
            <a:t> </a:t>
          </a:r>
          <a:r>
            <a:rPr lang="en-US" sz="3600" b="1" kern="1200" smtClean="0">
              <a:solidFill>
                <a:schemeClr val="bg1">
                  <a:lumMod val="10000"/>
                  <a:lumOff val="90000"/>
                </a:schemeClr>
              </a:solidFill>
            </a:rPr>
            <a:t>of Oral Polio Vaccines </a:t>
          </a:r>
          <a:endParaRPr lang="en-US" sz="3600" b="1" kern="1200">
            <a:solidFill>
              <a:schemeClr val="bg1">
                <a:lumMod val="10000"/>
                <a:lumOff val="90000"/>
              </a:schemeClr>
            </a:solidFill>
          </a:endParaRPr>
        </a:p>
      </dsp:txBody>
      <dsp:txXfrm>
        <a:off x="55744" y="56283"/>
        <a:ext cx="8346711" cy="103043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8F84BA-5FF7-4C66-94A1-A164FE54D02F}">
      <dsp:nvSpPr>
        <dsp:cNvPr id="0" name=""/>
        <dsp:cNvSpPr/>
      </dsp:nvSpPr>
      <dsp:spPr>
        <a:xfrm>
          <a:off x="0" y="41562"/>
          <a:ext cx="9067799" cy="1711037"/>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US" sz="3600" b="1" kern="1200" dirty="0" smtClean="0">
              <a:solidFill>
                <a:srgbClr val="1F02CE"/>
              </a:solidFill>
            </a:rPr>
            <a:t>Mitigate the risk of low population immunity against type 2 polio</a:t>
          </a:r>
          <a:endParaRPr lang="en-US" sz="3600" kern="1200" dirty="0">
            <a:solidFill>
              <a:srgbClr val="1F02CE"/>
            </a:solidFill>
          </a:endParaRPr>
        </a:p>
      </dsp:txBody>
      <dsp:txXfrm>
        <a:off x="83526" y="125088"/>
        <a:ext cx="8900747" cy="154398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E7FF4-7B39-420D-BAFF-4AF7DBA15D41}">
      <dsp:nvSpPr>
        <dsp:cNvPr id="0" name=""/>
        <dsp:cNvSpPr/>
      </dsp:nvSpPr>
      <dsp:spPr>
        <a:xfrm>
          <a:off x="0" y="459599"/>
          <a:ext cx="9180512" cy="1216800"/>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rtl="0">
            <a:lnSpc>
              <a:spcPct val="90000"/>
            </a:lnSpc>
            <a:spcBef>
              <a:spcPct val="0"/>
            </a:spcBef>
            <a:spcAft>
              <a:spcPct val="35000"/>
            </a:spcAft>
          </a:pPr>
          <a:r>
            <a:rPr lang="en-GB" sz="3600" b="1" kern="1200" dirty="0" smtClean="0">
              <a:solidFill>
                <a:srgbClr val="1F02CE"/>
              </a:solidFill>
            </a:rPr>
            <a:t>Introduce IPV prior to OPV type 2 withdrawal</a:t>
          </a:r>
          <a:endParaRPr lang="en-US" sz="3600" b="1" kern="1200" dirty="0">
            <a:solidFill>
              <a:srgbClr val="1F02CE"/>
            </a:solidFill>
          </a:endParaRPr>
        </a:p>
      </dsp:txBody>
      <dsp:txXfrm>
        <a:off x="59399" y="518998"/>
        <a:ext cx="9061714" cy="10980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E2B25-54FB-4372-A1DA-E1E35D86D338}">
      <dsp:nvSpPr>
        <dsp:cNvPr id="0" name=""/>
        <dsp:cNvSpPr/>
      </dsp:nvSpPr>
      <dsp:spPr>
        <a:xfrm>
          <a:off x="0" y="71941"/>
          <a:ext cx="9215439" cy="1352425"/>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GB" sz="2400" kern="1200" dirty="0" smtClean="0">
              <a:solidFill>
                <a:srgbClr val="C00000"/>
              </a:solidFill>
            </a:rPr>
            <a:t>Single IPV dose closes humoral immunity gaps in </a:t>
          </a:r>
          <a:r>
            <a:rPr lang="en-GB" sz="2400" b="1" i="1" u="sng" kern="1200" dirty="0" smtClean="0">
              <a:solidFill>
                <a:srgbClr val="C00000"/>
              </a:solidFill>
            </a:rPr>
            <a:t>OPV-vaccinated</a:t>
          </a:r>
          <a:r>
            <a:rPr lang="en-GB" sz="2400" u="sng" kern="1200" dirty="0" smtClean="0">
              <a:solidFill>
                <a:srgbClr val="C00000"/>
              </a:solidFill>
            </a:rPr>
            <a:t> </a:t>
          </a:r>
          <a:r>
            <a:rPr lang="en-GB" sz="2400" kern="1200" dirty="0" smtClean="0">
              <a:solidFill>
                <a:srgbClr val="C00000"/>
              </a:solidFill>
            </a:rPr>
            <a:t>infants</a:t>
          </a:r>
        </a:p>
        <a:p>
          <a:pPr marL="0" marR="0" lvl="0" indent="0" algn="ctr" defTabSz="914400" rtl="0" eaLnBrk="1" fontAlgn="auto" latinLnBrk="0" hangingPunct="1">
            <a:lnSpc>
              <a:spcPct val="100000"/>
            </a:lnSpc>
            <a:spcBef>
              <a:spcPct val="0"/>
            </a:spcBef>
            <a:spcAft>
              <a:spcPts val="0"/>
            </a:spcAft>
            <a:buClrTx/>
            <a:buSzTx/>
            <a:buFontTx/>
            <a:buNone/>
            <a:tabLst/>
            <a:defRPr/>
          </a:pPr>
          <a:r>
            <a:rPr lang="en-GB" sz="2400" kern="1200" dirty="0" smtClean="0">
              <a:solidFill>
                <a:srgbClr val="C00000"/>
              </a:solidFill>
            </a:rPr>
            <a:t>(Côte d'Ivoire, 1990-91)</a:t>
          </a:r>
        </a:p>
      </dsp:txBody>
      <dsp:txXfrm>
        <a:off x="66020" y="137961"/>
        <a:ext cx="9083399" cy="122038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B4495B-7065-43EC-B538-50776D6C5E04}">
      <dsp:nvSpPr>
        <dsp:cNvPr id="0" name=""/>
        <dsp:cNvSpPr/>
      </dsp:nvSpPr>
      <dsp:spPr>
        <a:xfrm>
          <a:off x="0" y="0"/>
          <a:ext cx="9144000" cy="1440156"/>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l" defTabSz="1289050" rtl="0">
            <a:lnSpc>
              <a:spcPct val="90000"/>
            </a:lnSpc>
            <a:spcBef>
              <a:spcPct val="0"/>
            </a:spcBef>
            <a:spcAft>
              <a:spcPct val="35000"/>
            </a:spcAft>
          </a:pPr>
          <a:r>
            <a:rPr lang="en-GB" sz="2900" kern="1200" dirty="0" smtClean="0">
              <a:solidFill>
                <a:srgbClr val="C00000"/>
              </a:solidFill>
            </a:rPr>
            <a:t>Study in India confirms a single IPV dose closes humoral immunity gap in </a:t>
          </a:r>
          <a:r>
            <a:rPr lang="en-GB" sz="2900" b="1" i="1" u="sng" kern="1200" dirty="0" smtClean="0">
              <a:solidFill>
                <a:srgbClr val="C00000"/>
              </a:solidFill>
            </a:rPr>
            <a:t>OPV primed</a:t>
          </a:r>
          <a:r>
            <a:rPr lang="en-GB" sz="2900" b="1" i="1" kern="1200" dirty="0" smtClean="0">
              <a:solidFill>
                <a:srgbClr val="C00000"/>
              </a:solidFill>
            </a:rPr>
            <a:t> </a:t>
          </a:r>
          <a:r>
            <a:rPr lang="en-GB" sz="2900" kern="1200" dirty="0" smtClean="0">
              <a:solidFill>
                <a:srgbClr val="C00000"/>
              </a:solidFill>
            </a:rPr>
            <a:t>children (Moradabad, 2009)</a:t>
          </a:r>
          <a:endParaRPr lang="en-US" sz="2900" kern="1200" dirty="0">
            <a:solidFill>
              <a:srgbClr val="C00000"/>
            </a:solidFill>
          </a:endParaRPr>
        </a:p>
      </dsp:txBody>
      <dsp:txXfrm>
        <a:off x="70303" y="70303"/>
        <a:ext cx="9003394" cy="129955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342F32-7AEE-470A-B10B-3FA687AB75F9}">
      <dsp:nvSpPr>
        <dsp:cNvPr id="0" name=""/>
        <dsp:cNvSpPr/>
      </dsp:nvSpPr>
      <dsp:spPr>
        <a:xfrm>
          <a:off x="15864" y="40"/>
          <a:ext cx="9112270" cy="980994"/>
        </a:xfrm>
        <a:prstGeom prst="roundRect">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GB" sz="2400" b="0" kern="1200" dirty="0" smtClean="0">
              <a:solidFill>
                <a:srgbClr val="C00000"/>
              </a:solidFill>
            </a:rPr>
            <a:t>Single IPV boosts mucosal immunity in children with multiple OPV doses (Moradabad, 2011)</a:t>
          </a:r>
          <a:endParaRPr lang="en-US" sz="2400" b="0" kern="1200" dirty="0">
            <a:solidFill>
              <a:srgbClr val="C00000"/>
            </a:solidFill>
          </a:endParaRPr>
        </a:p>
      </dsp:txBody>
      <dsp:txXfrm>
        <a:off x="63752" y="47928"/>
        <a:ext cx="9016494" cy="88521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4.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DAE9C2A-6856-4946-ADFC-FE06864AFE74}" type="datetimeFigureOut">
              <a:rPr lang="en-IN" smtClean="0"/>
              <a:t>31-10-2015</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9595A35-B8A8-476B-AE88-13E820D7D322}" type="slidenum">
              <a:rPr lang="en-IN" smtClean="0"/>
              <a:t>‹#›</a:t>
            </a:fld>
            <a:endParaRPr lang="en-IN"/>
          </a:p>
        </p:txBody>
      </p:sp>
    </p:spTree>
    <p:extLst>
      <p:ext uri="{BB962C8B-B14F-4D97-AF65-F5344CB8AC3E}">
        <p14:creationId xmlns:p14="http://schemas.microsoft.com/office/powerpoint/2010/main" val="25267139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Slide Image Placeholder 1"/>
          <p:cNvSpPr>
            <a:spLocks noGrp="1" noRot="1" noChangeAspect="1" noTextEdit="1"/>
          </p:cNvSpPr>
          <p:nvPr>
            <p:ph type="sldImg"/>
          </p:nvPr>
        </p:nvSpPr>
        <p:spPr>
          <a:xfrm>
            <a:off x="1143000" y="685800"/>
            <a:ext cx="4568825" cy="3427413"/>
          </a:xfrm>
          <a:ln/>
        </p:spPr>
      </p:sp>
      <p:sp>
        <p:nvSpPr>
          <p:cNvPr id="3" name="Notes Placeholder 2"/>
          <p:cNvSpPr>
            <a:spLocks noGrp="1"/>
          </p:cNvSpPr>
          <p:nvPr>
            <p:ph type="body" idx="1"/>
          </p:nvPr>
        </p:nvSpPr>
        <p:spPr/>
        <p:txBody>
          <a:bodyPr/>
          <a:lstStyle/>
          <a:p>
            <a:pPr>
              <a:defRPr/>
            </a:pPr>
            <a:endParaRPr lang="en-US" dirty="0">
              <a:latin typeface="+mn-lt"/>
              <a:cs typeface="+mn-cs"/>
            </a:endParaRPr>
          </a:p>
        </p:txBody>
      </p:sp>
      <p:sp>
        <p:nvSpPr>
          <p:cNvPr id="320516" name="Slide Number Placeholder 3"/>
          <p:cNvSpPr>
            <a:spLocks noGrp="1"/>
          </p:cNvSpPr>
          <p:nvPr>
            <p:ph type="sldNum" sz="quarter" idx="5"/>
          </p:nvPr>
        </p:nvSpPr>
        <p:spPr>
          <a:noFill/>
        </p:spPr>
        <p:txBody>
          <a:bodyPr/>
          <a:lstStyle>
            <a:lvl1pPr defTabSz="928688" eaLnBrk="0" hangingPunct="0">
              <a:defRPr>
                <a:solidFill>
                  <a:schemeClr val="tx1"/>
                </a:solidFill>
                <a:latin typeface="Arial" pitchFamily="34" charset="0"/>
                <a:cs typeface="Arial" pitchFamily="34" charset="0"/>
              </a:defRPr>
            </a:lvl1pPr>
            <a:lvl2pPr marL="742950" indent="-285750" defTabSz="928688" eaLnBrk="0" hangingPunct="0">
              <a:defRPr>
                <a:solidFill>
                  <a:schemeClr val="tx1"/>
                </a:solidFill>
                <a:latin typeface="Arial" pitchFamily="34" charset="0"/>
                <a:cs typeface="Arial" pitchFamily="34" charset="0"/>
              </a:defRPr>
            </a:lvl2pPr>
            <a:lvl3pPr marL="1143000" indent="-228600" defTabSz="928688" eaLnBrk="0" hangingPunct="0">
              <a:defRPr>
                <a:solidFill>
                  <a:schemeClr val="tx1"/>
                </a:solidFill>
                <a:latin typeface="Arial" pitchFamily="34" charset="0"/>
                <a:cs typeface="Arial" pitchFamily="34" charset="0"/>
              </a:defRPr>
            </a:lvl3pPr>
            <a:lvl4pPr marL="1600200" indent="-228600" defTabSz="928688" eaLnBrk="0" hangingPunct="0">
              <a:defRPr>
                <a:solidFill>
                  <a:schemeClr val="tx1"/>
                </a:solidFill>
                <a:latin typeface="Arial" pitchFamily="34" charset="0"/>
                <a:cs typeface="Arial" pitchFamily="34" charset="0"/>
              </a:defRPr>
            </a:lvl4pPr>
            <a:lvl5pPr marL="2057400" indent="-228600" defTabSz="928688" eaLnBrk="0" hangingPunct="0">
              <a:defRPr>
                <a:solidFill>
                  <a:schemeClr val="tx1"/>
                </a:solidFill>
                <a:latin typeface="Arial" pitchFamily="34" charset="0"/>
                <a:cs typeface="Arial" pitchFamily="34" charset="0"/>
              </a:defRPr>
            </a:lvl5pPr>
            <a:lvl6pPr marL="2514600" indent="-228600" defTabSz="928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28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28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2868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60D40675-C407-4594-BDFF-51A794B55E8B}" type="slidenum">
              <a:rPr lang="en-US">
                <a:solidFill>
                  <a:srgbClr val="000000"/>
                </a:solidFill>
              </a:rPr>
              <a:pPr eaLnBrk="1" hangingPunct="1"/>
              <a:t>2</a:t>
            </a:fld>
            <a:endParaRPr lang="en-US">
              <a:solidFill>
                <a:srgbClr val="000000"/>
              </a:solidFill>
            </a:endParaRPr>
          </a:p>
        </p:txBody>
      </p:sp>
    </p:spTree>
    <p:extLst>
      <p:ext uri="{BB962C8B-B14F-4D97-AF65-F5344CB8AC3E}">
        <p14:creationId xmlns:p14="http://schemas.microsoft.com/office/powerpoint/2010/main" val="3081033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Slide Image Placeholder 1"/>
          <p:cNvSpPr>
            <a:spLocks noGrp="1" noRot="1" noChangeAspect="1" noTextEdit="1"/>
          </p:cNvSpPr>
          <p:nvPr>
            <p:ph type="sldImg"/>
          </p:nvPr>
        </p:nvSpPr>
        <p:spPr>
          <a:xfrm>
            <a:off x="1143000" y="687388"/>
            <a:ext cx="4568825" cy="3425825"/>
          </a:xfrm>
          <a:ln/>
        </p:spPr>
      </p:sp>
      <p:sp>
        <p:nvSpPr>
          <p:cNvPr id="27033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4" tIns="45721" rIns="91444" bIns="45721"/>
          <a:lstStyle/>
          <a:p>
            <a:pPr marL="222250" indent="-222250" defTabSz="889000">
              <a:spcBef>
                <a:spcPct val="0"/>
              </a:spcBef>
            </a:pPr>
            <a:endParaRPr lang="en-US" smtClean="0">
              <a:latin typeface="Arial" pitchFamily="34" charset="0"/>
              <a:cs typeface="Arial" pitchFamily="34" charset="0"/>
            </a:endParaRPr>
          </a:p>
        </p:txBody>
      </p:sp>
      <p:sp>
        <p:nvSpPr>
          <p:cNvPr id="270340" name="Slide Number Placeholder 3"/>
          <p:cNvSpPr txBox="1">
            <a:spLocks noGrp="1"/>
          </p:cNvSpPr>
          <p:nvPr/>
        </p:nvSpPr>
        <p:spPr bwMode="auto">
          <a:xfrm>
            <a:off x="5505703" y="8449725"/>
            <a:ext cx="683522" cy="457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4" tIns="45721" rIns="91444" bIns="45721" anchor="b"/>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pPr>
            <a:fld id="{FBF74092-2A07-4B43-B4C9-C48571DCBB24}" type="slidenum">
              <a:rPr lang="en-US" sz="1200">
                <a:solidFill>
                  <a:srgbClr val="000000"/>
                </a:solidFill>
              </a:rPr>
              <a:pPr algn="r" eaLnBrk="1" fontAlgn="base" hangingPunct="1">
                <a:spcBef>
                  <a:spcPct val="0"/>
                </a:spcBef>
                <a:spcAft>
                  <a:spcPct val="0"/>
                </a:spcAft>
              </a:pPr>
              <a:t>3</a:t>
            </a:fld>
            <a:endParaRPr lang="en-US" sz="1200">
              <a:solidFill>
                <a:srgbClr val="000000"/>
              </a:solidFill>
            </a:endParaRPr>
          </a:p>
        </p:txBody>
      </p:sp>
    </p:spTree>
    <p:extLst>
      <p:ext uri="{BB962C8B-B14F-4D97-AF65-F5344CB8AC3E}">
        <p14:creationId xmlns:p14="http://schemas.microsoft.com/office/powerpoint/2010/main" val="2056836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solidFill>
                  <a:prstClr val="black"/>
                </a:solidFill>
              </a:rPr>
              <a:t>World Health Day 2012 – Ageing and Health</a:t>
            </a:r>
            <a:endParaRPr lang="en-US">
              <a:solidFill>
                <a:prstClr val="black"/>
              </a:solidFill>
            </a:endParaRPr>
          </a:p>
        </p:txBody>
      </p:sp>
    </p:spTree>
    <p:extLst>
      <p:ext uri="{BB962C8B-B14F-4D97-AF65-F5344CB8AC3E}">
        <p14:creationId xmlns:p14="http://schemas.microsoft.com/office/powerpoint/2010/main" val="3869335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1609725" y="1069975"/>
            <a:ext cx="3854450" cy="28908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69505" indent="-169505">
              <a:spcBef>
                <a:spcPct val="0"/>
              </a:spcBef>
              <a:buFontTx/>
              <a:buChar char="•"/>
            </a:pPr>
            <a:r>
              <a:rPr lang="en-US" altLang="en-US" smtClean="0"/>
              <a:t>Overall increase in full immunization coverage</a:t>
            </a:r>
          </a:p>
          <a:p>
            <a:pPr marL="169505" indent="-169505">
              <a:spcBef>
                <a:spcPct val="0"/>
              </a:spcBef>
              <a:buFontTx/>
              <a:buChar char="•"/>
            </a:pPr>
            <a:r>
              <a:rPr lang="en-US" altLang="en-US" smtClean="0"/>
              <a:t>Full Immunization increased from 14 million children to 15 million, increase coverage of 1 million children since 2009;</a:t>
            </a:r>
          </a:p>
          <a:p>
            <a:pPr marL="169505" indent="-169505">
              <a:spcBef>
                <a:spcPct val="0"/>
              </a:spcBef>
              <a:buFontTx/>
              <a:buChar char="•"/>
            </a:pPr>
            <a:r>
              <a:rPr lang="en-US" altLang="en-US" smtClean="0"/>
              <a:t>Drop out From DPT2 to 3: around 10 %; OPV2 to 3: 9 points</a:t>
            </a:r>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724" eaLnBrk="0" hangingPunct="0">
              <a:defRPr>
                <a:solidFill>
                  <a:schemeClr val="tx1"/>
                </a:solidFill>
                <a:latin typeface="Arial" charset="0"/>
                <a:cs typeface="Arial" charset="0"/>
              </a:defRPr>
            </a:lvl1pPr>
            <a:lvl2pPr marL="727782" indent="-279916" defTabSz="923724" eaLnBrk="0" hangingPunct="0">
              <a:defRPr>
                <a:solidFill>
                  <a:schemeClr val="tx1"/>
                </a:solidFill>
                <a:latin typeface="Arial" charset="0"/>
                <a:cs typeface="Arial" charset="0"/>
              </a:defRPr>
            </a:lvl2pPr>
            <a:lvl3pPr marL="1119665" indent="-223933" defTabSz="923724" eaLnBrk="0" hangingPunct="0">
              <a:defRPr>
                <a:solidFill>
                  <a:schemeClr val="tx1"/>
                </a:solidFill>
                <a:latin typeface="Arial" charset="0"/>
                <a:cs typeface="Arial" charset="0"/>
              </a:defRPr>
            </a:lvl3pPr>
            <a:lvl4pPr marL="1567531" indent="-223933" defTabSz="923724" eaLnBrk="0" hangingPunct="0">
              <a:defRPr>
                <a:solidFill>
                  <a:schemeClr val="tx1"/>
                </a:solidFill>
                <a:latin typeface="Arial" charset="0"/>
                <a:cs typeface="Arial" charset="0"/>
              </a:defRPr>
            </a:lvl4pPr>
            <a:lvl5pPr marL="2015397" indent="-223933" defTabSz="923724" eaLnBrk="0" hangingPunct="0">
              <a:defRPr>
                <a:solidFill>
                  <a:schemeClr val="tx1"/>
                </a:solidFill>
                <a:latin typeface="Arial" charset="0"/>
                <a:cs typeface="Arial" charset="0"/>
              </a:defRPr>
            </a:lvl5pPr>
            <a:lvl6pPr marL="2463263" indent="-223933" defTabSz="923724" eaLnBrk="0" fontAlgn="base" hangingPunct="0">
              <a:spcBef>
                <a:spcPct val="0"/>
              </a:spcBef>
              <a:spcAft>
                <a:spcPct val="0"/>
              </a:spcAft>
              <a:defRPr>
                <a:solidFill>
                  <a:schemeClr val="tx1"/>
                </a:solidFill>
                <a:latin typeface="Arial" charset="0"/>
                <a:cs typeface="Arial" charset="0"/>
              </a:defRPr>
            </a:lvl6pPr>
            <a:lvl7pPr marL="2911128" indent="-223933" defTabSz="923724" eaLnBrk="0" fontAlgn="base" hangingPunct="0">
              <a:spcBef>
                <a:spcPct val="0"/>
              </a:spcBef>
              <a:spcAft>
                <a:spcPct val="0"/>
              </a:spcAft>
              <a:defRPr>
                <a:solidFill>
                  <a:schemeClr val="tx1"/>
                </a:solidFill>
                <a:latin typeface="Arial" charset="0"/>
                <a:cs typeface="Arial" charset="0"/>
              </a:defRPr>
            </a:lvl7pPr>
            <a:lvl8pPr marL="3358994" indent="-223933" defTabSz="923724" eaLnBrk="0" fontAlgn="base" hangingPunct="0">
              <a:spcBef>
                <a:spcPct val="0"/>
              </a:spcBef>
              <a:spcAft>
                <a:spcPct val="0"/>
              </a:spcAft>
              <a:defRPr>
                <a:solidFill>
                  <a:schemeClr val="tx1"/>
                </a:solidFill>
                <a:latin typeface="Arial" charset="0"/>
                <a:cs typeface="Arial" charset="0"/>
              </a:defRPr>
            </a:lvl8pPr>
            <a:lvl9pPr marL="3806860" indent="-223933" defTabSz="923724" eaLnBrk="0" fontAlgn="base" hangingPunct="0">
              <a:spcBef>
                <a:spcPct val="0"/>
              </a:spcBef>
              <a:spcAft>
                <a:spcPct val="0"/>
              </a:spcAft>
              <a:defRPr>
                <a:solidFill>
                  <a:schemeClr val="tx1"/>
                </a:solidFill>
                <a:latin typeface="Arial" charset="0"/>
                <a:cs typeface="Arial" charset="0"/>
              </a:defRPr>
            </a:lvl9pPr>
          </a:lstStyle>
          <a:p>
            <a:pPr eaLnBrk="1" hangingPunct="1"/>
            <a:fld id="{CF366066-BA4D-4DE7-AA4A-F7D223F69155}" type="slidenum">
              <a:rPr lang="en-US" altLang="en-US">
                <a:solidFill>
                  <a:srgbClr val="000000"/>
                </a:solidFill>
              </a:rPr>
              <a:pPr eaLnBrk="1" hangingPunct="1"/>
              <a:t>16</a:t>
            </a:fld>
            <a:endParaRPr lang="en-US" altLang="en-US">
              <a:solidFill>
                <a:srgbClr val="000000"/>
              </a:solidFill>
            </a:endParaRPr>
          </a:p>
        </p:txBody>
      </p:sp>
    </p:spTree>
    <p:extLst>
      <p:ext uri="{BB962C8B-B14F-4D97-AF65-F5344CB8AC3E}">
        <p14:creationId xmlns:p14="http://schemas.microsoft.com/office/powerpoint/2010/main" val="1668508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BCD76527-BFBB-4DA9-846A-0DFF293FE6DB}" type="slidenum">
              <a:rPr lang="en-IN" smtClean="0">
                <a:solidFill>
                  <a:prstClr val="black"/>
                </a:solidFill>
              </a:rPr>
              <a:pPr/>
              <a:t>24</a:t>
            </a:fld>
            <a:endParaRPr lang="en-IN">
              <a:solidFill>
                <a:prstClr val="black"/>
              </a:solidFill>
            </a:endParaRPr>
          </a:p>
        </p:txBody>
      </p:sp>
    </p:spTree>
    <p:extLst>
      <p:ext uri="{BB962C8B-B14F-4D97-AF65-F5344CB8AC3E}">
        <p14:creationId xmlns:p14="http://schemas.microsoft.com/office/powerpoint/2010/main" val="1941580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7301">
              <a:defRPr/>
            </a:pPr>
            <a:endParaRPr lang="en-US" dirty="0"/>
          </a:p>
        </p:txBody>
      </p:sp>
      <p:sp>
        <p:nvSpPr>
          <p:cNvPr id="4" name="Slide Number Placeholder 3"/>
          <p:cNvSpPr>
            <a:spLocks noGrp="1"/>
          </p:cNvSpPr>
          <p:nvPr>
            <p:ph type="sldNum" sz="quarter" idx="10"/>
          </p:nvPr>
        </p:nvSpPr>
        <p:spPr/>
        <p:txBody>
          <a:bodyPr/>
          <a:lstStyle/>
          <a:p>
            <a:fld id="{C86668A1-64E5-4025-BDD1-660E08EC0AC4}"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12403041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Add hyperlink to the back-up</a:t>
            </a:r>
            <a:r>
              <a:rPr lang="en-US" baseline="0" dirty="0" smtClean="0"/>
              <a:t> graphics on the back up</a:t>
            </a:r>
            <a:endParaRPr lang="en-US" dirty="0"/>
          </a:p>
        </p:txBody>
      </p:sp>
      <p:sp>
        <p:nvSpPr>
          <p:cNvPr id="4" name="Slide Number Placeholder 3"/>
          <p:cNvSpPr>
            <a:spLocks noGrp="1"/>
          </p:cNvSpPr>
          <p:nvPr>
            <p:ph type="sldNum" sz="quarter" idx="10"/>
          </p:nvPr>
        </p:nvSpPr>
        <p:spPr/>
        <p:txBody>
          <a:bodyPr/>
          <a:lstStyle/>
          <a:p>
            <a:fld id="{C86668A1-64E5-4025-BDD1-660E08EC0AC4}"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23643240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smtClean="0"/>
          </a:p>
          <a:p>
            <a:r>
              <a:rPr lang="en-US" dirty="0" smtClean="0"/>
              <a:t>Rationale: a major risk factor for IPV failure is persisting maternal antibodies</a:t>
            </a:r>
          </a:p>
          <a:p>
            <a:pPr lvl="1"/>
            <a:r>
              <a:rPr lang="en-US" dirty="0" smtClean="0"/>
              <a:t>Delaying to DTP3 gives time for maternal antibodies to wane allowing a better immune response to IPV</a:t>
            </a:r>
          </a:p>
          <a:p>
            <a:pPr lvl="1"/>
            <a:r>
              <a:rPr lang="en-US" dirty="0" smtClean="0"/>
              <a:t>Giving IPV at DTP3 would induce high levels of seroconversion and protection among very young children</a:t>
            </a:r>
          </a:p>
          <a:p>
            <a:pPr lvl="1"/>
            <a:r>
              <a:rPr lang="en-US" dirty="0" smtClean="0"/>
              <a:t>Delaying the dose to older ages would allow more time for children to be susceptible</a:t>
            </a: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2118241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1238133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913980"/>
            <a:fld id="{1D8BD707-D9CF-40AE-B4C6-C98DA3205C09}" type="datetimeFigureOut">
              <a:rPr lang="en-US">
                <a:solidFill>
                  <a:prstClr val="black">
                    <a:tint val="75000"/>
                  </a:prstClr>
                </a:solidFill>
              </a:rPr>
              <a:pPr defTabSz="913980"/>
              <a:t>10/31/2015</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91398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3955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3126348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29630153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13980"/>
            <a:fld id="{9675CFC6-55D9-4FF0-B3FC-ED209061585A}" type="datetimeFigureOut">
              <a:rPr lang="en-GB">
                <a:solidFill>
                  <a:srgbClr val="1B587C"/>
                </a:solidFill>
              </a:rPr>
              <a:pPr defTabSz="913980"/>
              <a:t>31/10/2015</a:t>
            </a:fld>
            <a:endParaRPr lang="en-GB">
              <a:solidFill>
                <a:srgbClr val="1B587C"/>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13980"/>
            <a:endParaRPr lang="en-GB">
              <a:solidFill>
                <a:srgbClr val="1B587C"/>
              </a:solidFill>
            </a:endParaRPr>
          </a:p>
        </p:txBody>
      </p:sp>
      <p:sp>
        <p:nvSpPr>
          <p:cNvPr id="6" name="Slide Number Placeholder 5"/>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10598068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6840026" cy="1143000"/>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1600202"/>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13980"/>
            <a:fld id="{9675CFC6-55D9-4FF0-B3FC-ED209061585A}" type="datetimeFigureOut">
              <a:rPr lang="en-GB">
                <a:solidFill>
                  <a:srgbClr val="1B587C"/>
                </a:solidFill>
              </a:rPr>
              <a:pPr defTabSz="913980"/>
              <a:t>31/10/2015</a:t>
            </a:fld>
            <a:endParaRPr lang="en-GB">
              <a:solidFill>
                <a:srgbClr val="1B587C"/>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13980"/>
            <a:endParaRPr lang="en-GB">
              <a:solidFill>
                <a:srgbClr val="1B587C"/>
              </a:solidFill>
            </a:endParaRPr>
          </a:p>
        </p:txBody>
      </p:sp>
      <p:sp>
        <p:nvSpPr>
          <p:cNvPr id="6" name="Slide Number Placeholder 5"/>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31487670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a:lstStyle>
            <a:lvl1pPr>
              <a:defRPr b="1">
                <a:effectLst>
                  <a:outerShdw blurRad="38100" dist="38100" dir="2700000" algn="tl">
                    <a:srgbClr val="000000">
                      <a:alpha val="43137"/>
                    </a:srgbClr>
                  </a:outerShdw>
                </a:effectLst>
              </a:defRPr>
            </a:lvl1pPr>
          </a:lstStyle>
          <a:p>
            <a:r>
              <a:rPr lang="en-US" dirty="0" smtClean="0"/>
              <a:t>Click to edit Master title style</a:t>
            </a:r>
            <a:endParaRPr lang="en-GB" dirty="0"/>
          </a:p>
        </p:txBody>
      </p:sp>
      <p:sp>
        <p:nvSpPr>
          <p:cNvPr id="3" name="Date Placeholder 2"/>
          <p:cNvSpPr>
            <a:spLocks noGrp="1"/>
          </p:cNvSpPr>
          <p:nvPr>
            <p:ph type="dt" sz="half" idx="10"/>
          </p:nvPr>
        </p:nvSpPr>
        <p:spPr>
          <a:xfrm>
            <a:off x="457201" y="6356355"/>
            <a:ext cx="2133600" cy="365125"/>
          </a:xfrm>
          <a:prstGeom prst="rect">
            <a:avLst/>
          </a:prstGeom>
        </p:spPr>
        <p:txBody>
          <a:bodyPr/>
          <a:lstStyle/>
          <a:p>
            <a:pPr defTabSz="913980"/>
            <a:fld id="{9675CFC6-55D9-4FF0-B3FC-ED209061585A}" type="datetimeFigureOut">
              <a:rPr lang="en-GB">
                <a:solidFill>
                  <a:srgbClr val="1B587C"/>
                </a:solidFill>
              </a:rPr>
              <a:pPr defTabSz="913980"/>
              <a:t>31/10/2015</a:t>
            </a:fld>
            <a:endParaRPr lang="en-GB">
              <a:solidFill>
                <a:srgbClr val="1B587C"/>
              </a:solidFill>
            </a:endParaRPr>
          </a:p>
        </p:txBody>
      </p:sp>
      <p:sp>
        <p:nvSpPr>
          <p:cNvPr id="4" name="Footer Placeholder 3"/>
          <p:cNvSpPr>
            <a:spLocks noGrp="1"/>
          </p:cNvSpPr>
          <p:nvPr>
            <p:ph type="ftr" sz="quarter" idx="11"/>
          </p:nvPr>
        </p:nvSpPr>
        <p:spPr>
          <a:xfrm>
            <a:off x="3124203" y="6356355"/>
            <a:ext cx="2895600" cy="365125"/>
          </a:xfrm>
          <a:prstGeom prst="rect">
            <a:avLst/>
          </a:prstGeom>
        </p:spPr>
        <p:txBody>
          <a:bodyPr/>
          <a:lstStyle/>
          <a:p>
            <a:pPr defTabSz="913980"/>
            <a:endParaRPr lang="en-GB">
              <a:solidFill>
                <a:srgbClr val="1B587C"/>
              </a:solidFill>
            </a:endParaRPr>
          </a:p>
        </p:txBody>
      </p:sp>
      <p:sp>
        <p:nvSpPr>
          <p:cNvPr id="5" name="Slide Number Placeholder 4"/>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130045810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49832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Chart">
  <p:cSld name="1_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82296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4648200" y="1600200"/>
            <a:ext cx="4038600" cy="4525963"/>
          </a:xfrm>
          <a:prstGeom prst="rect">
            <a:avLst/>
          </a:prstGeom>
        </p:spPr>
        <p:txBody>
          <a:bodyPr/>
          <a:lstStyle/>
          <a:p>
            <a:pPr lvl="0"/>
            <a:endParaRPr lang="en-US" noProof="0"/>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defTabSz="913980">
              <a:defRPr/>
            </a:pPr>
            <a:fld id="{0026B115-784A-4D40-A753-173BAE3E1A9D}" type="datetimeFigureOut">
              <a:rPr lang="en-US">
                <a:solidFill>
                  <a:srgbClr val="1B587C"/>
                </a:solidFill>
              </a:rPr>
              <a:pPr defTabSz="913980">
                <a:defRPr/>
              </a:pPr>
              <a:t>10/31/2015</a:t>
            </a:fld>
            <a:endParaRPr lang="en-US">
              <a:solidFill>
                <a:srgbClr val="1B587C"/>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defTabSz="913980">
              <a:defRPr/>
            </a:pPr>
            <a:endParaRPr lang="en-US">
              <a:solidFill>
                <a:srgbClr val="1B587C"/>
              </a:solidFill>
            </a:endParaRPr>
          </a:p>
        </p:txBody>
      </p:sp>
      <p:sp>
        <p:nvSpPr>
          <p:cNvPr id="7" name="Slide Number Placeholder 5"/>
          <p:cNvSpPr>
            <a:spLocks noGrp="1"/>
          </p:cNvSpPr>
          <p:nvPr>
            <p:ph type="sldNum" sz="quarter" idx="12"/>
          </p:nvPr>
        </p:nvSpPr>
        <p:spPr/>
        <p:txBody>
          <a:bodyPr/>
          <a:lstStyle>
            <a:lvl1pPr>
              <a:defRPr/>
            </a:lvl1pPr>
          </a:lstStyle>
          <a:p>
            <a:pPr>
              <a:defRPr/>
            </a:pPr>
            <a:fld id="{28EE1881-99DB-48F2-9EE4-19FF19F586E6}" type="slidenum">
              <a:rPr lang="en-US">
                <a:solidFill>
                  <a:srgbClr val="323232"/>
                </a:solidFill>
              </a:rPr>
              <a:pPr>
                <a:defRPr/>
              </a:pPr>
              <a:t>‹#›</a:t>
            </a:fld>
            <a:endParaRPr lang="en-US">
              <a:solidFill>
                <a:srgbClr val="323232"/>
              </a:solidFill>
            </a:endParaRPr>
          </a:p>
        </p:txBody>
      </p:sp>
    </p:spTree>
    <p:extLst>
      <p:ext uri="{BB962C8B-B14F-4D97-AF65-F5344CB8AC3E}">
        <p14:creationId xmlns:p14="http://schemas.microsoft.com/office/powerpoint/2010/main" val="1497886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59478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65"/>
            <a:ext cx="2133600" cy="365125"/>
          </a:xfrm>
          <a:prstGeom prst="rect">
            <a:avLst/>
          </a:prstGeom>
        </p:spPr>
        <p:txBody>
          <a:bodyPr/>
          <a:lstStyle>
            <a:lvl1pPr eaLnBrk="1" hangingPunct="1">
              <a:spcBef>
                <a:spcPct val="0"/>
              </a:spcBef>
              <a:defRPr b="0">
                <a:cs typeface="Arial" charset="0"/>
              </a:defRPr>
            </a:lvl1pPr>
          </a:lstStyle>
          <a:p>
            <a:pPr defTabSz="913980">
              <a:defRPr/>
            </a:pPr>
            <a:endParaRPr lang="en-US">
              <a:solidFill>
                <a:srgbClr val="1B587C"/>
              </a:solidFill>
            </a:endParaRPr>
          </a:p>
        </p:txBody>
      </p:sp>
      <p:sp>
        <p:nvSpPr>
          <p:cNvPr id="3" name="Footer Placeholder 4"/>
          <p:cNvSpPr>
            <a:spLocks noGrp="1"/>
          </p:cNvSpPr>
          <p:nvPr>
            <p:ph type="ftr" sz="quarter" idx="11"/>
          </p:nvPr>
        </p:nvSpPr>
        <p:spPr>
          <a:xfrm>
            <a:off x="3124200" y="6356365"/>
            <a:ext cx="2895600" cy="365125"/>
          </a:xfrm>
          <a:prstGeom prst="rect">
            <a:avLst/>
          </a:prstGeom>
        </p:spPr>
        <p:txBody>
          <a:bodyPr/>
          <a:lstStyle>
            <a:lvl1pPr eaLnBrk="1" hangingPunct="1">
              <a:spcBef>
                <a:spcPct val="0"/>
              </a:spcBef>
              <a:defRPr b="0">
                <a:cs typeface="Arial" charset="0"/>
              </a:defRPr>
            </a:lvl1pPr>
          </a:lstStyle>
          <a:p>
            <a:pPr defTabSz="913980">
              <a:defRPr/>
            </a:pPr>
            <a:endParaRPr lang="en-US">
              <a:solidFill>
                <a:srgbClr val="1B587C"/>
              </a:solidFill>
            </a:endParaRPr>
          </a:p>
        </p:txBody>
      </p:sp>
      <p:sp>
        <p:nvSpPr>
          <p:cNvPr id="4"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32D7B145-2580-4AF8-B32F-609EE6336899}" type="slidenum">
              <a:rPr lang="en-US">
                <a:solidFill>
                  <a:srgbClr val="323232"/>
                </a:solidFill>
              </a:rPr>
              <a:pPr>
                <a:defRPr/>
              </a:pPr>
              <a:t>‹#›</a:t>
            </a:fld>
            <a:endParaRPr lang="en-US">
              <a:solidFill>
                <a:srgbClr val="323232"/>
              </a:solidFill>
            </a:endParaRPr>
          </a:p>
        </p:txBody>
      </p:sp>
    </p:spTree>
    <p:extLst>
      <p:ext uri="{BB962C8B-B14F-4D97-AF65-F5344CB8AC3E}">
        <p14:creationId xmlns:p14="http://schemas.microsoft.com/office/powerpoint/2010/main" val="34704766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12581381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5A4274A-71F2-4F21-B0DF-C548DD2AE87B}" type="datetime1">
              <a:rPr lang="en-US" smtClean="0">
                <a:solidFill>
                  <a:prstClr val="black">
                    <a:tint val="75000"/>
                  </a:prstClr>
                </a:solidFill>
              </a:rPr>
              <a:pPr/>
              <a:t>10/3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440008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601D04-21EE-4B42-AE98-852ADB306C97}" type="datetime1">
              <a:rPr lang="en-US" smtClean="0">
                <a:solidFill>
                  <a:prstClr val="black">
                    <a:tint val="75000"/>
                  </a:prstClr>
                </a:solidFill>
              </a:rPr>
              <a:pPr/>
              <a:t>10/3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41824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BE7B1A8-B6F7-4B30-8A86-D699D73B90E2}" type="datetime1">
              <a:rPr lang="en-US" smtClean="0">
                <a:solidFill>
                  <a:prstClr val="black">
                    <a:tint val="75000"/>
                  </a:prstClr>
                </a:solidFill>
              </a:rPr>
              <a:pPr/>
              <a:t>10/3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8420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484A207-DFF5-4FA9-B078-148D7BA52D81}" type="datetime1">
              <a:rPr lang="en-US" smtClean="0">
                <a:solidFill>
                  <a:prstClr val="black">
                    <a:tint val="75000"/>
                  </a:prstClr>
                </a:solidFill>
              </a:rPr>
              <a:pPr/>
              <a:t>10/3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88287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92E93A5-33CF-414D-A40E-1E9FCBA45325}" type="datetime1">
              <a:rPr lang="en-US" smtClean="0">
                <a:solidFill>
                  <a:prstClr val="black">
                    <a:tint val="75000"/>
                  </a:prstClr>
                </a:solidFill>
              </a:rPr>
              <a:pPr/>
              <a:t>10/31/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33091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309A98B-66DD-465E-B733-2F327FEAFB6E}" type="datetime1">
              <a:rPr lang="en-US" smtClean="0">
                <a:solidFill>
                  <a:prstClr val="black">
                    <a:tint val="75000"/>
                  </a:prstClr>
                </a:solidFill>
              </a:rPr>
              <a:pPr/>
              <a:t>10/31/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56151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5A21A71-8658-4A0B-991A-C3FFBD6E8D96}" type="datetime1">
              <a:rPr lang="en-US" smtClean="0">
                <a:solidFill>
                  <a:prstClr val="black">
                    <a:tint val="75000"/>
                  </a:prstClr>
                </a:solidFill>
              </a:rPr>
              <a:pPr/>
              <a:t>10/31/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699276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BAACCD2-6E9E-4043-8E7F-350A73C08C78}" type="datetime1">
              <a:rPr lang="en-US" smtClean="0">
                <a:solidFill>
                  <a:prstClr val="black">
                    <a:tint val="75000"/>
                  </a:prstClr>
                </a:solidFill>
              </a:rPr>
              <a:pPr/>
              <a:t>10/3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395065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050930-072D-498A-AA8F-B67CC68E9EFD}" type="datetime1">
              <a:rPr lang="en-US" smtClean="0">
                <a:solidFill>
                  <a:prstClr val="black">
                    <a:tint val="75000"/>
                  </a:prstClr>
                </a:solidFill>
              </a:rPr>
              <a:pPr/>
              <a:t>10/31/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451394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BD345E2-3FEB-4E6B-B500-C9F99CB2F10A}" type="datetime1">
              <a:rPr lang="en-US" smtClean="0">
                <a:solidFill>
                  <a:prstClr val="black">
                    <a:tint val="75000"/>
                  </a:prstClr>
                </a:solidFill>
              </a:rPr>
              <a:pPr/>
              <a:t>10/3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02682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13980"/>
            <a:fld id="{9675CFC6-55D9-4FF0-B3FC-ED209061585A}" type="datetimeFigureOut">
              <a:rPr lang="en-GB">
                <a:solidFill>
                  <a:srgbClr val="1B587C"/>
                </a:solidFill>
              </a:rPr>
              <a:pPr defTabSz="913980"/>
              <a:t>31/10/2015</a:t>
            </a:fld>
            <a:endParaRPr lang="en-GB">
              <a:solidFill>
                <a:srgbClr val="1B587C"/>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13980"/>
            <a:endParaRPr lang="en-GB">
              <a:solidFill>
                <a:srgbClr val="1B587C"/>
              </a:solidFill>
            </a:endParaRPr>
          </a:p>
        </p:txBody>
      </p:sp>
      <p:sp>
        <p:nvSpPr>
          <p:cNvPr id="6" name="Slide Number Placeholder 5"/>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20060509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29D8BEB-9A6D-4A43-9CAF-4AED02AAFB54}" type="datetime1">
              <a:rPr lang="en-US" smtClean="0">
                <a:solidFill>
                  <a:prstClr val="black">
                    <a:tint val="75000"/>
                  </a:prstClr>
                </a:solidFill>
              </a:rPr>
              <a:pPr/>
              <a:t>10/31/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010476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endParaRPr lang="en-US">
              <a:solidFill>
                <a:prstClr val="black">
                  <a:tint val="75000"/>
                </a:prstClr>
              </a:solidFill>
            </a:endParaRPr>
          </a:p>
        </p:txBody>
      </p:sp>
      <p:sp>
        <p:nvSpPr>
          <p:cNvPr id="6" name="Rectangle 5"/>
          <p:cNvSpPr>
            <a:spLocks noGrp="1" noChangeArrowheads="1"/>
          </p:cNvSpPr>
          <p:nvPr>
            <p:ph type="ftr" sz="quarter" idx="11"/>
          </p:nvPr>
        </p:nvSpPr>
        <p:spPr>
          <a:ln/>
        </p:spPr>
        <p:txBody>
          <a:bodyPr/>
          <a:lstStyle>
            <a:lvl1pPr>
              <a:defRPr/>
            </a:lvl1pPr>
          </a:lstStyle>
          <a:p>
            <a:endParaRPr lang="en-US">
              <a:solidFill>
                <a:prstClr val="black">
                  <a:tint val="75000"/>
                </a:prstClr>
              </a:solidFill>
            </a:endParaRPr>
          </a:p>
        </p:txBody>
      </p:sp>
      <p:sp>
        <p:nvSpPr>
          <p:cNvPr id="7" name="Rectangle 6"/>
          <p:cNvSpPr>
            <a:spLocks noGrp="1" noChangeArrowheads="1"/>
          </p:cNvSpPr>
          <p:nvPr>
            <p:ph type="sldNum" sz="quarter" idx="12"/>
          </p:nvPr>
        </p:nvSpPr>
        <p:spPr>
          <a:ln/>
        </p:spPr>
        <p:txBody>
          <a:bodyPr/>
          <a:lstStyle>
            <a:lvl1pPr>
              <a:defRPr/>
            </a:lvl1pPr>
          </a:lstStyle>
          <a:p>
            <a:fld id="{471A3133-E074-4239-9432-5727B21BE266}" type="slidenum">
              <a:rPr lang="en-GB">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519613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21118724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6578598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13980"/>
            <a:fld id="{9675CFC6-55D9-4FF0-B3FC-ED209061585A}" type="datetimeFigureOut">
              <a:rPr lang="en-GB">
                <a:solidFill>
                  <a:srgbClr val="1B587C"/>
                </a:solidFill>
              </a:rPr>
              <a:pPr defTabSz="913980"/>
              <a:t>31/10/2015</a:t>
            </a:fld>
            <a:endParaRPr lang="en-GB">
              <a:solidFill>
                <a:srgbClr val="1B587C"/>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13980"/>
            <a:endParaRPr lang="en-GB">
              <a:solidFill>
                <a:srgbClr val="1B587C"/>
              </a:solidFill>
            </a:endParaRPr>
          </a:p>
        </p:txBody>
      </p:sp>
      <p:sp>
        <p:nvSpPr>
          <p:cNvPr id="6" name="Slide Number Placeholder 5"/>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35442578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6840026" cy="1143000"/>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1600202"/>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13980"/>
            <a:fld id="{9675CFC6-55D9-4FF0-B3FC-ED209061585A}" type="datetimeFigureOut">
              <a:rPr lang="en-GB">
                <a:solidFill>
                  <a:srgbClr val="1B587C"/>
                </a:solidFill>
              </a:rPr>
              <a:pPr defTabSz="913980"/>
              <a:t>31/10/2015</a:t>
            </a:fld>
            <a:endParaRPr lang="en-GB">
              <a:solidFill>
                <a:srgbClr val="1B587C"/>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13980"/>
            <a:endParaRPr lang="en-GB">
              <a:solidFill>
                <a:srgbClr val="1B587C"/>
              </a:solidFill>
            </a:endParaRPr>
          </a:p>
        </p:txBody>
      </p:sp>
      <p:sp>
        <p:nvSpPr>
          <p:cNvPr id="6" name="Slide Number Placeholder 5"/>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28332648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a:lstStyle>
            <a:lvl1pPr>
              <a:defRPr b="1">
                <a:effectLst>
                  <a:outerShdw blurRad="38100" dist="38100" dir="2700000" algn="tl">
                    <a:srgbClr val="000000">
                      <a:alpha val="43137"/>
                    </a:srgbClr>
                  </a:outerShdw>
                </a:effectLst>
              </a:defRPr>
            </a:lvl1pPr>
          </a:lstStyle>
          <a:p>
            <a:r>
              <a:rPr lang="en-US" dirty="0" smtClean="0"/>
              <a:t>Click to edit Master title style</a:t>
            </a:r>
            <a:endParaRPr lang="en-GB" dirty="0"/>
          </a:p>
        </p:txBody>
      </p:sp>
      <p:sp>
        <p:nvSpPr>
          <p:cNvPr id="3" name="Date Placeholder 2"/>
          <p:cNvSpPr>
            <a:spLocks noGrp="1"/>
          </p:cNvSpPr>
          <p:nvPr>
            <p:ph type="dt" sz="half" idx="10"/>
          </p:nvPr>
        </p:nvSpPr>
        <p:spPr>
          <a:xfrm>
            <a:off x="457201" y="6356355"/>
            <a:ext cx="2133600" cy="365125"/>
          </a:xfrm>
          <a:prstGeom prst="rect">
            <a:avLst/>
          </a:prstGeom>
        </p:spPr>
        <p:txBody>
          <a:bodyPr/>
          <a:lstStyle/>
          <a:p>
            <a:pPr defTabSz="913980"/>
            <a:fld id="{9675CFC6-55D9-4FF0-B3FC-ED209061585A}" type="datetimeFigureOut">
              <a:rPr lang="en-GB">
                <a:solidFill>
                  <a:srgbClr val="1B587C"/>
                </a:solidFill>
              </a:rPr>
              <a:pPr defTabSz="913980"/>
              <a:t>31/10/2015</a:t>
            </a:fld>
            <a:endParaRPr lang="en-GB">
              <a:solidFill>
                <a:srgbClr val="1B587C"/>
              </a:solidFill>
            </a:endParaRPr>
          </a:p>
        </p:txBody>
      </p:sp>
      <p:sp>
        <p:nvSpPr>
          <p:cNvPr id="4" name="Footer Placeholder 3"/>
          <p:cNvSpPr>
            <a:spLocks noGrp="1"/>
          </p:cNvSpPr>
          <p:nvPr>
            <p:ph type="ftr" sz="quarter" idx="11"/>
          </p:nvPr>
        </p:nvSpPr>
        <p:spPr>
          <a:xfrm>
            <a:off x="3124203" y="6356355"/>
            <a:ext cx="2895600" cy="365125"/>
          </a:xfrm>
          <a:prstGeom prst="rect">
            <a:avLst/>
          </a:prstGeom>
        </p:spPr>
        <p:txBody>
          <a:bodyPr/>
          <a:lstStyle/>
          <a:p>
            <a:pPr defTabSz="913980"/>
            <a:endParaRPr lang="en-GB">
              <a:solidFill>
                <a:srgbClr val="1B587C"/>
              </a:solidFill>
            </a:endParaRPr>
          </a:p>
        </p:txBody>
      </p:sp>
      <p:sp>
        <p:nvSpPr>
          <p:cNvPr id="5" name="Slide Number Placeholder 4"/>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106711279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xAndChart">
  <p:cSld name="1_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82296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4648200" y="1600200"/>
            <a:ext cx="4038600" cy="4525963"/>
          </a:xfrm>
          <a:prstGeom prst="rect">
            <a:avLst/>
          </a:prstGeom>
        </p:spPr>
        <p:txBody>
          <a:bodyPr/>
          <a:lstStyle/>
          <a:p>
            <a:pPr lvl="0"/>
            <a:endParaRPr lang="en-US" noProof="0"/>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defTabSz="913980">
              <a:defRPr/>
            </a:pPr>
            <a:fld id="{0026B115-784A-4D40-A753-173BAE3E1A9D}" type="datetimeFigureOut">
              <a:rPr lang="en-US">
                <a:solidFill>
                  <a:srgbClr val="1B587C"/>
                </a:solidFill>
              </a:rPr>
              <a:pPr defTabSz="913980">
                <a:defRPr/>
              </a:pPr>
              <a:t>10/31/2015</a:t>
            </a:fld>
            <a:endParaRPr lang="en-US">
              <a:solidFill>
                <a:srgbClr val="1B587C"/>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defTabSz="913980">
              <a:defRPr/>
            </a:pPr>
            <a:endParaRPr lang="en-US">
              <a:solidFill>
                <a:srgbClr val="1B587C"/>
              </a:solidFill>
            </a:endParaRPr>
          </a:p>
        </p:txBody>
      </p:sp>
      <p:sp>
        <p:nvSpPr>
          <p:cNvPr id="7" name="Slide Number Placeholder 5"/>
          <p:cNvSpPr>
            <a:spLocks noGrp="1"/>
          </p:cNvSpPr>
          <p:nvPr>
            <p:ph type="sldNum" sz="quarter" idx="12"/>
          </p:nvPr>
        </p:nvSpPr>
        <p:spPr/>
        <p:txBody>
          <a:bodyPr/>
          <a:lstStyle>
            <a:lvl1pPr>
              <a:defRPr/>
            </a:lvl1pPr>
          </a:lstStyle>
          <a:p>
            <a:pPr>
              <a:defRPr/>
            </a:pPr>
            <a:fld id="{28EE1881-99DB-48F2-9EE4-19FF19F586E6}" type="slidenum">
              <a:rPr lang="en-US">
                <a:solidFill>
                  <a:srgbClr val="323232"/>
                </a:solidFill>
              </a:rPr>
              <a:pPr>
                <a:defRPr/>
              </a:pPr>
              <a:t>‹#›</a:t>
            </a:fld>
            <a:endParaRPr lang="en-US">
              <a:solidFill>
                <a:srgbClr val="323232"/>
              </a:solidFill>
            </a:endParaRPr>
          </a:p>
        </p:txBody>
      </p:sp>
    </p:spTree>
    <p:extLst>
      <p:ext uri="{BB962C8B-B14F-4D97-AF65-F5344CB8AC3E}">
        <p14:creationId xmlns:p14="http://schemas.microsoft.com/office/powerpoint/2010/main" val="16495341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79596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65"/>
            <a:ext cx="2133600" cy="365125"/>
          </a:xfrm>
          <a:prstGeom prst="rect">
            <a:avLst/>
          </a:prstGeom>
        </p:spPr>
        <p:txBody>
          <a:bodyPr/>
          <a:lstStyle>
            <a:lvl1pPr eaLnBrk="1" hangingPunct="1">
              <a:spcBef>
                <a:spcPct val="0"/>
              </a:spcBef>
              <a:defRPr b="0">
                <a:cs typeface="Arial" charset="0"/>
              </a:defRPr>
            </a:lvl1pPr>
          </a:lstStyle>
          <a:p>
            <a:pPr defTabSz="913980">
              <a:defRPr/>
            </a:pPr>
            <a:endParaRPr lang="en-US">
              <a:solidFill>
                <a:srgbClr val="1B587C"/>
              </a:solidFill>
            </a:endParaRPr>
          </a:p>
        </p:txBody>
      </p:sp>
      <p:sp>
        <p:nvSpPr>
          <p:cNvPr id="3" name="Footer Placeholder 4"/>
          <p:cNvSpPr>
            <a:spLocks noGrp="1"/>
          </p:cNvSpPr>
          <p:nvPr>
            <p:ph type="ftr" sz="quarter" idx="11"/>
          </p:nvPr>
        </p:nvSpPr>
        <p:spPr>
          <a:xfrm>
            <a:off x="3124200" y="6356365"/>
            <a:ext cx="2895600" cy="365125"/>
          </a:xfrm>
          <a:prstGeom prst="rect">
            <a:avLst/>
          </a:prstGeom>
        </p:spPr>
        <p:txBody>
          <a:bodyPr/>
          <a:lstStyle>
            <a:lvl1pPr eaLnBrk="1" hangingPunct="1">
              <a:spcBef>
                <a:spcPct val="0"/>
              </a:spcBef>
              <a:defRPr b="0">
                <a:cs typeface="Arial" charset="0"/>
              </a:defRPr>
            </a:lvl1pPr>
          </a:lstStyle>
          <a:p>
            <a:pPr defTabSz="913980">
              <a:defRPr/>
            </a:pPr>
            <a:endParaRPr lang="en-US">
              <a:solidFill>
                <a:srgbClr val="1B587C"/>
              </a:solidFill>
            </a:endParaRPr>
          </a:p>
        </p:txBody>
      </p:sp>
      <p:sp>
        <p:nvSpPr>
          <p:cNvPr id="4"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32D7B145-2580-4AF8-B32F-609EE6336899}" type="slidenum">
              <a:rPr lang="en-US">
                <a:solidFill>
                  <a:srgbClr val="323232"/>
                </a:solidFill>
              </a:rPr>
              <a:pPr>
                <a:defRPr/>
              </a:pPr>
              <a:t>‹#›</a:t>
            </a:fld>
            <a:endParaRPr lang="en-US">
              <a:solidFill>
                <a:srgbClr val="323232"/>
              </a:solidFill>
            </a:endParaRPr>
          </a:p>
        </p:txBody>
      </p:sp>
    </p:spTree>
    <p:extLst>
      <p:ext uri="{BB962C8B-B14F-4D97-AF65-F5344CB8AC3E}">
        <p14:creationId xmlns:p14="http://schemas.microsoft.com/office/powerpoint/2010/main" val="33679351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6840026" cy="1143000"/>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1600202"/>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13980"/>
            <a:fld id="{9675CFC6-55D9-4FF0-B3FC-ED209061585A}" type="datetimeFigureOut">
              <a:rPr lang="en-GB">
                <a:solidFill>
                  <a:srgbClr val="1B587C"/>
                </a:solidFill>
              </a:rPr>
              <a:pPr defTabSz="913980"/>
              <a:t>31/10/2015</a:t>
            </a:fld>
            <a:endParaRPr lang="en-GB">
              <a:solidFill>
                <a:srgbClr val="1B587C"/>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13980"/>
            <a:endParaRPr lang="en-GB">
              <a:solidFill>
                <a:srgbClr val="1B587C"/>
              </a:solidFill>
            </a:endParaRPr>
          </a:p>
        </p:txBody>
      </p:sp>
      <p:sp>
        <p:nvSpPr>
          <p:cNvPr id="6" name="Slide Number Placeholder 5"/>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7511679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913980"/>
            <a:fld id="{1D8BD707-D9CF-40AE-B4C6-C98DA3205C09}" type="datetimeFigureOut">
              <a:rPr lang="en-US">
                <a:solidFill>
                  <a:prstClr val="black">
                    <a:tint val="75000"/>
                  </a:prstClr>
                </a:solidFill>
              </a:rPr>
              <a:pPr defTabSz="913980"/>
              <a:t>10/31/2015</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91398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76328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1" y="213045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14" y="3886200"/>
            <a:ext cx="6400801" cy="1752600"/>
          </a:xfrm>
        </p:spPr>
        <p:txBody>
          <a:bodyPr/>
          <a:lstStyle>
            <a:lvl1pPr marL="0" indent="0" algn="ctr">
              <a:buNone/>
              <a:defRPr>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1DA985ED-F2C1-498A-B25D-4F2CBE666AA8}" type="slidenum">
              <a:rPr lang="en-US"/>
              <a:pPr>
                <a:defRPr/>
              </a:pPr>
              <a:t>‹#›</a:t>
            </a:fld>
            <a:endParaRPr lang="en-US"/>
          </a:p>
        </p:txBody>
      </p:sp>
    </p:spTree>
    <p:extLst>
      <p:ext uri="{BB962C8B-B14F-4D97-AF65-F5344CB8AC3E}">
        <p14:creationId xmlns:p14="http://schemas.microsoft.com/office/powerpoint/2010/main" val="40315006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90D997C1-E2FE-417F-900C-8B56DF68E98B}" type="slidenum">
              <a:rPr lang="en-US"/>
              <a:pPr>
                <a:defRPr/>
              </a:pPr>
              <a:t>‹#›</a:t>
            </a:fld>
            <a:endParaRPr lang="en-US"/>
          </a:p>
        </p:txBody>
      </p:sp>
    </p:spTree>
    <p:extLst>
      <p:ext uri="{BB962C8B-B14F-4D97-AF65-F5344CB8AC3E}">
        <p14:creationId xmlns:p14="http://schemas.microsoft.com/office/powerpoint/2010/main" val="20448316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31"/>
            <a:ext cx="7772400" cy="1362075"/>
          </a:xfrm>
        </p:spPr>
        <p:txBody>
          <a:bodyPr anchor="t"/>
          <a:lstStyle>
            <a:lvl1pPr algn="l">
              <a:defRPr sz="3692"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846">
                <a:solidFill>
                  <a:schemeClr val="tx1">
                    <a:tint val="75000"/>
                  </a:schemeClr>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75225DDB-47F6-467D-85D3-4F4C314CB2C9}" type="slidenum">
              <a:rPr lang="en-US"/>
              <a:pPr>
                <a:defRPr/>
              </a:pPr>
              <a:t>‹#›</a:t>
            </a:fld>
            <a:endParaRPr lang="en-US"/>
          </a:p>
        </p:txBody>
      </p:sp>
    </p:spTree>
    <p:extLst>
      <p:ext uri="{BB962C8B-B14F-4D97-AF65-F5344CB8AC3E}">
        <p14:creationId xmlns:p14="http://schemas.microsoft.com/office/powerpoint/2010/main" val="13531392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6"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35B87FA5-4E36-46F4-A9EC-F4239696ACEE}" type="slidenum">
              <a:rPr lang="en-US"/>
              <a:pPr>
                <a:defRPr/>
              </a:pPr>
              <a:t>‹#›</a:t>
            </a:fld>
            <a:endParaRPr lang="en-US"/>
          </a:p>
        </p:txBody>
      </p:sp>
    </p:spTree>
    <p:extLst>
      <p:ext uri="{BB962C8B-B14F-4D97-AF65-F5344CB8AC3E}">
        <p14:creationId xmlns:p14="http://schemas.microsoft.com/office/powerpoint/2010/main" val="1549414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4"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4"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8"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9"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8AFA2965-7D73-42BD-AF64-97797391F9C7}" type="slidenum">
              <a:rPr lang="en-US"/>
              <a:pPr>
                <a:defRPr/>
              </a:pPr>
              <a:t>‹#›</a:t>
            </a:fld>
            <a:endParaRPr lang="en-US"/>
          </a:p>
        </p:txBody>
      </p:sp>
    </p:spTree>
    <p:extLst>
      <p:ext uri="{BB962C8B-B14F-4D97-AF65-F5344CB8AC3E}">
        <p14:creationId xmlns:p14="http://schemas.microsoft.com/office/powerpoint/2010/main" val="4128368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4"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5"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A9773930-56E8-42B0-B316-2B69873D850F}" type="slidenum">
              <a:rPr lang="en-US"/>
              <a:pPr>
                <a:defRPr/>
              </a:pPr>
              <a:t>‹#›</a:t>
            </a:fld>
            <a:endParaRPr lang="en-US"/>
          </a:p>
        </p:txBody>
      </p:sp>
    </p:spTree>
    <p:extLst>
      <p:ext uri="{BB962C8B-B14F-4D97-AF65-F5344CB8AC3E}">
        <p14:creationId xmlns:p14="http://schemas.microsoft.com/office/powerpoint/2010/main" val="1466319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3"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4"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32D7B145-2580-4AF8-B32F-609EE6336899}" type="slidenum">
              <a:rPr lang="en-US"/>
              <a:pPr>
                <a:defRPr/>
              </a:pPr>
              <a:t>‹#›</a:t>
            </a:fld>
            <a:endParaRPr lang="en-US"/>
          </a:p>
        </p:txBody>
      </p:sp>
    </p:spTree>
    <p:extLst>
      <p:ext uri="{BB962C8B-B14F-4D97-AF65-F5344CB8AC3E}">
        <p14:creationId xmlns:p14="http://schemas.microsoft.com/office/powerpoint/2010/main" val="3086488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nchor="b"/>
          <a:lstStyle>
            <a:lvl1pPr algn="l">
              <a:defRPr sz="1846" b="1"/>
            </a:lvl1pPr>
          </a:lstStyle>
          <a:p>
            <a:r>
              <a:rPr lang="en-US" smtClean="0"/>
              <a:t>Click to edit Master title style</a:t>
            </a:r>
            <a:endParaRPr lang="en-US"/>
          </a:p>
        </p:txBody>
      </p:sp>
      <p:sp>
        <p:nvSpPr>
          <p:cNvPr id="3" name="Content Placeholder 2"/>
          <p:cNvSpPr>
            <a:spLocks noGrp="1"/>
          </p:cNvSpPr>
          <p:nvPr>
            <p:ph idx="1"/>
          </p:nvPr>
        </p:nvSpPr>
        <p:spPr>
          <a:xfrm>
            <a:off x="3575051" y="273059"/>
            <a:ext cx="5111750"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8" y="1435103"/>
            <a:ext cx="3008313"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6"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C5A29C62-B5E7-4795-AC73-7400B58D1E1A}" type="slidenum">
              <a:rPr lang="en-US"/>
              <a:pPr>
                <a:defRPr/>
              </a:pPr>
              <a:t>‹#›</a:t>
            </a:fld>
            <a:endParaRPr lang="en-US"/>
          </a:p>
        </p:txBody>
      </p:sp>
    </p:spTree>
    <p:extLst>
      <p:ext uri="{BB962C8B-B14F-4D97-AF65-F5344CB8AC3E}">
        <p14:creationId xmlns:p14="http://schemas.microsoft.com/office/powerpoint/2010/main" val="24285657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4800600"/>
            <a:ext cx="5486400" cy="566738"/>
          </a:xfrm>
        </p:spPr>
        <p:txBody>
          <a:bodyPr anchor="b"/>
          <a:lstStyle>
            <a:lvl1pPr algn="l">
              <a:defRPr sz="1846" b="1"/>
            </a:lvl1pPr>
          </a:lstStyle>
          <a:p>
            <a:r>
              <a:rPr lang="en-US" smtClean="0"/>
              <a:t>Click to edit Master title style</a:t>
            </a:r>
            <a:endParaRPr lang="en-US"/>
          </a:p>
        </p:txBody>
      </p:sp>
      <p:sp>
        <p:nvSpPr>
          <p:cNvPr id="3" name="Picture Placeholder 2"/>
          <p:cNvSpPr>
            <a:spLocks noGrp="1"/>
          </p:cNvSpPr>
          <p:nvPr>
            <p:ph type="pic" idx="1"/>
          </p:nvPr>
        </p:nvSpPr>
        <p:spPr>
          <a:xfrm>
            <a:off x="1792289" y="612775"/>
            <a:ext cx="5486400" cy="4114800"/>
          </a:xfrm>
        </p:spPr>
        <p:txBody>
          <a:bodyPr rtlCol="0">
            <a:normAutofit/>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en-US" noProof="0" smtClean="0"/>
          </a:p>
        </p:txBody>
      </p:sp>
      <p:sp>
        <p:nvSpPr>
          <p:cNvPr id="4" name="Text Placeholder 3"/>
          <p:cNvSpPr>
            <a:spLocks noGrp="1"/>
          </p:cNvSpPr>
          <p:nvPr>
            <p:ph type="body" sz="half" idx="2"/>
          </p:nvPr>
        </p:nvSpPr>
        <p:spPr>
          <a:xfrm>
            <a:off x="1792289" y="5367338"/>
            <a:ext cx="54864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6"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BA11FF2C-7B84-4ABD-917F-4950B0873CAA}" type="slidenum">
              <a:rPr lang="en-US"/>
              <a:pPr>
                <a:defRPr/>
              </a:pPr>
              <a:t>‹#›</a:t>
            </a:fld>
            <a:endParaRPr lang="en-US"/>
          </a:p>
        </p:txBody>
      </p:sp>
    </p:spTree>
    <p:extLst>
      <p:ext uri="{BB962C8B-B14F-4D97-AF65-F5344CB8AC3E}">
        <p14:creationId xmlns:p14="http://schemas.microsoft.com/office/powerpoint/2010/main" val="41495631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a:lstStyle>
            <a:lvl1pPr>
              <a:defRPr b="1">
                <a:effectLst>
                  <a:outerShdw blurRad="38100" dist="38100" dir="2700000" algn="tl">
                    <a:srgbClr val="000000">
                      <a:alpha val="43137"/>
                    </a:srgbClr>
                  </a:outerShdw>
                </a:effectLst>
              </a:defRPr>
            </a:lvl1pPr>
          </a:lstStyle>
          <a:p>
            <a:r>
              <a:rPr lang="en-US" dirty="0" smtClean="0"/>
              <a:t>Click to edit Master title style</a:t>
            </a:r>
            <a:endParaRPr lang="en-GB" dirty="0"/>
          </a:p>
        </p:txBody>
      </p:sp>
      <p:sp>
        <p:nvSpPr>
          <p:cNvPr id="3" name="Date Placeholder 2"/>
          <p:cNvSpPr>
            <a:spLocks noGrp="1"/>
          </p:cNvSpPr>
          <p:nvPr>
            <p:ph type="dt" sz="half" idx="10"/>
          </p:nvPr>
        </p:nvSpPr>
        <p:spPr>
          <a:xfrm>
            <a:off x="457201" y="6356355"/>
            <a:ext cx="2133600" cy="365125"/>
          </a:xfrm>
          <a:prstGeom prst="rect">
            <a:avLst/>
          </a:prstGeom>
        </p:spPr>
        <p:txBody>
          <a:bodyPr/>
          <a:lstStyle/>
          <a:p>
            <a:pPr defTabSz="913980"/>
            <a:fld id="{9675CFC6-55D9-4FF0-B3FC-ED209061585A}" type="datetimeFigureOut">
              <a:rPr lang="en-GB">
                <a:solidFill>
                  <a:srgbClr val="1B587C"/>
                </a:solidFill>
              </a:rPr>
              <a:pPr defTabSz="913980"/>
              <a:t>31/10/2015</a:t>
            </a:fld>
            <a:endParaRPr lang="en-GB">
              <a:solidFill>
                <a:srgbClr val="1B587C"/>
              </a:solidFill>
            </a:endParaRPr>
          </a:p>
        </p:txBody>
      </p:sp>
      <p:sp>
        <p:nvSpPr>
          <p:cNvPr id="4" name="Footer Placeholder 3"/>
          <p:cNvSpPr>
            <a:spLocks noGrp="1"/>
          </p:cNvSpPr>
          <p:nvPr>
            <p:ph type="ftr" sz="quarter" idx="11"/>
          </p:nvPr>
        </p:nvSpPr>
        <p:spPr>
          <a:xfrm>
            <a:off x="3124203" y="6356355"/>
            <a:ext cx="2895600" cy="365125"/>
          </a:xfrm>
          <a:prstGeom prst="rect">
            <a:avLst/>
          </a:prstGeom>
        </p:spPr>
        <p:txBody>
          <a:bodyPr/>
          <a:lstStyle/>
          <a:p>
            <a:pPr defTabSz="913980"/>
            <a:endParaRPr lang="en-GB">
              <a:solidFill>
                <a:srgbClr val="1B587C"/>
              </a:solidFill>
            </a:endParaRPr>
          </a:p>
        </p:txBody>
      </p:sp>
      <p:sp>
        <p:nvSpPr>
          <p:cNvPr id="5" name="Slide Number Placeholder 4"/>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131741667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D2AEC662-4791-49B2-B9FC-71EA33BC0745}" type="slidenum">
              <a:rPr lang="en-US"/>
              <a:pPr>
                <a:defRPr/>
              </a:pPr>
              <a:t>‹#›</a:t>
            </a:fld>
            <a:endParaRPr lang="en-US"/>
          </a:p>
        </p:txBody>
      </p:sp>
    </p:spTree>
    <p:extLst>
      <p:ext uri="{BB962C8B-B14F-4D97-AF65-F5344CB8AC3E}">
        <p14:creationId xmlns:p14="http://schemas.microsoft.com/office/powerpoint/2010/main" val="2487765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7"/>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7"/>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1" hangingPunct="1">
              <a:spcBef>
                <a:spcPct val="0"/>
              </a:spcBef>
              <a:defRPr b="0">
                <a:cs typeface="Arial" charset="0"/>
              </a:defRPr>
            </a:lvl1pPr>
          </a:lstStyle>
          <a:p>
            <a:pPr>
              <a:defRPr/>
            </a:pPr>
            <a:endParaRPr lang="en-US"/>
          </a:p>
        </p:txBody>
      </p:sp>
      <p:sp>
        <p:nvSpPr>
          <p:cNvPr id="5" name="Footer Placeholder 4"/>
          <p:cNvSpPr>
            <a:spLocks noGrp="1"/>
          </p:cNvSpPr>
          <p:nvPr>
            <p:ph type="ftr" sz="quarter" idx="11"/>
          </p:nvPr>
        </p:nvSpPr>
        <p:spPr/>
        <p:txBody>
          <a:bodyPr/>
          <a:lstStyle>
            <a:lvl1pPr eaLnBrk="1" hangingPunct="1">
              <a:spcBef>
                <a:spcPct val="0"/>
              </a:spcBef>
              <a:defRPr b="0">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F4291827-9C8C-4DAE-9CB1-FC547342397C}" type="slidenum">
              <a:rPr lang="en-US"/>
              <a:pPr>
                <a:defRPr/>
              </a:pPr>
              <a:t>‹#›</a:t>
            </a:fld>
            <a:endParaRPr lang="en-US"/>
          </a:p>
        </p:txBody>
      </p:sp>
    </p:spTree>
    <p:extLst>
      <p:ext uri="{BB962C8B-B14F-4D97-AF65-F5344CB8AC3E}">
        <p14:creationId xmlns:p14="http://schemas.microsoft.com/office/powerpoint/2010/main" val="34077081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 y="-26988"/>
            <a:ext cx="9141178" cy="1270001"/>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11987" y="1557346"/>
            <a:ext cx="4129686" cy="4795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77127" y="1557346"/>
            <a:ext cx="4131095" cy="4795837"/>
          </a:xfrm>
        </p:spPr>
        <p:txBody>
          <a:bodyPr/>
          <a:lstStyle/>
          <a:p>
            <a:pPr lvl="0"/>
            <a:endParaRPr lang="en-US" noProof="0"/>
          </a:p>
        </p:txBody>
      </p:sp>
    </p:spTree>
    <p:extLst>
      <p:ext uri="{BB962C8B-B14F-4D97-AF65-F5344CB8AC3E}">
        <p14:creationId xmlns:p14="http://schemas.microsoft.com/office/powerpoint/2010/main" val="2213004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558555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231156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977855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71" y="3886200"/>
            <a:ext cx="6400801" cy="1752600"/>
          </a:xfrm>
          <a:prstGeom prst="rect">
            <a:avLst/>
          </a:prstGeom>
        </p:spPr>
        <p:txBody>
          <a:bodyPr/>
          <a:lstStyle>
            <a:lvl1pPr marL="0" indent="0" algn="ctr">
              <a:buNone/>
              <a:defRPr/>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40525868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218525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6900408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804913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729786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861646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483603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678723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211448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430981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87350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69545811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343622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70"/>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457200" y="6245225"/>
            <a:ext cx="2133600" cy="476250"/>
          </a:xfrm>
        </p:spPr>
        <p:txBody>
          <a:bodyPr/>
          <a:lstStyle>
            <a:lvl1pPr>
              <a:defRPr/>
            </a:lvl1pPr>
          </a:lstStyle>
          <a:p>
            <a:endParaRPr lang="en-US">
              <a:solidFill>
                <a:prstClr val="black">
                  <a:tint val="75000"/>
                </a:prstClr>
              </a:solidFill>
            </a:endParaRPr>
          </a:p>
        </p:txBody>
      </p:sp>
      <p:sp>
        <p:nvSpPr>
          <p:cNvPr id="4" name="Footer Placeholder 3"/>
          <p:cNvSpPr>
            <a:spLocks noGrp="1"/>
          </p:cNvSpPr>
          <p:nvPr>
            <p:ph type="ftr" sz="quarter" idx="11"/>
          </p:nvPr>
        </p:nvSpPr>
        <p:spPr>
          <a:xfrm>
            <a:off x="3124200" y="6245225"/>
            <a:ext cx="2895600" cy="476250"/>
          </a:xfrm>
        </p:spPr>
        <p:txBody>
          <a:bodyPr/>
          <a:lstStyle>
            <a:lvl1pPr>
              <a:defRPr/>
            </a:lvl1p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6553200" y="6245225"/>
            <a:ext cx="2133600" cy="476250"/>
          </a:xfrm>
        </p:spPr>
        <p:txBody>
          <a:bodyPr/>
          <a:lstStyle>
            <a:lvl1pPr>
              <a:defRPr/>
            </a:lvl1pPr>
          </a:lstStyle>
          <a:p>
            <a:fld id="{A65B31A5-A193-48B1-883D-BAA1DA7E97AE}"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29185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4704"/>
          </a:xfrm>
        </p:spPr>
        <p:txBody>
          <a:bodyPr/>
          <a:lstStyle>
            <a:lvl1pPr>
              <a:defRPr sz="2400"/>
            </a:lvl1pPr>
          </a:lstStyle>
          <a:p>
            <a:r>
              <a:rPr lang="en-US" smtClean="0"/>
              <a:t>Click to edit Master title style</a:t>
            </a:r>
            <a:endParaRPr lang="en-US"/>
          </a:p>
        </p:txBody>
      </p:sp>
      <p:sp>
        <p:nvSpPr>
          <p:cNvPr id="3" name="Rectangle 2"/>
          <p:cNvSpPr>
            <a:spLocks noGrp="1" noChangeArrowheads="1"/>
          </p:cNvSpPr>
          <p:nvPr>
            <p:ph type="sldNum" sz="quarter" idx="10"/>
          </p:nvPr>
        </p:nvSpPr>
        <p:spPr>
          <a:xfrm>
            <a:off x="8459788" y="6561138"/>
            <a:ext cx="576262" cy="280987"/>
          </a:xfrm>
        </p:spPr>
        <p:txBody>
          <a:bodyPr/>
          <a:lstStyle>
            <a:lvl1pPr>
              <a:defRPr sz="1100"/>
            </a:lvl1pPr>
          </a:lstStyle>
          <a:p>
            <a:pPr>
              <a:defRPr/>
            </a:pPr>
            <a:fld id="{3E579264-B33E-48B4-8CB6-F84C32FC00B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6937564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AndChart">
  <p:cSld name="1_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82296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4648200" y="1600200"/>
            <a:ext cx="4038600" cy="4525963"/>
          </a:xfrm>
          <a:prstGeom prst="rect">
            <a:avLst/>
          </a:prstGeom>
        </p:spPr>
        <p:txBody>
          <a:bodyPr/>
          <a:lstStyle/>
          <a:p>
            <a:pPr lvl="0"/>
            <a:endParaRPr lang="en-US" noProof="0"/>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defTabSz="913980">
              <a:defRPr/>
            </a:pPr>
            <a:fld id="{0026B115-784A-4D40-A753-173BAE3E1A9D}" type="datetimeFigureOut">
              <a:rPr lang="en-US">
                <a:solidFill>
                  <a:srgbClr val="1B587C"/>
                </a:solidFill>
              </a:rPr>
              <a:pPr defTabSz="913980">
                <a:defRPr/>
              </a:pPr>
              <a:t>10/31/2015</a:t>
            </a:fld>
            <a:endParaRPr lang="en-US">
              <a:solidFill>
                <a:srgbClr val="1B587C"/>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defTabSz="913980">
              <a:defRPr/>
            </a:pPr>
            <a:endParaRPr lang="en-US">
              <a:solidFill>
                <a:srgbClr val="1B587C"/>
              </a:solidFill>
            </a:endParaRPr>
          </a:p>
        </p:txBody>
      </p:sp>
      <p:sp>
        <p:nvSpPr>
          <p:cNvPr id="7" name="Slide Number Placeholder 5"/>
          <p:cNvSpPr>
            <a:spLocks noGrp="1"/>
          </p:cNvSpPr>
          <p:nvPr>
            <p:ph type="sldNum" sz="quarter" idx="12"/>
          </p:nvPr>
        </p:nvSpPr>
        <p:spPr/>
        <p:txBody>
          <a:bodyPr/>
          <a:lstStyle>
            <a:lvl1pPr>
              <a:defRPr/>
            </a:lvl1pPr>
          </a:lstStyle>
          <a:p>
            <a:pPr>
              <a:defRPr/>
            </a:pPr>
            <a:fld id="{28EE1881-99DB-48F2-9EE4-19FF19F586E6}" type="slidenum">
              <a:rPr lang="en-US">
                <a:solidFill>
                  <a:srgbClr val="323232"/>
                </a:solidFill>
              </a:rPr>
              <a:pPr>
                <a:defRPr/>
              </a:pPr>
              <a:t>‹#›</a:t>
            </a:fld>
            <a:endParaRPr lang="en-US">
              <a:solidFill>
                <a:srgbClr val="323232"/>
              </a:solidFill>
            </a:endParaRPr>
          </a:p>
        </p:txBody>
      </p:sp>
    </p:spTree>
    <p:extLst>
      <p:ext uri="{BB962C8B-B14F-4D97-AF65-F5344CB8AC3E}">
        <p14:creationId xmlns:p14="http://schemas.microsoft.com/office/powerpoint/2010/main" val="13108733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19200"/>
          </a:xfrm>
        </p:spPr>
        <p:txBody>
          <a:bodyPr/>
          <a:lstStyle/>
          <a:p>
            <a:r>
              <a:rPr lang="en-US" dirty="0" smtClean="0"/>
              <a:t>Click to edit Master title style</a:t>
            </a:r>
            <a:endParaRPr lang="en-US" dirty="0"/>
          </a:p>
        </p:txBody>
      </p:sp>
      <p:sp>
        <p:nvSpPr>
          <p:cNvPr id="3" name="Table Placeholder 2"/>
          <p:cNvSpPr>
            <a:spLocks noGrp="1"/>
          </p:cNvSpPr>
          <p:nvPr>
            <p:ph type="tbl" idx="1"/>
          </p:nvPr>
        </p:nvSpPr>
        <p:spPr>
          <a:xfrm>
            <a:off x="457200" y="1600204"/>
            <a:ext cx="8229600" cy="4525963"/>
          </a:xfrm>
        </p:spPr>
        <p:txBody>
          <a:bodyPr lIns="91397" tIns="45698" rIns="91397" bIns="45698" rtlCol="0">
            <a:normAutofit/>
          </a:bodyPr>
          <a:lstStyle/>
          <a:p>
            <a:pPr lvl="0"/>
            <a:endParaRPr lang="en-US" noProof="0" dirty="0" smtClean="0"/>
          </a:p>
        </p:txBody>
      </p:sp>
      <p:sp>
        <p:nvSpPr>
          <p:cNvPr id="4" name="Rectangle 4"/>
          <p:cNvSpPr>
            <a:spLocks noGrp="1" noChangeArrowheads="1"/>
          </p:cNvSpPr>
          <p:nvPr>
            <p:ph type="dt" sz="half" idx="10"/>
          </p:nvPr>
        </p:nvSpPr>
        <p:spPr/>
        <p:txBody>
          <a:bodyPr/>
          <a:lstStyle>
            <a:lvl1pPr>
              <a:defRPr/>
            </a:lvl1pPr>
          </a:lstStyle>
          <a:p>
            <a:pPr>
              <a:defRPr/>
            </a:pPr>
            <a:endParaRPr lang="en-US">
              <a:solidFill>
                <a:prstClr val="black">
                  <a:tint val="75000"/>
                </a:prstClr>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Rectangle 6"/>
          <p:cNvSpPr>
            <a:spLocks noGrp="1" noChangeArrowheads="1"/>
          </p:cNvSpPr>
          <p:nvPr>
            <p:ph type="sldNum" sz="quarter" idx="12"/>
          </p:nvPr>
        </p:nvSpPr>
        <p:spPr/>
        <p:txBody>
          <a:bodyPr/>
          <a:lstStyle>
            <a:lvl1pPr>
              <a:defRPr/>
            </a:lvl1pPr>
          </a:lstStyle>
          <a:p>
            <a:pPr>
              <a:defRPr/>
            </a:pPr>
            <a:fld id="{86819DB4-0BBC-4360-9E24-67759E2D426B}"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7746850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spcBef>
                <a:spcPct val="50000"/>
              </a:spcBef>
              <a:defRPr b="1">
                <a:latin typeface="Arial" charset="0"/>
              </a:defRPr>
            </a:lvl1pPr>
          </a:lstStyle>
          <a:p>
            <a:fld id="{85ACB7AC-6982-451D-9D3E-E81BD0CD2A55}" type="datetimeFigureOut">
              <a:rPr lang="en-US"/>
              <a:pPr/>
              <a:t>10/31/2015</a:t>
            </a:fld>
            <a:endParaRPr lang="en-US"/>
          </a:p>
        </p:txBody>
      </p:sp>
      <p:sp>
        <p:nvSpPr>
          <p:cNvPr id="5" name="Footer Placeholder 4"/>
          <p:cNvSpPr>
            <a:spLocks noGrp="1"/>
          </p:cNvSpPr>
          <p:nvPr>
            <p:ph type="ftr" sz="quarter" idx="11"/>
          </p:nvPr>
        </p:nvSpPr>
        <p:spPr/>
        <p:txBody>
          <a:bodyPr/>
          <a:lstStyle>
            <a:lvl1pPr>
              <a:spcBef>
                <a:spcPct val="50000"/>
              </a:spcBef>
              <a:defRPr b="1">
                <a:latin typeface="Arial" charset="0"/>
              </a:defRPr>
            </a:lvl1pPr>
          </a:lstStyle>
          <a:p>
            <a:endParaRPr lang="en-US"/>
          </a:p>
        </p:txBody>
      </p:sp>
      <p:sp>
        <p:nvSpPr>
          <p:cNvPr id="6" name="Slide Number Placeholder 5"/>
          <p:cNvSpPr>
            <a:spLocks noGrp="1"/>
          </p:cNvSpPr>
          <p:nvPr>
            <p:ph type="sldNum" sz="quarter" idx="12"/>
          </p:nvPr>
        </p:nvSpPr>
        <p:spPr/>
        <p:txBody>
          <a:bodyPr/>
          <a:lstStyle>
            <a:lvl1pPr>
              <a:spcBef>
                <a:spcPct val="50000"/>
              </a:spcBef>
              <a:defRPr b="1">
                <a:latin typeface="Arial" charset="0"/>
              </a:defRPr>
            </a:lvl1pPr>
          </a:lstStyle>
          <a:p>
            <a:fld id="{DA0A21A0-3F41-4826-A38E-6A9C83CDC9D4}" type="slidenum">
              <a:rPr lang="en-US"/>
              <a:pPr/>
              <a:t>‹#›</a:t>
            </a:fld>
            <a:endParaRPr lang="en-US"/>
          </a:p>
        </p:txBody>
      </p:sp>
    </p:spTree>
    <p:extLst>
      <p:ext uri="{BB962C8B-B14F-4D97-AF65-F5344CB8AC3E}">
        <p14:creationId xmlns:p14="http://schemas.microsoft.com/office/powerpoint/2010/main" val="1373835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66" y="0"/>
            <a:ext cx="9138633" cy="908720"/>
          </a:xfrm>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spcBef>
                <a:spcPct val="50000"/>
              </a:spcBef>
              <a:defRPr b="1">
                <a:latin typeface="Arial" charset="0"/>
              </a:defRPr>
            </a:lvl1pPr>
          </a:lstStyle>
          <a:p>
            <a:fld id="{09B7350F-3418-4374-A0A0-376E1C01130C}" type="datetimeFigureOut">
              <a:rPr lang="en-US"/>
              <a:pPr/>
              <a:t>10/31/2015</a:t>
            </a:fld>
            <a:endParaRPr lang="en-US"/>
          </a:p>
        </p:txBody>
      </p:sp>
      <p:sp>
        <p:nvSpPr>
          <p:cNvPr id="4" name="Footer Placeholder 4"/>
          <p:cNvSpPr>
            <a:spLocks noGrp="1"/>
          </p:cNvSpPr>
          <p:nvPr>
            <p:ph type="ftr" sz="quarter" idx="11"/>
          </p:nvPr>
        </p:nvSpPr>
        <p:spPr/>
        <p:txBody>
          <a:bodyPr/>
          <a:lstStyle>
            <a:lvl1pPr>
              <a:spcBef>
                <a:spcPct val="50000"/>
              </a:spcBef>
              <a:defRPr b="1">
                <a:latin typeface="Arial" charset="0"/>
              </a:defRPr>
            </a:lvl1pPr>
          </a:lstStyle>
          <a:p>
            <a:endParaRPr lang="en-US"/>
          </a:p>
        </p:txBody>
      </p:sp>
      <p:sp>
        <p:nvSpPr>
          <p:cNvPr id="5" name="Slide Number Placeholder 5"/>
          <p:cNvSpPr>
            <a:spLocks noGrp="1"/>
          </p:cNvSpPr>
          <p:nvPr>
            <p:ph type="sldNum" sz="quarter" idx="12"/>
          </p:nvPr>
        </p:nvSpPr>
        <p:spPr/>
        <p:txBody>
          <a:bodyPr/>
          <a:lstStyle>
            <a:lvl1pPr>
              <a:spcBef>
                <a:spcPct val="50000"/>
              </a:spcBef>
              <a:defRPr b="1">
                <a:latin typeface="Arial" charset="0"/>
              </a:defRPr>
            </a:lvl1pPr>
          </a:lstStyle>
          <a:p>
            <a:fld id="{9BEBA579-A2DC-43EC-B7F7-ABB98CE433DB}" type="slidenum">
              <a:rPr lang="en-US"/>
              <a:pPr/>
              <a:t>‹#›</a:t>
            </a:fld>
            <a:endParaRPr lang="en-US"/>
          </a:p>
        </p:txBody>
      </p:sp>
    </p:spTree>
    <p:extLst>
      <p:ext uri="{BB962C8B-B14F-4D97-AF65-F5344CB8AC3E}">
        <p14:creationId xmlns:p14="http://schemas.microsoft.com/office/powerpoint/2010/main" val="35842135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spcBef>
                <a:spcPct val="50000"/>
              </a:spcBef>
              <a:defRPr b="1">
                <a:latin typeface="Arial" charset="0"/>
              </a:defRPr>
            </a:lvl1pPr>
          </a:lstStyle>
          <a:p>
            <a:fld id="{1D75105E-7075-4C62-8D6F-C01FEA00DF92}" type="datetimeFigureOut">
              <a:rPr lang="en-US"/>
              <a:pPr/>
              <a:t>10/31/2015</a:t>
            </a:fld>
            <a:endParaRPr lang="en-US"/>
          </a:p>
        </p:txBody>
      </p:sp>
      <p:sp>
        <p:nvSpPr>
          <p:cNvPr id="5" name="Footer Placeholder 4"/>
          <p:cNvSpPr>
            <a:spLocks noGrp="1"/>
          </p:cNvSpPr>
          <p:nvPr>
            <p:ph type="ftr" sz="quarter" idx="11"/>
          </p:nvPr>
        </p:nvSpPr>
        <p:spPr/>
        <p:txBody>
          <a:bodyPr/>
          <a:lstStyle>
            <a:lvl1pPr>
              <a:spcBef>
                <a:spcPct val="50000"/>
              </a:spcBef>
              <a:defRPr b="1">
                <a:latin typeface="Arial" charset="0"/>
              </a:defRPr>
            </a:lvl1pPr>
          </a:lstStyle>
          <a:p>
            <a:endParaRPr lang="en-US"/>
          </a:p>
        </p:txBody>
      </p:sp>
      <p:sp>
        <p:nvSpPr>
          <p:cNvPr id="6" name="Slide Number Placeholder 5"/>
          <p:cNvSpPr>
            <a:spLocks noGrp="1"/>
          </p:cNvSpPr>
          <p:nvPr>
            <p:ph type="sldNum" sz="quarter" idx="12"/>
          </p:nvPr>
        </p:nvSpPr>
        <p:spPr/>
        <p:txBody>
          <a:bodyPr/>
          <a:lstStyle>
            <a:lvl1pPr>
              <a:spcBef>
                <a:spcPct val="50000"/>
              </a:spcBef>
              <a:defRPr b="1">
                <a:latin typeface="Arial" charset="0"/>
              </a:defRPr>
            </a:lvl1pPr>
          </a:lstStyle>
          <a:p>
            <a:fld id="{B9AF5FC8-864E-4C25-AD41-6AF9106EA33A}" type="slidenum">
              <a:rPr lang="en-US"/>
              <a:pPr/>
              <a:t>‹#›</a:t>
            </a:fld>
            <a:endParaRPr lang="en-US"/>
          </a:p>
        </p:txBody>
      </p:sp>
    </p:spTree>
    <p:extLst>
      <p:ext uri="{BB962C8B-B14F-4D97-AF65-F5344CB8AC3E}">
        <p14:creationId xmlns:p14="http://schemas.microsoft.com/office/powerpoint/2010/main" val="26201121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Rectangle 4"/>
          <p:cNvSpPr>
            <a:spLocks noGrp="1" noChangeArrowheads="1"/>
          </p:cNvSpPr>
          <p:nvPr>
            <p:ph type="dt" sz="half" idx="10"/>
          </p:nvPr>
        </p:nvSpPr>
        <p:spPr/>
        <p:txBody>
          <a:bodyPr/>
          <a:lstStyle>
            <a:lvl1pPr>
              <a:spcBef>
                <a:spcPct val="50000"/>
              </a:spcBef>
              <a:defRPr b="1">
                <a:latin typeface="Arial" charset="0"/>
              </a:defRPr>
            </a:lvl1pPr>
          </a:lstStyle>
          <a:p>
            <a:endParaRPr lang="en-IN"/>
          </a:p>
        </p:txBody>
      </p:sp>
      <p:sp>
        <p:nvSpPr>
          <p:cNvPr id="4" name="Rectangle 5"/>
          <p:cNvSpPr>
            <a:spLocks noGrp="1" noChangeArrowheads="1"/>
          </p:cNvSpPr>
          <p:nvPr>
            <p:ph type="ftr" sz="quarter" idx="11"/>
          </p:nvPr>
        </p:nvSpPr>
        <p:spPr/>
        <p:txBody>
          <a:bodyPr/>
          <a:lstStyle>
            <a:lvl1pPr>
              <a:spcBef>
                <a:spcPct val="50000"/>
              </a:spcBef>
              <a:defRPr b="1">
                <a:latin typeface="Arial" charset="0"/>
              </a:defRPr>
            </a:lvl1pPr>
          </a:lstStyle>
          <a:p>
            <a:endParaRPr lang="en-IN"/>
          </a:p>
        </p:txBody>
      </p:sp>
      <p:sp>
        <p:nvSpPr>
          <p:cNvPr id="5" name="Rectangle 6"/>
          <p:cNvSpPr>
            <a:spLocks noGrp="1" noChangeArrowheads="1"/>
          </p:cNvSpPr>
          <p:nvPr>
            <p:ph type="sldNum" sz="quarter" idx="12"/>
          </p:nvPr>
        </p:nvSpPr>
        <p:spPr/>
        <p:txBody>
          <a:bodyPr/>
          <a:lstStyle>
            <a:lvl1pPr>
              <a:spcBef>
                <a:spcPct val="50000"/>
              </a:spcBef>
              <a:defRPr b="1">
                <a:latin typeface="Arial" charset="0"/>
              </a:defRPr>
            </a:lvl1pPr>
          </a:lstStyle>
          <a:p>
            <a:fld id="{06E3664F-487B-4DD5-99EB-03A377209D3B}" type="slidenum">
              <a:rPr lang="en-IN"/>
              <a:pPr/>
              <a:t>‹#›</a:t>
            </a:fld>
            <a:endParaRPr lang="en-IN"/>
          </a:p>
        </p:txBody>
      </p:sp>
    </p:spTree>
    <p:extLst>
      <p:ext uri="{BB962C8B-B14F-4D97-AF65-F5344CB8AC3E}">
        <p14:creationId xmlns:p14="http://schemas.microsoft.com/office/powerpoint/2010/main" val="3380258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66" y="0"/>
            <a:ext cx="9138633" cy="908720"/>
          </a:xfrm>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spcBef>
                <a:spcPct val="50000"/>
              </a:spcBef>
              <a:defRPr b="1">
                <a:latin typeface="Arial" charset="0"/>
              </a:defRPr>
            </a:lvl1pPr>
          </a:lstStyle>
          <a:p>
            <a:fld id="{A95F4207-6BE1-4355-9A5B-4AA9CE9EF196}" type="datetimeFigureOut">
              <a:rPr lang="en-US"/>
              <a:pPr/>
              <a:t>10/31/2015</a:t>
            </a:fld>
            <a:endParaRPr lang="en-US"/>
          </a:p>
        </p:txBody>
      </p:sp>
      <p:sp>
        <p:nvSpPr>
          <p:cNvPr id="4" name="Footer Placeholder 4"/>
          <p:cNvSpPr>
            <a:spLocks noGrp="1"/>
          </p:cNvSpPr>
          <p:nvPr>
            <p:ph type="ftr" sz="quarter" idx="11"/>
          </p:nvPr>
        </p:nvSpPr>
        <p:spPr/>
        <p:txBody>
          <a:bodyPr/>
          <a:lstStyle>
            <a:lvl1pPr>
              <a:spcBef>
                <a:spcPct val="50000"/>
              </a:spcBef>
              <a:defRPr b="1">
                <a:latin typeface="Arial" charset="0"/>
              </a:defRPr>
            </a:lvl1pPr>
          </a:lstStyle>
          <a:p>
            <a:endParaRPr lang="en-US"/>
          </a:p>
        </p:txBody>
      </p:sp>
      <p:sp>
        <p:nvSpPr>
          <p:cNvPr id="5" name="Slide Number Placeholder 5"/>
          <p:cNvSpPr>
            <a:spLocks noGrp="1"/>
          </p:cNvSpPr>
          <p:nvPr>
            <p:ph type="sldNum" sz="quarter" idx="12"/>
          </p:nvPr>
        </p:nvSpPr>
        <p:spPr/>
        <p:txBody>
          <a:bodyPr/>
          <a:lstStyle>
            <a:lvl1pPr>
              <a:spcBef>
                <a:spcPct val="50000"/>
              </a:spcBef>
              <a:defRPr b="1">
                <a:latin typeface="Arial" charset="0"/>
              </a:defRPr>
            </a:lvl1pPr>
          </a:lstStyle>
          <a:p>
            <a:fld id="{9E7C03C8-BF9B-4CB8-8269-5783D1C238D2}" type="slidenum">
              <a:rPr lang="en-US"/>
              <a:pPr/>
              <a:t>‹#›</a:t>
            </a:fld>
            <a:endParaRPr lang="en-US"/>
          </a:p>
        </p:txBody>
      </p:sp>
    </p:spTree>
    <p:extLst>
      <p:ext uri="{BB962C8B-B14F-4D97-AF65-F5344CB8AC3E}">
        <p14:creationId xmlns:p14="http://schemas.microsoft.com/office/powerpoint/2010/main" val="4486094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66" y="0"/>
            <a:ext cx="9138633" cy="908720"/>
          </a:xfrm>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spcBef>
                <a:spcPct val="50000"/>
              </a:spcBef>
              <a:defRPr b="1">
                <a:latin typeface="Arial" charset="0"/>
              </a:defRPr>
            </a:lvl1pPr>
          </a:lstStyle>
          <a:p>
            <a:fld id="{00711728-91CA-4EF6-9C0F-D542847ACDCD}" type="datetimeFigureOut">
              <a:rPr lang="en-US"/>
              <a:pPr/>
              <a:t>10/31/2015</a:t>
            </a:fld>
            <a:endParaRPr lang="en-US"/>
          </a:p>
        </p:txBody>
      </p:sp>
      <p:sp>
        <p:nvSpPr>
          <p:cNvPr id="4" name="Footer Placeholder 4"/>
          <p:cNvSpPr>
            <a:spLocks noGrp="1"/>
          </p:cNvSpPr>
          <p:nvPr>
            <p:ph type="ftr" sz="quarter" idx="11"/>
          </p:nvPr>
        </p:nvSpPr>
        <p:spPr/>
        <p:txBody>
          <a:bodyPr/>
          <a:lstStyle>
            <a:lvl1pPr>
              <a:spcBef>
                <a:spcPct val="50000"/>
              </a:spcBef>
              <a:defRPr b="1">
                <a:latin typeface="Arial" charset="0"/>
              </a:defRPr>
            </a:lvl1pPr>
          </a:lstStyle>
          <a:p>
            <a:endParaRPr lang="en-US"/>
          </a:p>
        </p:txBody>
      </p:sp>
      <p:sp>
        <p:nvSpPr>
          <p:cNvPr id="5" name="Slide Number Placeholder 5"/>
          <p:cNvSpPr>
            <a:spLocks noGrp="1"/>
          </p:cNvSpPr>
          <p:nvPr>
            <p:ph type="sldNum" sz="quarter" idx="12"/>
          </p:nvPr>
        </p:nvSpPr>
        <p:spPr/>
        <p:txBody>
          <a:bodyPr/>
          <a:lstStyle>
            <a:lvl1pPr>
              <a:spcBef>
                <a:spcPct val="50000"/>
              </a:spcBef>
              <a:defRPr b="1">
                <a:latin typeface="Arial" charset="0"/>
              </a:defRPr>
            </a:lvl1pPr>
          </a:lstStyle>
          <a:p>
            <a:fld id="{C2F3ED86-E52B-4E10-BA0F-2A0C80B83A1A}" type="slidenum">
              <a:rPr lang="en-US"/>
              <a:pPr/>
              <a:t>‹#›</a:t>
            </a:fld>
            <a:endParaRPr lang="en-US"/>
          </a:p>
        </p:txBody>
      </p:sp>
    </p:spTree>
    <p:extLst>
      <p:ext uri="{BB962C8B-B14F-4D97-AF65-F5344CB8AC3E}">
        <p14:creationId xmlns:p14="http://schemas.microsoft.com/office/powerpoint/2010/main" val="3759031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66" y="0"/>
            <a:ext cx="9138633" cy="908720"/>
          </a:xfrm>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spcBef>
                <a:spcPct val="50000"/>
              </a:spcBef>
              <a:defRPr b="1">
                <a:latin typeface="Arial" charset="0"/>
              </a:defRPr>
            </a:lvl1pPr>
          </a:lstStyle>
          <a:p>
            <a:fld id="{632A0F5F-233E-4EB1-B0B3-F5714B8562BA}" type="datetimeFigureOut">
              <a:rPr lang="en-US"/>
              <a:pPr/>
              <a:t>10/31/2015</a:t>
            </a:fld>
            <a:endParaRPr lang="en-US"/>
          </a:p>
        </p:txBody>
      </p:sp>
      <p:sp>
        <p:nvSpPr>
          <p:cNvPr id="4" name="Footer Placeholder 4"/>
          <p:cNvSpPr>
            <a:spLocks noGrp="1"/>
          </p:cNvSpPr>
          <p:nvPr>
            <p:ph type="ftr" sz="quarter" idx="11"/>
          </p:nvPr>
        </p:nvSpPr>
        <p:spPr/>
        <p:txBody>
          <a:bodyPr/>
          <a:lstStyle>
            <a:lvl1pPr>
              <a:spcBef>
                <a:spcPct val="50000"/>
              </a:spcBef>
              <a:defRPr b="1">
                <a:latin typeface="Arial" charset="0"/>
              </a:defRPr>
            </a:lvl1pPr>
          </a:lstStyle>
          <a:p>
            <a:endParaRPr lang="en-US"/>
          </a:p>
        </p:txBody>
      </p:sp>
      <p:sp>
        <p:nvSpPr>
          <p:cNvPr id="5" name="Slide Number Placeholder 5"/>
          <p:cNvSpPr>
            <a:spLocks noGrp="1"/>
          </p:cNvSpPr>
          <p:nvPr>
            <p:ph type="sldNum" sz="quarter" idx="12"/>
          </p:nvPr>
        </p:nvSpPr>
        <p:spPr/>
        <p:txBody>
          <a:bodyPr/>
          <a:lstStyle>
            <a:lvl1pPr>
              <a:spcBef>
                <a:spcPct val="50000"/>
              </a:spcBef>
              <a:defRPr b="1">
                <a:latin typeface="Arial" charset="0"/>
              </a:defRPr>
            </a:lvl1pPr>
          </a:lstStyle>
          <a:p>
            <a:fld id="{E264C341-49C5-4DF8-9DF6-540AF7A39B53}" type="slidenum">
              <a:rPr lang="en-US"/>
              <a:pPr/>
              <a:t>‹#›</a:t>
            </a:fld>
            <a:endParaRPr lang="en-US"/>
          </a:p>
        </p:txBody>
      </p:sp>
    </p:spTree>
    <p:extLst>
      <p:ext uri="{BB962C8B-B14F-4D97-AF65-F5344CB8AC3E}">
        <p14:creationId xmlns:p14="http://schemas.microsoft.com/office/powerpoint/2010/main" val="4033513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15721353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p:txBody>
          <a:bodyPr/>
          <a:lstStyle>
            <a:lvl1pPr>
              <a:defRPr/>
            </a:lvl1p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279096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621318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13980"/>
            <a:fld id="{9675CFC6-55D9-4FF0-B3FC-ED209061585A}" type="datetimeFigureOut">
              <a:rPr lang="en-GB" smtClean="0">
                <a:solidFill>
                  <a:srgbClr val="1B587C"/>
                </a:solidFill>
              </a:rPr>
              <a:pPr defTabSz="913980"/>
              <a:t>31/10/2015</a:t>
            </a:fld>
            <a:endParaRPr lang="en-GB">
              <a:solidFill>
                <a:srgbClr val="1B587C"/>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13980"/>
            <a:endParaRPr lang="en-GB">
              <a:solidFill>
                <a:srgbClr val="1B587C"/>
              </a:solidFill>
            </a:endParaRPr>
          </a:p>
        </p:txBody>
      </p:sp>
      <p:sp>
        <p:nvSpPr>
          <p:cNvPr id="6" name="Slide Number Placeholder 5"/>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32168818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1_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6840026" cy="1143000"/>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1600202"/>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13980"/>
            <a:fld id="{9675CFC6-55D9-4FF0-B3FC-ED209061585A}" type="datetimeFigureOut">
              <a:rPr lang="en-GB" smtClean="0">
                <a:solidFill>
                  <a:srgbClr val="1B587C"/>
                </a:solidFill>
              </a:rPr>
              <a:pPr defTabSz="913980"/>
              <a:t>31/10/2015</a:t>
            </a:fld>
            <a:endParaRPr lang="en-GB">
              <a:solidFill>
                <a:srgbClr val="1B587C"/>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pPr defTabSz="913980"/>
            <a:endParaRPr lang="en-GB">
              <a:solidFill>
                <a:srgbClr val="1B587C"/>
              </a:solidFill>
            </a:endParaRPr>
          </a:p>
        </p:txBody>
      </p:sp>
      <p:sp>
        <p:nvSpPr>
          <p:cNvPr id="6" name="Slide Number Placeholder 5"/>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3866160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a:lstStyle>
            <a:lvl1pPr>
              <a:defRPr b="1">
                <a:effectLst>
                  <a:outerShdw blurRad="38100" dist="38100" dir="2700000" algn="tl">
                    <a:srgbClr val="000000">
                      <a:alpha val="43137"/>
                    </a:srgbClr>
                  </a:outerShdw>
                </a:effectLst>
              </a:defRPr>
            </a:lvl1pPr>
          </a:lstStyle>
          <a:p>
            <a:r>
              <a:rPr lang="en-US" dirty="0" smtClean="0"/>
              <a:t>Click to edit Master title style</a:t>
            </a:r>
            <a:endParaRPr lang="en-GB" dirty="0"/>
          </a:p>
        </p:txBody>
      </p:sp>
      <p:sp>
        <p:nvSpPr>
          <p:cNvPr id="3" name="Date Placeholder 2"/>
          <p:cNvSpPr>
            <a:spLocks noGrp="1"/>
          </p:cNvSpPr>
          <p:nvPr>
            <p:ph type="dt" sz="half" idx="10"/>
          </p:nvPr>
        </p:nvSpPr>
        <p:spPr>
          <a:xfrm>
            <a:off x="457201" y="6356355"/>
            <a:ext cx="2133600" cy="365125"/>
          </a:xfrm>
          <a:prstGeom prst="rect">
            <a:avLst/>
          </a:prstGeom>
        </p:spPr>
        <p:txBody>
          <a:bodyPr/>
          <a:lstStyle/>
          <a:p>
            <a:pPr defTabSz="913980"/>
            <a:fld id="{9675CFC6-55D9-4FF0-B3FC-ED209061585A}" type="datetimeFigureOut">
              <a:rPr lang="en-GB" smtClean="0">
                <a:solidFill>
                  <a:srgbClr val="1B587C"/>
                </a:solidFill>
              </a:rPr>
              <a:pPr defTabSz="913980"/>
              <a:t>31/10/2015</a:t>
            </a:fld>
            <a:endParaRPr lang="en-GB">
              <a:solidFill>
                <a:srgbClr val="1B587C"/>
              </a:solidFill>
            </a:endParaRPr>
          </a:p>
        </p:txBody>
      </p:sp>
      <p:sp>
        <p:nvSpPr>
          <p:cNvPr id="4" name="Footer Placeholder 3"/>
          <p:cNvSpPr>
            <a:spLocks noGrp="1"/>
          </p:cNvSpPr>
          <p:nvPr>
            <p:ph type="ftr" sz="quarter" idx="11"/>
          </p:nvPr>
        </p:nvSpPr>
        <p:spPr>
          <a:xfrm>
            <a:off x="3124203" y="6356355"/>
            <a:ext cx="2895600" cy="365125"/>
          </a:xfrm>
          <a:prstGeom prst="rect">
            <a:avLst/>
          </a:prstGeom>
        </p:spPr>
        <p:txBody>
          <a:bodyPr/>
          <a:lstStyle/>
          <a:p>
            <a:pPr defTabSz="913980"/>
            <a:endParaRPr lang="en-GB">
              <a:solidFill>
                <a:srgbClr val="1B587C"/>
              </a:solidFill>
            </a:endParaRPr>
          </a:p>
        </p:txBody>
      </p:sp>
      <p:sp>
        <p:nvSpPr>
          <p:cNvPr id="5" name="Slide Number Placeholder 4"/>
          <p:cNvSpPr>
            <a:spLocks noGrp="1"/>
          </p:cNvSpPr>
          <p:nvPr>
            <p:ph type="sldNum" sz="quarter" idx="12"/>
          </p:nvPr>
        </p:nvSpPr>
        <p:spPr/>
        <p:txBody>
          <a:bodyPr/>
          <a:lstStyle/>
          <a:p>
            <a:fld id="{60650667-350B-48B4-8BF9-BC4C79242404}" type="slidenum">
              <a:rPr lang="en-GB" smtClean="0">
                <a:solidFill>
                  <a:srgbClr val="323232"/>
                </a:solidFill>
              </a:rPr>
              <a:pPr/>
              <a:t>‹#›</a:t>
            </a:fld>
            <a:endParaRPr lang="en-GB">
              <a:solidFill>
                <a:srgbClr val="323232"/>
              </a:solidFill>
            </a:endParaRPr>
          </a:p>
        </p:txBody>
      </p:sp>
    </p:spTree>
    <p:extLst>
      <p:ext uri="{BB962C8B-B14F-4D97-AF65-F5344CB8AC3E}">
        <p14:creationId xmlns:p14="http://schemas.microsoft.com/office/powerpoint/2010/main" val="3275465816"/>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849408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AndChart">
  <p:cSld name="1_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82296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4648200" y="1600200"/>
            <a:ext cx="4038600" cy="4525963"/>
          </a:xfrm>
          <a:prstGeom prst="rect">
            <a:avLst/>
          </a:prstGeom>
        </p:spPr>
        <p:txBody>
          <a:bodyPr/>
          <a:lstStyle/>
          <a:p>
            <a:pPr lvl="0"/>
            <a:endParaRPr lang="en-US" noProof="0"/>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defTabSz="913980">
              <a:defRPr/>
            </a:pPr>
            <a:fld id="{0026B115-784A-4D40-A753-173BAE3E1A9D}" type="datetimeFigureOut">
              <a:rPr lang="en-US">
                <a:solidFill>
                  <a:srgbClr val="1B587C"/>
                </a:solidFill>
              </a:rPr>
              <a:pPr defTabSz="913980">
                <a:defRPr/>
              </a:pPr>
              <a:t>10/31/2015</a:t>
            </a:fld>
            <a:endParaRPr lang="en-US">
              <a:solidFill>
                <a:srgbClr val="1B587C"/>
              </a:solidFill>
            </a:endParaRPr>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defTabSz="913980">
              <a:defRPr/>
            </a:pPr>
            <a:endParaRPr lang="en-US">
              <a:solidFill>
                <a:srgbClr val="1B587C"/>
              </a:solidFill>
            </a:endParaRPr>
          </a:p>
        </p:txBody>
      </p:sp>
      <p:sp>
        <p:nvSpPr>
          <p:cNvPr id="7" name="Slide Number Placeholder 5"/>
          <p:cNvSpPr>
            <a:spLocks noGrp="1"/>
          </p:cNvSpPr>
          <p:nvPr>
            <p:ph type="sldNum" sz="quarter" idx="12"/>
          </p:nvPr>
        </p:nvSpPr>
        <p:spPr/>
        <p:txBody>
          <a:bodyPr/>
          <a:lstStyle>
            <a:lvl1pPr>
              <a:defRPr/>
            </a:lvl1pPr>
          </a:lstStyle>
          <a:p>
            <a:pPr>
              <a:defRPr/>
            </a:pPr>
            <a:fld id="{28EE1881-99DB-48F2-9EE4-19FF19F586E6}" type="slidenum">
              <a:rPr lang="en-US">
                <a:solidFill>
                  <a:srgbClr val="323232"/>
                </a:solidFill>
              </a:rPr>
              <a:pPr>
                <a:defRPr/>
              </a:pPr>
              <a:t>‹#›</a:t>
            </a:fld>
            <a:endParaRPr lang="en-US">
              <a:solidFill>
                <a:srgbClr val="323232"/>
              </a:solidFill>
            </a:endParaRPr>
          </a:p>
        </p:txBody>
      </p:sp>
    </p:spTree>
    <p:extLst>
      <p:ext uri="{BB962C8B-B14F-4D97-AF65-F5344CB8AC3E}">
        <p14:creationId xmlns:p14="http://schemas.microsoft.com/office/powerpoint/2010/main" val="37986607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Title 4"/>
          <p:cNvSpPr>
            <a:spLocks noGrp="1"/>
          </p:cNvSpPr>
          <p:nvPr>
            <p:ph type="title"/>
          </p:nvPr>
        </p:nvSpPr>
        <p:spPr>
          <a:xfrm>
            <a:off x="457200" y="990600"/>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678715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65"/>
            <a:ext cx="2133600" cy="365125"/>
          </a:xfrm>
          <a:prstGeom prst="rect">
            <a:avLst/>
          </a:prstGeom>
        </p:spPr>
        <p:txBody>
          <a:bodyPr/>
          <a:lstStyle>
            <a:lvl1pPr eaLnBrk="1" hangingPunct="1">
              <a:spcBef>
                <a:spcPct val="0"/>
              </a:spcBef>
              <a:defRPr b="0">
                <a:cs typeface="Arial" charset="0"/>
              </a:defRPr>
            </a:lvl1pPr>
          </a:lstStyle>
          <a:p>
            <a:pPr defTabSz="913980">
              <a:defRPr/>
            </a:pPr>
            <a:endParaRPr lang="en-US">
              <a:solidFill>
                <a:srgbClr val="1B587C"/>
              </a:solidFill>
            </a:endParaRPr>
          </a:p>
        </p:txBody>
      </p:sp>
      <p:sp>
        <p:nvSpPr>
          <p:cNvPr id="3" name="Footer Placeholder 4"/>
          <p:cNvSpPr>
            <a:spLocks noGrp="1"/>
          </p:cNvSpPr>
          <p:nvPr>
            <p:ph type="ftr" sz="quarter" idx="11"/>
          </p:nvPr>
        </p:nvSpPr>
        <p:spPr>
          <a:xfrm>
            <a:off x="3124200" y="6356365"/>
            <a:ext cx="2895600" cy="365125"/>
          </a:xfrm>
          <a:prstGeom prst="rect">
            <a:avLst/>
          </a:prstGeom>
        </p:spPr>
        <p:txBody>
          <a:bodyPr/>
          <a:lstStyle>
            <a:lvl1pPr eaLnBrk="1" hangingPunct="1">
              <a:spcBef>
                <a:spcPct val="0"/>
              </a:spcBef>
              <a:defRPr b="0">
                <a:cs typeface="Arial" charset="0"/>
              </a:defRPr>
            </a:lvl1pPr>
          </a:lstStyle>
          <a:p>
            <a:pPr defTabSz="913980">
              <a:defRPr/>
            </a:pPr>
            <a:endParaRPr lang="en-US">
              <a:solidFill>
                <a:srgbClr val="1B587C"/>
              </a:solidFill>
            </a:endParaRPr>
          </a:p>
        </p:txBody>
      </p:sp>
      <p:sp>
        <p:nvSpPr>
          <p:cNvPr id="4"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32D7B145-2580-4AF8-B32F-609EE6336899}" type="slidenum">
              <a:rPr lang="en-US">
                <a:solidFill>
                  <a:srgbClr val="323232"/>
                </a:solidFill>
              </a:rPr>
              <a:pPr>
                <a:defRPr/>
              </a:pPr>
              <a:t>‹#›</a:t>
            </a:fld>
            <a:endParaRPr lang="en-US">
              <a:solidFill>
                <a:srgbClr val="323232"/>
              </a:solidFill>
            </a:endParaRPr>
          </a:p>
        </p:txBody>
      </p:sp>
    </p:spTree>
    <p:extLst>
      <p:ext uri="{BB962C8B-B14F-4D97-AF65-F5344CB8AC3E}">
        <p14:creationId xmlns:p14="http://schemas.microsoft.com/office/powerpoint/2010/main" val="3243241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913980"/>
            <a:fld id="{1D8BD707-D9CF-40AE-B4C6-C98DA3205C09}" type="datetimeFigureOut">
              <a:rPr lang="en-US" smtClean="0">
                <a:solidFill>
                  <a:prstClr val="black">
                    <a:tint val="75000"/>
                  </a:prstClr>
                </a:solidFill>
              </a:rPr>
              <a:pPr defTabSz="913980"/>
              <a:t>10/31/2015</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913980"/>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98999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65"/>
            <a:ext cx="2133600" cy="365125"/>
          </a:xfrm>
          <a:prstGeom prst="rect">
            <a:avLst/>
          </a:prstGeom>
        </p:spPr>
        <p:txBody>
          <a:bodyPr/>
          <a:lstStyle>
            <a:lvl1pPr eaLnBrk="1" hangingPunct="1">
              <a:spcBef>
                <a:spcPct val="0"/>
              </a:spcBef>
              <a:defRPr b="0">
                <a:cs typeface="Arial" charset="0"/>
              </a:defRPr>
            </a:lvl1pPr>
          </a:lstStyle>
          <a:p>
            <a:pPr defTabSz="913980">
              <a:defRPr/>
            </a:pPr>
            <a:endParaRPr lang="en-US">
              <a:solidFill>
                <a:srgbClr val="1B587C"/>
              </a:solidFill>
            </a:endParaRPr>
          </a:p>
        </p:txBody>
      </p:sp>
      <p:sp>
        <p:nvSpPr>
          <p:cNvPr id="3" name="Footer Placeholder 4"/>
          <p:cNvSpPr>
            <a:spLocks noGrp="1"/>
          </p:cNvSpPr>
          <p:nvPr>
            <p:ph type="ftr" sz="quarter" idx="11"/>
          </p:nvPr>
        </p:nvSpPr>
        <p:spPr>
          <a:xfrm>
            <a:off x="3124200" y="6356365"/>
            <a:ext cx="2895600" cy="365125"/>
          </a:xfrm>
          <a:prstGeom prst="rect">
            <a:avLst/>
          </a:prstGeom>
        </p:spPr>
        <p:txBody>
          <a:bodyPr/>
          <a:lstStyle>
            <a:lvl1pPr eaLnBrk="1" hangingPunct="1">
              <a:spcBef>
                <a:spcPct val="0"/>
              </a:spcBef>
              <a:defRPr b="0">
                <a:cs typeface="Arial" charset="0"/>
              </a:defRPr>
            </a:lvl1pPr>
          </a:lstStyle>
          <a:p>
            <a:pPr defTabSz="913980">
              <a:defRPr/>
            </a:pPr>
            <a:endParaRPr lang="en-US">
              <a:solidFill>
                <a:srgbClr val="1B587C"/>
              </a:solidFill>
            </a:endParaRPr>
          </a:p>
        </p:txBody>
      </p:sp>
      <p:sp>
        <p:nvSpPr>
          <p:cNvPr id="4" name="Slide Number Placeholder 5"/>
          <p:cNvSpPr>
            <a:spLocks noGrp="1"/>
          </p:cNvSpPr>
          <p:nvPr>
            <p:ph type="sldNum" sz="quarter" idx="12"/>
          </p:nvPr>
        </p:nvSpPr>
        <p:spPr/>
        <p:txBody>
          <a:bodyPr/>
          <a:lstStyle>
            <a:lvl1pPr eaLnBrk="1" hangingPunct="1">
              <a:spcBef>
                <a:spcPct val="0"/>
              </a:spcBef>
              <a:defRPr b="0">
                <a:cs typeface="Arial" charset="0"/>
              </a:defRPr>
            </a:lvl1pPr>
          </a:lstStyle>
          <a:p>
            <a:pPr>
              <a:defRPr/>
            </a:pPr>
            <a:fld id="{32D7B145-2580-4AF8-B32F-609EE6336899}" type="slidenum">
              <a:rPr lang="en-US">
                <a:solidFill>
                  <a:srgbClr val="323232"/>
                </a:solidFill>
              </a:rPr>
              <a:pPr>
                <a:defRPr/>
              </a:pPr>
              <a:t>‹#›</a:t>
            </a:fld>
            <a:endParaRPr lang="en-US">
              <a:solidFill>
                <a:srgbClr val="323232"/>
              </a:solidFill>
            </a:endParaRPr>
          </a:p>
        </p:txBody>
      </p:sp>
    </p:spTree>
    <p:extLst>
      <p:ext uri="{BB962C8B-B14F-4D97-AF65-F5344CB8AC3E}">
        <p14:creationId xmlns:p14="http://schemas.microsoft.com/office/powerpoint/2010/main" val="2901703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oleObject" Target="../embeddings/oleObject2.bin"/><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vmlDrawing" Target="../drawings/vmlDrawing2.vml"/><Relationship Id="rId5" Type="http://schemas.openxmlformats.org/officeDocument/2006/relationships/slideLayout" Target="../slideLayouts/slideLayout15.xml"/><Relationship Id="rId15" Type="http://schemas.openxmlformats.org/officeDocument/2006/relationships/image" Target="../media/image2.jpeg"/><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oleObject" Target="../embeddings/oleObject3.bin"/><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ags" Target="../tags/tag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vmlDrawing" Target="../drawings/vmlDrawing3.vml"/><Relationship Id="rId5" Type="http://schemas.openxmlformats.org/officeDocument/2006/relationships/slideLayout" Target="../slideLayouts/slideLayout36.xml"/><Relationship Id="rId15" Type="http://schemas.openxmlformats.org/officeDocument/2006/relationships/image" Target="../media/image2.jpeg"/><Relationship Id="rId10"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heme" Target="../theme/theme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heme" Target="../theme/theme6.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ags" Target="../tags/tag4.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vmlDrawing" Target="../drawings/vmlDrawing4.vml"/><Relationship Id="rId2" Type="http://schemas.openxmlformats.org/officeDocument/2006/relationships/slideLayout" Target="../slideLayouts/slideLayout79.xml"/><Relationship Id="rId16" Type="http://schemas.openxmlformats.org/officeDocument/2006/relationships/image" Target="../media/image2.jpeg"/><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heme" Target="../theme/theme8.xml"/><Relationship Id="rId5" Type="http://schemas.openxmlformats.org/officeDocument/2006/relationships/slideLayout" Target="../slideLayouts/slideLayout82.xml"/><Relationship Id="rId15" Type="http://schemas.openxmlformats.org/officeDocument/2006/relationships/image" Target="../media/image1.emf"/><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18586371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14" imgW="216" imgH="216" progId="TCLayout.ActiveDocument.1">
                  <p:embed/>
                </p:oleObj>
              </mc:Choice>
              <mc:Fallback>
                <p:oleObj name="think-cell Slide" r:id="rId14" imgW="216" imgH="216" progId="TCLayout.ActiveDocument.1">
                  <p:embed/>
                  <p:pic>
                    <p:nvPicPr>
                      <p:cNvPr id="0" name=""/>
                      <p:cNvPicPr/>
                      <p:nvPr/>
                    </p:nvPicPr>
                    <p:blipFill>
                      <a:blip r:embed="rId15"/>
                      <a:stretch>
                        <a:fillRect/>
                      </a:stretch>
                    </p:blipFill>
                    <p:spPr>
                      <a:xfrm>
                        <a:off x="1589" y="1590"/>
                        <a:ext cx="1587" cy="1587"/>
                      </a:xfrm>
                      <a:prstGeom prst="rect">
                        <a:avLst/>
                      </a:prstGeom>
                    </p:spPr>
                  </p:pic>
                </p:oleObj>
              </mc:Fallback>
            </mc:AlternateContent>
          </a:graphicData>
        </a:graphic>
      </p:graphicFrame>
      <p:pic>
        <p:nvPicPr>
          <p:cNvPr id="1026" name="Picture 6" descr="GPEI inside pages.jpg"/>
          <p:cNvPicPr>
            <a:picLocks noChangeAspect="1"/>
          </p:cNvPicPr>
          <p:nvPr userDrawn="1"/>
        </p:nvPicPr>
        <p:blipFill rotWithShape="1">
          <a:blip r:embed="rId16" cstate="print"/>
          <a:srcRect t="12207" r="10000"/>
          <a:stretch/>
        </p:blipFill>
        <p:spPr bwMode="auto">
          <a:xfrm>
            <a:off x="0" y="0"/>
            <a:ext cx="9165514" cy="6857999"/>
          </a:xfrm>
          <a:prstGeom prst="rect">
            <a:avLst/>
          </a:prstGeom>
          <a:noFill/>
          <a:ln w="9525">
            <a:noFill/>
            <a:miter lim="800000"/>
            <a:headEnd/>
            <a:tailEnd/>
          </a:ln>
        </p:spPr>
      </p:pic>
      <p:sp>
        <p:nvSpPr>
          <p:cNvPr id="6" name="Slide Number Placeholder 5"/>
          <p:cNvSpPr>
            <a:spLocks noGrp="1"/>
          </p:cNvSpPr>
          <p:nvPr>
            <p:ph type="sldNum" sz="quarter" idx="4"/>
          </p:nvPr>
        </p:nvSpPr>
        <p:spPr>
          <a:xfrm>
            <a:off x="2" y="6604000"/>
            <a:ext cx="1778000"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defTabSz="913980"/>
            <a:fld id="{60650667-350B-48B4-8BF9-BC4C79242404}" type="slidenum">
              <a:rPr lang="en-GB" smtClean="0">
                <a:solidFill>
                  <a:srgbClr val="323232"/>
                </a:solidFill>
              </a:rPr>
              <a:pPr defTabSz="913980"/>
              <a:t>‹#›</a:t>
            </a:fld>
            <a:endParaRPr lang="en-GB">
              <a:solidFill>
                <a:srgbClr val="323232"/>
              </a:solidFill>
            </a:endParaRPr>
          </a:p>
        </p:txBody>
      </p:sp>
    </p:spTree>
    <p:extLst>
      <p:ext uri="{BB962C8B-B14F-4D97-AF65-F5344CB8AC3E}">
        <p14:creationId xmlns:p14="http://schemas.microsoft.com/office/powerpoint/2010/main" val="38729354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13" imgW="216" imgH="216" progId="TCLayout.ActiveDocument.1">
                  <p:embed/>
                </p:oleObj>
              </mc:Choice>
              <mc:Fallback>
                <p:oleObj name="think-cell Slide" r:id="rId13" imgW="216" imgH="216" progId="TCLayout.ActiveDocument.1">
                  <p:embed/>
                  <p:pic>
                    <p:nvPicPr>
                      <p:cNvPr id="0" name=""/>
                      <p:cNvPicPr/>
                      <p:nvPr/>
                    </p:nvPicPr>
                    <p:blipFill>
                      <a:blip r:embed="rId14"/>
                      <a:stretch>
                        <a:fillRect/>
                      </a:stretch>
                    </p:blipFill>
                    <p:spPr>
                      <a:xfrm>
                        <a:off x="1589" y="1590"/>
                        <a:ext cx="1587" cy="1587"/>
                      </a:xfrm>
                      <a:prstGeom prst="rect">
                        <a:avLst/>
                      </a:prstGeom>
                    </p:spPr>
                  </p:pic>
                </p:oleObj>
              </mc:Fallback>
            </mc:AlternateContent>
          </a:graphicData>
        </a:graphic>
      </p:graphicFrame>
      <p:pic>
        <p:nvPicPr>
          <p:cNvPr id="1026" name="Picture 6" descr="GPEI inside pages.jpg"/>
          <p:cNvPicPr>
            <a:picLocks noChangeAspect="1"/>
          </p:cNvPicPr>
          <p:nvPr userDrawn="1"/>
        </p:nvPicPr>
        <p:blipFill rotWithShape="1">
          <a:blip r:embed="rId15" cstate="print"/>
          <a:srcRect t="12207" r="10000"/>
          <a:stretch/>
        </p:blipFill>
        <p:spPr bwMode="auto">
          <a:xfrm>
            <a:off x="0" y="0"/>
            <a:ext cx="9165514" cy="6857999"/>
          </a:xfrm>
          <a:prstGeom prst="rect">
            <a:avLst/>
          </a:prstGeom>
          <a:noFill/>
          <a:ln w="9525">
            <a:noFill/>
            <a:miter lim="800000"/>
            <a:headEnd/>
            <a:tailEnd/>
          </a:ln>
        </p:spPr>
      </p:pic>
      <p:sp>
        <p:nvSpPr>
          <p:cNvPr id="6" name="Slide Number Placeholder 5"/>
          <p:cNvSpPr>
            <a:spLocks noGrp="1"/>
          </p:cNvSpPr>
          <p:nvPr>
            <p:ph type="sldNum" sz="quarter" idx="4"/>
          </p:nvPr>
        </p:nvSpPr>
        <p:spPr>
          <a:xfrm>
            <a:off x="2" y="6604000"/>
            <a:ext cx="1778000"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defTabSz="913980"/>
            <a:fld id="{60650667-350B-48B4-8BF9-BC4C79242404}" type="slidenum">
              <a:rPr lang="en-GB" smtClean="0">
                <a:solidFill>
                  <a:srgbClr val="323232"/>
                </a:solidFill>
              </a:rPr>
              <a:pPr defTabSz="913980"/>
              <a:t>‹#›</a:t>
            </a:fld>
            <a:endParaRPr lang="en-GB">
              <a:solidFill>
                <a:srgbClr val="323232"/>
              </a:solidFill>
            </a:endParaRPr>
          </a:p>
        </p:txBody>
      </p:sp>
    </p:spTree>
    <p:extLst>
      <p:ext uri="{BB962C8B-B14F-4D97-AF65-F5344CB8AC3E}">
        <p14:creationId xmlns:p14="http://schemas.microsoft.com/office/powerpoint/2010/main" val="320981182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Lst>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F7FCC8-C098-4474-B1CD-54A37934E22E}" type="datetime1">
              <a:rPr lang="en-US" smtClean="0">
                <a:solidFill>
                  <a:prstClr val="black">
                    <a:tint val="75000"/>
                  </a:prstClr>
                </a:solidFill>
              </a:rPr>
              <a:pPr/>
              <a:t>10/31/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EC7BD3-8845-44C8-905D-FD88A5216A2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1106436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87373897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13" imgW="216" imgH="216" progId="TCLayout.ActiveDocument.1">
                  <p:embed/>
                </p:oleObj>
              </mc:Choice>
              <mc:Fallback>
                <p:oleObj name="think-cell Slide" r:id="rId13" imgW="216" imgH="216" progId="TCLayout.ActiveDocument.1">
                  <p:embed/>
                  <p:pic>
                    <p:nvPicPr>
                      <p:cNvPr id="0" name=""/>
                      <p:cNvPicPr/>
                      <p:nvPr/>
                    </p:nvPicPr>
                    <p:blipFill>
                      <a:blip r:embed="rId14"/>
                      <a:stretch>
                        <a:fillRect/>
                      </a:stretch>
                    </p:blipFill>
                    <p:spPr>
                      <a:xfrm>
                        <a:off x="1589" y="1590"/>
                        <a:ext cx="1587" cy="1587"/>
                      </a:xfrm>
                      <a:prstGeom prst="rect">
                        <a:avLst/>
                      </a:prstGeom>
                    </p:spPr>
                  </p:pic>
                </p:oleObj>
              </mc:Fallback>
            </mc:AlternateContent>
          </a:graphicData>
        </a:graphic>
      </p:graphicFrame>
      <p:pic>
        <p:nvPicPr>
          <p:cNvPr id="1026" name="Picture 6" descr="GPEI inside pages.jpg"/>
          <p:cNvPicPr>
            <a:picLocks noChangeAspect="1"/>
          </p:cNvPicPr>
          <p:nvPr userDrawn="1"/>
        </p:nvPicPr>
        <p:blipFill rotWithShape="1">
          <a:blip r:embed="rId15" cstate="print"/>
          <a:srcRect t="12207" r="10000"/>
          <a:stretch/>
        </p:blipFill>
        <p:spPr bwMode="auto">
          <a:xfrm>
            <a:off x="0" y="0"/>
            <a:ext cx="9165514" cy="6857999"/>
          </a:xfrm>
          <a:prstGeom prst="rect">
            <a:avLst/>
          </a:prstGeom>
          <a:noFill/>
          <a:ln w="9525">
            <a:noFill/>
            <a:miter lim="800000"/>
            <a:headEnd/>
            <a:tailEnd/>
          </a:ln>
        </p:spPr>
      </p:pic>
      <p:sp>
        <p:nvSpPr>
          <p:cNvPr id="6" name="Slide Number Placeholder 5"/>
          <p:cNvSpPr>
            <a:spLocks noGrp="1"/>
          </p:cNvSpPr>
          <p:nvPr>
            <p:ph type="sldNum" sz="quarter" idx="4"/>
          </p:nvPr>
        </p:nvSpPr>
        <p:spPr>
          <a:xfrm>
            <a:off x="2" y="6604000"/>
            <a:ext cx="1778000"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defTabSz="913980"/>
            <a:fld id="{60650667-350B-48B4-8BF9-BC4C79242404}" type="slidenum">
              <a:rPr lang="en-GB" smtClean="0">
                <a:solidFill>
                  <a:srgbClr val="323232"/>
                </a:solidFill>
              </a:rPr>
              <a:pPr defTabSz="913980"/>
              <a:t>‹#›</a:t>
            </a:fld>
            <a:endParaRPr lang="en-GB">
              <a:solidFill>
                <a:srgbClr val="323232"/>
              </a:solidFill>
            </a:endParaRPr>
          </a:p>
        </p:txBody>
      </p:sp>
    </p:spTree>
    <p:extLst>
      <p:ext uri="{BB962C8B-B14F-4D97-AF65-F5344CB8AC3E}">
        <p14:creationId xmlns:p14="http://schemas.microsoft.com/office/powerpoint/2010/main" val="32753772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1" r:id="rId6"/>
    <p:sldLayoutId id="2147483702" r:id="rId7"/>
    <p:sldLayoutId id="2147483703" r:id="rId8"/>
    <p:sldLayoutId id="2147483704" r:id="rId9"/>
  </p:sldLayoutIdLst>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14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6147" name="Text Placeholder 2"/>
          <p:cNvSpPr>
            <a:spLocks noGrp="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7"/>
            <a:ext cx="2133600" cy="365125"/>
          </a:xfrm>
          <a:prstGeom prst="rect">
            <a:avLst/>
          </a:prstGeom>
        </p:spPr>
        <p:txBody>
          <a:bodyPr vert="horz" lIns="91440" tIns="45720" rIns="91440" bIns="45720" rtlCol="0" anchor="ctr"/>
          <a:lstStyle>
            <a:lvl1pPr algn="l" eaLnBrk="0" hangingPunct="0">
              <a:spcBef>
                <a:spcPct val="75000"/>
              </a:spcBef>
              <a:defRPr sz="1108" b="1">
                <a:solidFill>
                  <a:prstClr val="black">
                    <a:tint val="75000"/>
                  </a:prstClr>
                </a:solidFill>
                <a:latin typeface="Arial" charset="0"/>
                <a:cs typeface="+mn-cs"/>
              </a:defRPr>
            </a:lvl1pPr>
          </a:lstStyle>
          <a:p>
            <a:pPr defTabSz="844083" fontAlgn="base">
              <a:spcAft>
                <a:spcPct val="0"/>
              </a:spcAft>
              <a:defRPr/>
            </a:pPr>
            <a:endParaRPr lang="en-US"/>
          </a:p>
        </p:txBody>
      </p:sp>
      <p:sp>
        <p:nvSpPr>
          <p:cNvPr id="5" name="Footer Placeholder 4"/>
          <p:cNvSpPr>
            <a:spLocks noGrp="1"/>
          </p:cNvSpPr>
          <p:nvPr>
            <p:ph type="ftr" sz="quarter" idx="3"/>
          </p:nvPr>
        </p:nvSpPr>
        <p:spPr>
          <a:xfrm>
            <a:off x="3124200" y="6356357"/>
            <a:ext cx="2895600" cy="365125"/>
          </a:xfrm>
          <a:prstGeom prst="rect">
            <a:avLst/>
          </a:prstGeom>
        </p:spPr>
        <p:txBody>
          <a:bodyPr vert="horz" lIns="91440" tIns="45720" rIns="91440" bIns="45720" rtlCol="0" anchor="ctr"/>
          <a:lstStyle>
            <a:lvl1pPr algn="ctr" eaLnBrk="0" hangingPunct="0">
              <a:spcBef>
                <a:spcPct val="75000"/>
              </a:spcBef>
              <a:defRPr sz="1108" b="1">
                <a:solidFill>
                  <a:prstClr val="black">
                    <a:tint val="75000"/>
                  </a:prstClr>
                </a:solidFill>
                <a:latin typeface="Arial" charset="0"/>
                <a:cs typeface="+mn-cs"/>
              </a:defRPr>
            </a:lvl1pPr>
          </a:lstStyle>
          <a:p>
            <a:pPr defTabSz="844083" fontAlgn="base">
              <a:spcAft>
                <a:spcPct val="0"/>
              </a:spcAft>
              <a:defRPr/>
            </a:pPr>
            <a:endParaRPr lang="en-US"/>
          </a:p>
        </p:txBody>
      </p:sp>
      <p:sp>
        <p:nvSpPr>
          <p:cNvPr id="6" name="Slide Number Placeholder 5"/>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eaLnBrk="0" hangingPunct="0">
              <a:spcBef>
                <a:spcPct val="75000"/>
              </a:spcBef>
              <a:defRPr sz="1108" b="1">
                <a:solidFill>
                  <a:prstClr val="black">
                    <a:tint val="75000"/>
                  </a:prstClr>
                </a:solidFill>
                <a:latin typeface="Arial" charset="0"/>
                <a:cs typeface="+mn-cs"/>
              </a:defRPr>
            </a:lvl1pPr>
          </a:lstStyle>
          <a:p>
            <a:pPr defTabSz="844083" fontAlgn="base">
              <a:spcAft>
                <a:spcPct val="0"/>
              </a:spcAft>
              <a:defRPr/>
            </a:pPr>
            <a:fld id="{6119DC8B-EBC3-4EA8-AA9A-2B6C543715CC}" type="slidenum">
              <a:rPr lang="en-US" smtClean="0"/>
              <a:pPr defTabSz="844083" fontAlgn="base">
                <a:spcAft>
                  <a:spcPct val="0"/>
                </a:spcAft>
                <a:defRPr/>
              </a:pPr>
              <a:t>‹#›</a:t>
            </a:fld>
            <a:endParaRPr lang="en-US"/>
          </a:p>
        </p:txBody>
      </p:sp>
    </p:spTree>
    <p:extLst>
      <p:ext uri="{BB962C8B-B14F-4D97-AF65-F5344CB8AC3E}">
        <p14:creationId xmlns:p14="http://schemas.microsoft.com/office/powerpoint/2010/main" val="399723518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ctr" rtl="0" eaLnBrk="0" fontAlgn="base" hangingPunct="0">
        <a:spcBef>
          <a:spcPct val="0"/>
        </a:spcBef>
        <a:spcAft>
          <a:spcPct val="0"/>
        </a:spcAft>
        <a:defRPr sz="4062" kern="1200">
          <a:solidFill>
            <a:schemeClr val="tx1"/>
          </a:solidFill>
          <a:latin typeface="+mj-lt"/>
          <a:ea typeface="+mj-ea"/>
          <a:cs typeface="+mj-cs"/>
        </a:defRPr>
      </a:lvl1pPr>
      <a:lvl2pPr algn="ctr" rtl="0" eaLnBrk="0" fontAlgn="base" hangingPunct="0">
        <a:spcBef>
          <a:spcPct val="0"/>
        </a:spcBef>
        <a:spcAft>
          <a:spcPct val="0"/>
        </a:spcAft>
        <a:defRPr sz="4062">
          <a:solidFill>
            <a:schemeClr val="tx1"/>
          </a:solidFill>
          <a:latin typeface="Calibri" pitchFamily="34" charset="0"/>
        </a:defRPr>
      </a:lvl2pPr>
      <a:lvl3pPr algn="ctr" rtl="0" eaLnBrk="0" fontAlgn="base" hangingPunct="0">
        <a:spcBef>
          <a:spcPct val="0"/>
        </a:spcBef>
        <a:spcAft>
          <a:spcPct val="0"/>
        </a:spcAft>
        <a:defRPr sz="4062">
          <a:solidFill>
            <a:schemeClr val="tx1"/>
          </a:solidFill>
          <a:latin typeface="Calibri" pitchFamily="34" charset="0"/>
        </a:defRPr>
      </a:lvl3pPr>
      <a:lvl4pPr algn="ctr" rtl="0" eaLnBrk="0" fontAlgn="base" hangingPunct="0">
        <a:spcBef>
          <a:spcPct val="0"/>
        </a:spcBef>
        <a:spcAft>
          <a:spcPct val="0"/>
        </a:spcAft>
        <a:defRPr sz="4062">
          <a:solidFill>
            <a:schemeClr val="tx1"/>
          </a:solidFill>
          <a:latin typeface="Calibri" pitchFamily="34" charset="0"/>
        </a:defRPr>
      </a:lvl4pPr>
      <a:lvl5pPr algn="ctr" rtl="0" eaLnBrk="0" fontAlgn="base" hangingPunct="0">
        <a:spcBef>
          <a:spcPct val="0"/>
        </a:spcBef>
        <a:spcAft>
          <a:spcPct val="0"/>
        </a:spcAft>
        <a:defRPr sz="4062">
          <a:solidFill>
            <a:schemeClr val="tx1"/>
          </a:solidFill>
          <a:latin typeface="Calibri" pitchFamily="34" charset="0"/>
        </a:defRPr>
      </a:lvl5pPr>
      <a:lvl6pPr marL="422041" algn="ctr" rtl="0" fontAlgn="base">
        <a:spcBef>
          <a:spcPct val="0"/>
        </a:spcBef>
        <a:spcAft>
          <a:spcPct val="0"/>
        </a:spcAft>
        <a:defRPr sz="4062">
          <a:solidFill>
            <a:schemeClr val="tx1"/>
          </a:solidFill>
          <a:latin typeface="Calibri" pitchFamily="34" charset="0"/>
        </a:defRPr>
      </a:lvl6pPr>
      <a:lvl7pPr marL="844083" algn="ctr" rtl="0" fontAlgn="base">
        <a:spcBef>
          <a:spcPct val="0"/>
        </a:spcBef>
        <a:spcAft>
          <a:spcPct val="0"/>
        </a:spcAft>
        <a:defRPr sz="4062">
          <a:solidFill>
            <a:schemeClr val="tx1"/>
          </a:solidFill>
          <a:latin typeface="Calibri" pitchFamily="34" charset="0"/>
        </a:defRPr>
      </a:lvl7pPr>
      <a:lvl8pPr marL="1266124" algn="ctr" rtl="0" fontAlgn="base">
        <a:spcBef>
          <a:spcPct val="0"/>
        </a:spcBef>
        <a:spcAft>
          <a:spcPct val="0"/>
        </a:spcAft>
        <a:defRPr sz="4062">
          <a:solidFill>
            <a:schemeClr val="tx1"/>
          </a:solidFill>
          <a:latin typeface="Calibri" pitchFamily="34" charset="0"/>
        </a:defRPr>
      </a:lvl8pPr>
      <a:lvl9pPr marL="1688165" algn="ctr" rtl="0" fontAlgn="base">
        <a:spcBef>
          <a:spcPct val="0"/>
        </a:spcBef>
        <a:spcAft>
          <a:spcPct val="0"/>
        </a:spcAft>
        <a:defRPr sz="4062">
          <a:solidFill>
            <a:schemeClr val="tx1"/>
          </a:solidFill>
          <a:latin typeface="Calibri" pitchFamily="34" charset="0"/>
        </a:defRPr>
      </a:lvl9pPr>
    </p:titleStyle>
    <p:bodyStyle>
      <a:lvl1pPr marL="316531" indent="-316531" algn="l" rtl="0" eaLnBrk="0" fontAlgn="base" hangingPunct="0">
        <a:spcBef>
          <a:spcPct val="20000"/>
        </a:spcBef>
        <a:spcAft>
          <a:spcPct val="0"/>
        </a:spcAft>
        <a:buFont typeface="Arial" charset="0"/>
        <a:buChar char="•"/>
        <a:defRPr sz="2954" kern="1200">
          <a:solidFill>
            <a:schemeClr val="tx1"/>
          </a:solidFill>
          <a:latin typeface="+mn-lt"/>
          <a:ea typeface="+mn-ea"/>
          <a:cs typeface="+mn-cs"/>
        </a:defRPr>
      </a:lvl1pPr>
      <a:lvl2pPr marL="685817" indent="-263776" algn="l" rtl="0" eaLnBrk="0" fontAlgn="base" hangingPunct="0">
        <a:spcBef>
          <a:spcPct val="20000"/>
        </a:spcBef>
        <a:spcAft>
          <a:spcPct val="0"/>
        </a:spcAft>
        <a:buFont typeface="Arial" charset="0"/>
        <a:buChar char="–"/>
        <a:defRPr sz="2585" kern="1200">
          <a:solidFill>
            <a:schemeClr val="tx1"/>
          </a:solidFill>
          <a:latin typeface="+mn-lt"/>
          <a:ea typeface="+mn-ea"/>
          <a:cs typeface="+mn-cs"/>
        </a:defRPr>
      </a:lvl2pPr>
      <a:lvl3pPr marL="1055103" indent="-211021" algn="l" rtl="0" eaLnBrk="0" fontAlgn="base" hangingPunct="0">
        <a:spcBef>
          <a:spcPct val="20000"/>
        </a:spcBef>
        <a:spcAft>
          <a:spcPct val="0"/>
        </a:spcAft>
        <a:buFont typeface="Arial" charset="0"/>
        <a:buChar char="•"/>
        <a:defRPr sz="2215" kern="1200">
          <a:solidFill>
            <a:schemeClr val="tx1"/>
          </a:solidFill>
          <a:latin typeface="+mn-lt"/>
          <a:ea typeface="+mn-ea"/>
          <a:cs typeface="+mn-cs"/>
        </a:defRPr>
      </a:lvl3pPr>
      <a:lvl4pPr marL="1477145" indent="-211021" algn="l" rtl="0" eaLnBrk="0" fontAlgn="base" hangingPunct="0">
        <a:spcBef>
          <a:spcPct val="20000"/>
        </a:spcBef>
        <a:spcAft>
          <a:spcPct val="0"/>
        </a:spcAft>
        <a:buFont typeface="Arial" charset="0"/>
        <a:buChar char="–"/>
        <a:defRPr sz="1846" kern="1200">
          <a:solidFill>
            <a:schemeClr val="tx1"/>
          </a:solidFill>
          <a:latin typeface="+mn-lt"/>
          <a:ea typeface="+mn-ea"/>
          <a:cs typeface="+mn-cs"/>
        </a:defRPr>
      </a:lvl4pPr>
      <a:lvl5pPr marL="1899186" indent="-211021" algn="l" rtl="0" eaLnBrk="0" fontAlgn="base" hangingPunct="0">
        <a:spcBef>
          <a:spcPct val="20000"/>
        </a:spcBef>
        <a:spcAft>
          <a:spcPct val="0"/>
        </a:spcAft>
        <a:buFont typeface="Arial" charset="0"/>
        <a:buChar char="»"/>
        <a:defRPr sz="1846"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3B0D5C-D0F9-4926-990E-B1A5BA6952EB}" type="datetimeFigureOut">
              <a:rPr lang="en-GB" smtClean="0">
                <a:solidFill>
                  <a:prstClr val="black">
                    <a:tint val="75000"/>
                  </a:prstClr>
                </a:solidFill>
              </a:rPr>
              <a:pPr/>
              <a:t>31/10/2015</a:t>
            </a:fld>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66987D-A0D7-4414-A582-AD56562A094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4568623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b="0">
                <a:solidFill>
                  <a:srgbClr val="898989"/>
                </a:solidFill>
                <a:latin typeface="Calibri" pitchFamily="34" charset="0"/>
              </a:defRPr>
            </a:lvl1pPr>
          </a:lstStyle>
          <a:p>
            <a:pPr fontAlgn="base">
              <a:spcBef>
                <a:spcPct val="0"/>
              </a:spcBef>
              <a:spcAft>
                <a:spcPct val="0"/>
              </a:spcAft>
            </a:pPr>
            <a:fld id="{50721BE0-76D5-4113-86E9-B192FF9A40F2}" type="datetimeFigureOut">
              <a:rPr lang="en-US" smtClean="0">
                <a:cs typeface="Arial" charset="0"/>
              </a:rPr>
              <a:pPr fontAlgn="base">
                <a:spcBef>
                  <a:spcPct val="0"/>
                </a:spcBef>
                <a:spcAft>
                  <a:spcPct val="0"/>
                </a:spcAft>
              </a:pPr>
              <a:t>10/31/2015</a:t>
            </a:fld>
            <a:endParaRPr lang="en-US" smtClean="0">
              <a:cs typeface="Arial"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b="0">
                <a:solidFill>
                  <a:srgbClr val="898989"/>
                </a:solidFill>
                <a:latin typeface="Calibri" pitchFamily="34" charset="0"/>
              </a:defRPr>
            </a:lvl1pPr>
          </a:lstStyle>
          <a:p>
            <a:pPr fontAlgn="base">
              <a:spcBef>
                <a:spcPct val="0"/>
              </a:spcBef>
              <a:spcAft>
                <a:spcPct val="0"/>
              </a:spcAft>
            </a:pPr>
            <a:endParaRPr lang="en-US" smtClean="0">
              <a:cs typeface="Arial"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b="0">
                <a:solidFill>
                  <a:srgbClr val="898989"/>
                </a:solidFill>
                <a:latin typeface="Calibri" pitchFamily="34" charset="0"/>
              </a:defRPr>
            </a:lvl1pPr>
          </a:lstStyle>
          <a:p>
            <a:pPr fontAlgn="base">
              <a:spcBef>
                <a:spcPct val="0"/>
              </a:spcBef>
              <a:spcAft>
                <a:spcPct val="0"/>
              </a:spcAft>
            </a:pPr>
            <a:fld id="{C0F57B3B-DB8A-4671-B888-9EAC9220A4A1}" type="slidenum">
              <a:rPr lang="en-US" smtClean="0">
                <a:cs typeface="Arial" charset="0"/>
              </a:rPr>
              <a:pPr fontAlgn="base">
                <a:spcBef>
                  <a:spcPct val="0"/>
                </a:spcBef>
                <a:spcAft>
                  <a:spcPct val="0"/>
                </a:spcAft>
              </a:pPr>
              <a:t>‹#›</a:t>
            </a:fld>
            <a:endParaRPr lang="en-US" smtClean="0">
              <a:cs typeface="Arial" charset="0"/>
            </a:endParaRPr>
          </a:p>
        </p:txBody>
      </p:sp>
    </p:spTree>
    <p:extLst>
      <p:ext uri="{BB962C8B-B14F-4D97-AF65-F5344CB8AC3E}">
        <p14:creationId xmlns:p14="http://schemas.microsoft.com/office/powerpoint/2010/main" val="49523416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25120302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14" imgW="216" imgH="216" progId="TCLayout.ActiveDocument.1">
                  <p:embed/>
                </p:oleObj>
              </mc:Choice>
              <mc:Fallback>
                <p:oleObj name="think-cell Slide" r:id="rId14" imgW="216" imgH="216" progId="TCLayout.ActiveDocument.1">
                  <p:embed/>
                  <p:pic>
                    <p:nvPicPr>
                      <p:cNvPr id="0" name=""/>
                      <p:cNvPicPr/>
                      <p:nvPr/>
                    </p:nvPicPr>
                    <p:blipFill>
                      <a:blip r:embed="rId15"/>
                      <a:stretch>
                        <a:fillRect/>
                      </a:stretch>
                    </p:blipFill>
                    <p:spPr>
                      <a:xfrm>
                        <a:off x="1589" y="1590"/>
                        <a:ext cx="1587" cy="1587"/>
                      </a:xfrm>
                      <a:prstGeom prst="rect">
                        <a:avLst/>
                      </a:prstGeom>
                    </p:spPr>
                  </p:pic>
                </p:oleObj>
              </mc:Fallback>
            </mc:AlternateContent>
          </a:graphicData>
        </a:graphic>
      </p:graphicFrame>
      <p:pic>
        <p:nvPicPr>
          <p:cNvPr id="1026" name="Picture 6" descr="GPEI inside pages.jpg"/>
          <p:cNvPicPr>
            <a:picLocks noChangeAspect="1"/>
          </p:cNvPicPr>
          <p:nvPr userDrawn="1"/>
        </p:nvPicPr>
        <p:blipFill rotWithShape="1">
          <a:blip r:embed="rId16" cstate="print"/>
          <a:srcRect t="12207" r="10000"/>
          <a:stretch/>
        </p:blipFill>
        <p:spPr bwMode="auto">
          <a:xfrm>
            <a:off x="0" y="0"/>
            <a:ext cx="9165514" cy="6857999"/>
          </a:xfrm>
          <a:prstGeom prst="rect">
            <a:avLst/>
          </a:prstGeom>
          <a:noFill/>
          <a:ln w="9525">
            <a:noFill/>
            <a:miter lim="800000"/>
            <a:headEnd/>
            <a:tailEnd/>
          </a:ln>
        </p:spPr>
      </p:pic>
      <p:sp>
        <p:nvSpPr>
          <p:cNvPr id="6" name="Slide Number Placeholder 5"/>
          <p:cNvSpPr>
            <a:spLocks noGrp="1"/>
          </p:cNvSpPr>
          <p:nvPr>
            <p:ph type="sldNum" sz="quarter" idx="4"/>
          </p:nvPr>
        </p:nvSpPr>
        <p:spPr>
          <a:xfrm>
            <a:off x="2" y="6604000"/>
            <a:ext cx="1778000" cy="254000"/>
          </a:xfrm>
          <a:prstGeom prst="rect">
            <a:avLst/>
          </a:prstGeom>
        </p:spPr>
        <p:txBody>
          <a:bodyPr vert="horz" lIns="91440" tIns="45720" rIns="91440" bIns="45720" rtlCol="0" anchor="ctr"/>
          <a:lstStyle>
            <a:lvl1pPr algn="r" fontAlgn="auto">
              <a:spcBef>
                <a:spcPts val="0"/>
              </a:spcBef>
              <a:spcAft>
                <a:spcPts val="0"/>
              </a:spcAft>
              <a:defRPr sz="1200">
                <a:solidFill>
                  <a:schemeClr val="bg1"/>
                </a:solidFill>
                <a:latin typeface="+mn-lt"/>
                <a:cs typeface="+mn-cs"/>
              </a:defRPr>
            </a:lvl1pPr>
          </a:lstStyle>
          <a:p>
            <a:pPr defTabSz="913980"/>
            <a:fld id="{60650667-350B-48B4-8BF9-BC4C79242404}" type="slidenum">
              <a:rPr lang="en-GB" smtClean="0">
                <a:solidFill>
                  <a:srgbClr val="323232"/>
                </a:solidFill>
              </a:rPr>
              <a:pPr defTabSz="913980"/>
              <a:t>‹#›</a:t>
            </a:fld>
            <a:endParaRPr lang="en-GB">
              <a:solidFill>
                <a:srgbClr val="323232"/>
              </a:solidFill>
            </a:endParaRPr>
          </a:p>
        </p:txBody>
      </p:sp>
    </p:spTree>
    <p:extLst>
      <p:ext uri="{BB962C8B-B14F-4D97-AF65-F5344CB8AC3E}">
        <p14:creationId xmlns:p14="http://schemas.microsoft.com/office/powerpoint/2010/main" val="370351061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Lst>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Calibri" pitchFamily="34" charset="0"/>
        </a:defRPr>
      </a:lvl2pPr>
      <a:lvl3pPr algn="ctr" defTabSz="457200" rtl="0" eaLnBrk="1" fontAlgn="base" hangingPunct="1">
        <a:spcBef>
          <a:spcPct val="0"/>
        </a:spcBef>
        <a:spcAft>
          <a:spcPct val="0"/>
        </a:spcAft>
        <a:defRPr sz="4400">
          <a:solidFill>
            <a:schemeClr val="tx1"/>
          </a:solidFill>
          <a:latin typeface="Calibri" pitchFamily="34" charset="0"/>
        </a:defRPr>
      </a:lvl3pPr>
      <a:lvl4pPr algn="ctr" defTabSz="457200" rtl="0" eaLnBrk="1" fontAlgn="base" hangingPunct="1">
        <a:spcBef>
          <a:spcPct val="0"/>
        </a:spcBef>
        <a:spcAft>
          <a:spcPct val="0"/>
        </a:spcAft>
        <a:defRPr sz="4400">
          <a:solidFill>
            <a:schemeClr val="tx1"/>
          </a:solidFill>
          <a:latin typeface="Calibri" pitchFamily="34" charset="0"/>
        </a:defRPr>
      </a:lvl4pPr>
      <a:lvl5pPr algn="ctr" defTabSz="457200" rtl="0" eaLnBrk="1" fontAlgn="base" hangingPunct="1">
        <a:spcBef>
          <a:spcPct val="0"/>
        </a:spcBef>
        <a:spcAft>
          <a:spcPct val="0"/>
        </a:spcAft>
        <a:defRPr sz="4400">
          <a:solidFill>
            <a:schemeClr val="tx1"/>
          </a:solidFill>
          <a:latin typeface="Calibri" pitchFamily="34"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Microsoft_Excel_97-2003_Worksheet1.xls"/><Relationship Id="rId2" Type="http://schemas.openxmlformats.org/officeDocument/2006/relationships/slideLayout" Target="../slideLayouts/slideLayout63.xml"/><Relationship Id="rId1" Type="http://schemas.openxmlformats.org/officeDocument/2006/relationships/vmlDrawing" Target="../drawings/vmlDrawing5.vml"/><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4.jpe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7.xml"/><Relationship Id="rId6" Type="http://schemas.microsoft.com/office/2007/relationships/hdphoto" Target="../media/hdphoto1.wdp"/><Relationship Id="rId5" Type="http://schemas.openxmlformats.org/officeDocument/2006/relationships/image" Target="../media/image6.png"/><Relationship Id="rId10" Type="http://schemas.openxmlformats.org/officeDocument/2006/relationships/image" Target="../media/image10.jpeg"/><Relationship Id="rId4" Type="http://schemas.openxmlformats.org/officeDocument/2006/relationships/image" Target="../media/image5.jpeg"/><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image" Target="../media/image34.jpg"/></Relationships>
</file>

<file path=ppt/slides/_rels/slide2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8.xml"/><Relationship Id="rId5" Type="http://schemas.openxmlformats.org/officeDocument/2006/relationships/image" Target="../media/image38.jpg"/><Relationship Id="rId4" Type="http://schemas.openxmlformats.org/officeDocument/2006/relationships/image" Target="../media/image37.jpeg"/></Relationships>
</file>

<file path=ppt/slides/_rels/slide26.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jpg"/><Relationship Id="rId1" Type="http://schemas.openxmlformats.org/officeDocument/2006/relationships/slideLayout" Target="../slideLayouts/slideLayout21.xml"/><Relationship Id="rId5" Type="http://schemas.openxmlformats.org/officeDocument/2006/relationships/image" Target="../media/image42.jpg"/><Relationship Id="rId4" Type="http://schemas.openxmlformats.org/officeDocument/2006/relationships/image" Target="../media/image41.jpeg"/></Relationships>
</file>

<file path=ppt/slides/_rels/slide27.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21.xml"/><Relationship Id="rId4" Type="http://schemas.openxmlformats.org/officeDocument/2006/relationships/image" Target="../media/image45.jp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6.jpeg"/><Relationship Id="rId2" Type="http://schemas.openxmlformats.org/officeDocument/2006/relationships/diagramData" Target="../diagrams/data1.xml"/><Relationship Id="rId1" Type="http://schemas.openxmlformats.org/officeDocument/2006/relationships/slideLayout" Target="../slideLayouts/slideLayout8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3.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slideLayout" Target="../slideLayouts/slideLayout16.xml"/><Relationship Id="rId7" Type="http://schemas.openxmlformats.org/officeDocument/2006/relationships/diagramLayout" Target="../diagrams/layout7.xml"/><Relationship Id="rId2" Type="http://schemas.openxmlformats.org/officeDocument/2006/relationships/tags" Target="../tags/tag5.xml"/><Relationship Id="rId1" Type="http://schemas.openxmlformats.org/officeDocument/2006/relationships/vmlDrawing" Target="../drawings/vmlDrawing6.vml"/><Relationship Id="rId6" Type="http://schemas.openxmlformats.org/officeDocument/2006/relationships/diagramData" Target="../diagrams/data7.xml"/><Relationship Id="rId5" Type="http://schemas.openxmlformats.org/officeDocument/2006/relationships/image" Target="../media/image49.emf"/><Relationship Id="rId10" Type="http://schemas.microsoft.com/office/2007/relationships/diagramDrawing" Target="../diagrams/drawing7.xml"/><Relationship Id="rId4" Type="http://schemas.openxmlformats.org/officeDocument/2006/relationships/oleObject" Target="../embeddings/oleObject5.bin"/><Relationship Id="rId9" Type="http://schemas.openxmlformats.org/officeDocument/2006/relationships/diagramColors" Target="../diagrams/colors7.xml"/></Relationships>
</file>

<file path=ppt/slides/_rels/slide42.xml.rels><?xml version="1.0" encoding="UTF-8" standalone="yes"?>
<Relationships xmlns="http://schemas.openxmlformats.org/package/2006/relationships"><Relationship Id="rId8" Type="http://schemas.openxmlformats.org/officeDocument/2006/relationships/diagramQuickStyle" Target="../diagrams/quickStyle8.xml"/><Relationship Id="rId3" Type="http://schemas.openxmlformats.org/officeDocument/2006/relationships/image" Target="../media/image3.jpeg"/><Relationship Id="rId7" Type="http://schemas.openxmlformats.org/officeDocument/2006/relationships/diagramLayout" Target="../diagrams/layout8.xml"/><Relationship Id="rId2" Type="http://schemas.openxmlformats.org/officeDocument/2006/relationships/slideLayout" Target="../slideLayouts/slideLayout11.xml"/><Relationship Id="rId1" Type="http://schemas.openxmlformats.org/officeDocument/2006/relationships/vmlDrawing" Target="../drawings/vmlDrawing7.vml"/><Relationship Id="rId6" Type="http://schemas.openxmlformats.org/officeDocument/2006/relationships/diagramData" Target="../diagrams/data8.xml"/><Relationship Id="rId5" Type="http://schemas.openxmlformats.org/officeDocument/2006/relationships/image" Target="../media/image50.emf"/><Relationship Id="rId10" Type="http://schemas.microsoft.com/office/2007/relationships/diagramDrawing" Target="../diagrams/drawing8.xml"/><Relationship Id="rId4" Type="http://schemas.openxmlformats.org/officeDocument/2006/relationships/oleObject" Target="../embeddings/oleObject6.bin"/><Relationship Id="rId9" Type="http://schemas.openxmlformats.org/officeDocument/2006/relationships/diagramColors" Target="../diagrams/colors8.xml"/></Relationships>
</file>

<file path=ppt/slides/_rels/slide4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slideLayout" Target="../slideLayouts/slideLayout16.xml"/><Relationship Id="rId1" Type="http://schemas.openxmlformats.org/officeDocument/2006/relationships/tags" Target="../tags/tag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 Id="rId9" Type="http://schemas.openxmlformats.org/officeDocument/2006/relationships/image" Target="../media/image53.gi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oleObject" Target="../embeddings/oleObject7.bin"/><Relationship Id="rId7" Type="http://schemas.openxmlformats.org/officeDocument/2006/relationships/diagramQuickStyle" Target="../diagrams/quickStyle11.xml"/><Relationship Id="rId2" Type="http://schemas.openxmlformats.org/officeDocument/2006/relationships/slideLayout" Target="../slideLayouts/slideLayout14.xml"/><Relationship Id="rId1" Type="http://schemas.openxmlformats.org/officeDocument/2006/relationships/vmlDrawing" Target="../drawings/vmlDrawing8.v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image" Target="../media/image54.png"/><Relationship Id="rId9" Type="http://schemas.microsoft.com/office/2007/relationships/diagramDrawing" Target="../diagrams/drawing11.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6.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48.xml.rels><?xml version="1.0" encoding="UTF-8" standalone="yes"?>
<Relationships xmlns="http://schemas.openxmlformats.org/package/2006/relationships"><Relationship Id="rId8" Type="http://schemas.openxmlformats.org/officeDocument/2006/relationships/diagramData" Target="../diagrams/data14.xml"/><Relationship Id="rId13" Type="http://schemas.openxmlformats.org/officeDocument/2006/relationships/hyperlink" Target="http://www.who.int/wer/2014/wer8901/en/index.html" TargetMode="External"/><Relationship Id="rId3" Type="http://schemas.openxmlformats.org/officeDocument/2006/relationships/diagramData" Target="../diagrams/data13.xml"/><Relationship Id="rId7" Type="http://schemas.microsoft.com/office/2007/relationships/diagramDrawing" Target="../diagrams/drawing13.xml"/><Relationship Id="rId12" Type="http://schemas.microsoft.com/office/2007/relationships/diagramDrawing" Target="../diagrams/drawing14.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13.xml"/><Relationship Id="rId11" Type="http://schemas.openxmlformats.org/officeDocument/2006/relationships/diagramColors" Target="../diagrams/colors14.xml"/><Relationship Id="rId5" Type="http://schemas.openxmlformats.org/officeDocument/2006/relationships/diagramQuickStyle" Target="../diagrams/quickStyle13.xml"/><Relationship Id="rId10" Type="http://schemas.openxmlformats.org/officeDocument/2006/relationships/diagramQuickStyle" Target="../diagrams/quickStyle14.xml"/><Relationship Id="rId4" Type="http://schemas.openxmlformats.org/officeDocument/2006/relationships/diagramLayout" Target="../diagrams/layout13.xml"/><Relationship Id="rId9" Type="http://schemas.openxmlformats.org/officeDocument/2006/relationships/diagramLayout" Target="../diagrams/layout1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7.xml"/></Relationships>
</file>

<file path=ppt/slides/_rels/slide5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71600" y="1143000"/>
            <a:ext cx="6477000" cy="3006080"/>
          </a:xfrm>
          <a:solidFill>
            <a:srgbClr val="7030A0"/>
          </a:solidFill>
        </p:spPr>
        <p:txBody>
          <a:bodyPr>
            <a:noAutofit/>
          </a:bodyPr>
          <a:lstStyle/>
          <a:p>
            <a:pPr hangingPunct="0"/>
            <a:r>
              <a:rPr lang="en-GB" dirty="0" smtClean="0">
                <a:solidFill>
                  <a:schemeClr val="bg1">
                    <a:lumMod val="10000"/>
                    <a:lumOff val="90000"/>
                  </a:schemeClr>
                </a:solidFill>
              </a:rPr>
              <a:t>Polio Eradication </a:t>
            </a:r>
            <a:r>
              <a:rPr lang="en-GB" dirty="0" smtClean="0">
                <a:solidFill>
                  <a:schemeClr val="bg1">
                    <a:lumMod val="10000"/>
                    <a:lumOff val="90000"/>
                  </a:schemeClr>
                </a:solidFill>
              </a:rPr>
              <a:t>Update</a:t>
            </a:r>
            <a:br>
              <a:rPr lang="en-GB" dirty="0" smtClean="0">
                <a:solidFill>
                  <a:schemeClr val="bg1">
                    <a:lumMod val="10000"/>
                    <a:lumOff val="90000"/>
                  </a:schemeClr>
                </a:solidFill>
              </a:rPr>
            </a:br>
            <a:r>
              <a:rPr lang="en-GB" dirty="0" smtClean="0">
                <a:solidFill>
                  <a:schemeClr val="bg1">
                    <a:lumMod val="10000"/>
                    <a:lumOff val="90000"/>
                  </a:schemeClr>
                </a:solidFill>
              </a:rPr>
              <a:t>and </a:t>
            </a:r>
            <a:r>
              <a:rPr lang="en-GB" dirty="0" smtClean="0">
                <a:solidFill>
                  <a:schemeClr val="bg1">
                    <a:lumMod val="10000"/>
                    <a:lumOff val="90000"/>
                  </a:schemeClr>
                </a:solidFill>
              </a:rPr>
              <a:t/>
            </a:r>
            <a:br>
              <a:rPr lang="en-GB" dirty="0" smtClean="0">
                <a:solidFill>
                  <a:schemeClr val="bg1">
                    <a:lumMod val="10000"/>
                    <a:lumOff val="90000"/>
                  </a:schemeClr>
                </a:solidFill>
              </a:rPr>
            </a:br>
            <a:r>
              <a:rPr lang="en-GB" dirty="0" smtClean="0">
                <a:solidFill>
                  <a:schemeClr val="bg1">
                    <a:lumMod val="10000"/>
                    <a:lumOff val="90000"/>
                  </a:schemeClr>
                </a:solidFill>
              </a:rPr>
              <a:t>The </a:t>
            </a:r>
            <a:r>
              <a:rPr lang="en-GB" dirty="0" smtClean="0">
                <a:solidFill>
                  <a:schemeClr val="bg1">
                    <a:lumMod val="10000"/>
                    <a:lumOff val="90000"/>
                  </a:schemeClr>
                </a:solidFill>
              </a:rPr>
              <a:t>Polio End Game</a:t>
            </a:r>
            <a:br>
              <a:rPr lang="en-GB" dirty="0" smtClean="0">
                <a:solidFill>
                  <a:schemeClr val="bg1">
                    <a:lumMod val="10000"/>
                    <a:lumOff val="90000"/>
                  </a:schemeClr>
                </a:solidFill>
              </a:rPr>
            </a:br>
            <a:r>
              <a:rPr lang="en-GB" dirty="0" smtClean="0">
                <a:solidFill>
                  <a:schemeClr val="bg1">
                    <a:lumMod val="10000"/>
                    <a:lumOff val="90000"/>
                  </a:schemeClr>
                </a:solidFill>
              </a:rPr>
              <a:t>KACHCON - 2015</a:t>
            </a:r>
            <a:r>
              <a:rPr lang="en-GB" sz="4000" i="1" dirty="0">
                <a:solidFill>
                  <a:schemeClr val="bg1">
                    <a:lumMod val="10000"/>
                    <a:lumOff val="90000"/>
                  </a:schemeClr>
                </a:solidFill>
              </a:rPr>
              <a:t/>
            </a:r>
            <a:br>
              <a:rPr lang="en-GB" sz="4000" i="1" dirty="0">
                <a:solidFill>
                  <a:schemeClr val="bg1">
                    <a:lumMod val="10000"/>
                    <a:lumOff val="90000"/>
                  </a:schemeClr>
                </a:solidFill>
              </a:rPr>
            </a:br>
            <a:r>
              <a:rPr lang="en-GB" sz="2000" dirty="0">
                <a:solidFill>
                  <a:schemeClr val="bg1">
                    <a:lumMod val="10000"/>
                    <a:lumOff val="90000"/>
                  </a:schemeClr>
                </a:solidFill>
              </a:rPr>
              <a:t/>
            </a:r>
            <a:br>
              <a:rPr lang="en-GB" sz="2000" dirty="0">
                <a:solidFill>
                  <a:schemeClr val="bg1">
                    <a:lumMod val="10000"/>
                    <a:lumOff val="90000"/>
                  </a:schemeClr>
                </a:solidFill>
              </a:rPr>
            </a:br>
            <a:r>
              <a:rPr lang="en-GB" sz="3600" dirty="0">
                <a:solidFill>
                  <a:schemeClr val="bg1">
                    <a:lumMod val="10000"/>
                    <a:lumOff val="90000"/>
                  </a:schemeClr>
                </a:solidFill>
              </a:rPr>
              <a:t/>
            </a:r>
            <a:br>
              <a:rPr lang="en-GB" sz="3600" dirty="0">
                <a:solidFill>
                  <a:schemeClr val="bg1">
                    <a:lumMod val="10000"/>
                    <a:lumOff val="90000"/>
                  </a:schemeClr>
                </a:solidFill>
              </a:rPr>
            </a:br>
            <a:endParaRPr lang="en-GB" sz="4000" i="1" dirty="0">
              <a:solidFill>
                <a:schemeClr val="bg1">
                  <a:lumMod val="10000"/>
                  <a:lumOff val="90000"/>
                </a:schemeClr>
              </a:solidFill>
            </a:endParaRPr>
          </a:p>
        </p:txBody>
      </p:sp>
      <p:sp>
        <p:nvSpPr>
          <p:cNvPr id="2" name="TextBox 1"/>
          <p:cNvSpPr txBox="1"/>
          <p:nvPr/>
        </p:nvSpPr>
        <p:spPr>
          <a:xfrm>
            <a:off x="2771800" y="4267200"/>
            <a:ext cx="3332707" cy="1569660"/>
          </a:xfrm>
          <a:prstGeom prst="rect">
            <a:avLst/>
          </a:prstGeom>
          <a:noFill/>
          <a:ln>
            <a:solidFill>
              <a:schemeClr val="accent1"/>
            </a:solidFill>
          </a:ln>
        </p:spPr>
        <p:txBody>
          <a:bodyPr wrap="none" rtlCol="0">
            <a:spAutoFit/>
          </a:bodyPr>
          <a:lstStyle/>
          <a:p>
            <a:pPr algn="ctr" defTabSz="913980"/>
            <a:r>
              <a:rPr lang="en-IN" sz="3200" b="1" dirty="0">
                <a:solidFill>
                  <a:srgbClr val="1F02CE"/>
                </a:solidFill>
              </a:rPr>
              <a:t>Dr BP </a:t>
            </a:r>
            <a:r>
              <a:rPr lang="en-IN" sz="3200" b="1" dirty="0" smtClean="0">
                <a:solidFill>
                  <a:srgbClr val="1F02CE"/>
                </a:solidFill>
              </a:rPr>
              <a:t>Subramanya</a:t>
            </a:r>
          </a:p>
          <a:p>
            <a:pPr algn="ctr" defTabSz="913980"/>
            <a:r>
              <a:rPr lang="en-IN" sz="3200" b="1" dirty="0" smtClean="0">
                <a:solidFill>
                  <a:srgbClr val="1F02CE"/>
                </a:solidFill>
              </a:rPr>
              <a:t>SMO, Bengaluru</a:t>
            </a:r>
            <a:endParaRPr lang="en-IN" sz="3200" b="1" dirty="0">
              <a:solidFill>
                <a:srgbClr val="1F02CE"/>
              </a:solidFill>
            </a:endParaRPr>
          </a:p>
          <a:p>
            <a:pPr algn="ctr" defTabSz="913980"/>
            <a:r>
              <a:rPr lang="en-IN" sz="3200" b="1" dirty="0">
                <a:solidFill>
                  <a:srgbClr val="1F02CE"/>
                </a:solidFill>
              </a:rPr>
              <a:t>      WHO-NPSP</a:t>
            </a:r>
          </a:p>
        </p:txBody>
      </p:sp>
    </p:spTree>
    <p:extLst>
      <p:ext uri="{BB962C8B-B14F-4D97-AF65-F5344CB8AC3E}">
        <p14:creationId xmlns:p14="http://schemas.microsoft.com/office/powerpoint/2010/main" val="9535465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ctrTitle"/>
          </p:nvPr>
        </p:nvSpPr>
        <p:spPr>
          <a:xfrm>
            <a:off x="0" y="2354263"/>
            <a:ext cx="9143999" cy="1578793"/>
          </a:xfrm>
          <a:solidFill>
            <a:srgbClr val="7030A0"/>
          </a:solidFill>
        </p:spPr>
        <p:txBody>
          <a:bodyPr/>
          <a:lstStyle/>
          <a:p>
            <a:pPr eaLnBrk="1" hangingPunct="1"/>
            <a:r>
              <a:rPr lang="en-US" altLang="en-US" b="1" dirty="0" smtClean="0">
                <a:solidFill>
                  <a:schemeClr val="bg1"/>
                </a:solidFill>
              </a:rPr>
              <a:t>Situation of polio eradication in India</a:t>
            </a:r>
          </a:p>
        </p:txBody>
      </p:sp>
    </p:spTree>
    <p:extLst>
      <p:ext uri="{BB962C8B-B14F-4D97-AF65-F5344CB8AC3E}">
        <p14:creationId xmlns:p14="http://schemas.microsoft.com/office/powerpoint/2010/main" val="27208420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0" y="0"/>
            <a:ext cx="9144000" cy="647700"/>
          </a:xfrm>
          <a:solidFill>
            <a:srgbClr val="7030A0"/>
          </a:solidFill>
        </p:spPr>
        <p:txBody>
          <a:bodyPr>
            <a:noAutofit/>
          </a:bodyPr>
          <a:lstStyle/>
          <a:p>
            <a:r>
              <a:rPr lang="en-US" sz="3200" b="1" dirty="0" smtClean="0">
                <a:solidFill>
                  <a:schemeClr val="bg1"/>
                </a:solidFill>
                <a:latin typeface="Arial" panose="020B0604020202020204" pitchFamily="34" charset="0"/>
                <a:cs typeface="Arial" panose="020B0604020202020204" pitchFamily="34" charset="0"/>
              </a:rPr>
              <a:t>Polio free status maintained for &gt;4 years</a:t>
            </a:r>
            <a:endParaRPr lang="en-US" sz="3200" b="1" dirty="0">
              <a:solidFill>
                <a:schemeClr val="bg1"/>
              </a:solidFill>
              <a:latin typeface="Arial" panose="020B0604020202020204" pitchFamily="34" charset="0"/>
              <a:cs typeface="Arial" panose="020B0604020202020204" pitchFamily="34" charset="0"/>
            </a:endParaRPr>
          </a:p>
        </p:txBody>
      </p:sp>
      <p:graphicFrame>
        <p:nvGraphicFramePr>
          <p:cNvPr id="2" name="Object 14"/>
          <p:cNvGraphicFramePr>
            <a:graphicFrameLocks noChangeAspect="1"/>
          </p:cNvGraphicFramePr>
          <p:nvPr>
            <p:extLst/>
          </p:nvPr>
        </p:nvGraphicFramePr>
        <p:xfrm>
          <a:off x="279400" y="767968"/>
          <a:ext cx="8360389" cy="5353432"/>
        </p:xfrm>
        <a:graphic>
          <a:graphicData uri="http://schemas.openxmlformats.org/drawingml/2006/chart">
            <c:chart xmlns:c="http://schemas.openxmlformats.org/drawingml/2006/chart" xmlns:r="http://schemas.openxmlformats.org/officeDocument/2006/relationships" r:id="rId3"/>
          </a:graphicData>
        </a:graphic>
      </p:graphicFrame>
      <p:sp>
        <p:nvSpPr>
          <p:cNvPr id="5135" name="Rectangle 15"/>
          <p:cNvSpPr>
            <a:spLocks noChangeArrowheads="1"/>
          </p:cNvSpPr>
          <p:nvPr/>
        </p:nvSpPr>
        <p:spPr bwMode="auto">
          <a:xfrm>
            <a:off x="2152182" y="6260068"/>
            <a:ext cx="457200" cy="228600"/>
          </a:xfrm>
          <a:prstGeom prst="rect">
            <a:avLst/>
          </a:prstGeom>
          <a:solidFill>
            <a:srgbClr val="FF0000"/>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latin typeface="Arial" panose="020B0604020202020204" pitchFamily="34" charset="0"/>
              <a:cs typeface="Arial" panose="020B0604020202020204" pitchFamily="34" charset="0"/>
            </a:endParaRPr>
          </a:p>
        </p:txBody>
      </p:sp>
      <p:sp>
        <p:nvSpPr>
          <p:cNvPr id="5136" name="Rectangle 16"/>
          <p:cNvSpPr>
            <a:spLocks noChangeArrowheads="1"/>
          </p:cNvSpPr>
          <p:nvPr/>
        </p:nvSpPr>
        <p:spPr bwMode="auto">
          <a:xfrm>
            <a:off x="5495457" y="6260068"/>
            <a:ext cx="457200" cy="228600"/>
          </a:xfrm>
          <a:prstGeom prst="rect">
            <a:avLst/>
          </a:prstGeom>
          <a:solidFill>
            <a:srgbClr val="0000FF"/>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latin typeface="Arial" panose="020B0604020202020204" pitchFamily="34" charset="0"/>
              <a:cs typeface="Arial" panose="020B0604020202020204" pitchFamily="34" charset="0"/>
            </a:endParaRPr>
          </a:p>
        </p:txBody>
      </p:sp>
      <p:sp>
        <p:nvSpPr>
          <p:cNvPr id="5137" name="Text Box 17"/>
          <p:cNvSpPr txBox="1">
            <a:spLocks noChangeArrowheads="1"/>
          </p:cNvSpPr>
          <p:nvPr/>
        </p:nvSpPr>
        <p:spPr bwMode="auto">
          <a:xfrm>
            <a:off x="2576705" y="6183868"/>
            <a:ext cx="97975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b="1" dirty="0">
                <a:solidFill>
                  <a:prstClr val="black"/>
                </a:solidFill>
                <a:latin typeface="Arial" panose="020B0604020202020204" pitchFamily="34" charset="0"/>
                <a:cs typeface="Arial" panose="020B0604020202020204" pitchFamily="34" charset="0"/>
              </a:rPr>
              <a:t>P1 wild</a:t>
            </a:r>
          </a:p>
        </p:txBody>
      </p:sp>
      <p:sp>
        <p:nvSpPr>
          <p:cNvPr id="5138" name="Text Box 18"/>
          <p:cNvSpPr txBox="1">
            <a:spLocks noChangeArrowheads="1"/>
          </p:cNvSpPr>
          <p:nvPr/>
        </p:nvSpPr>
        <p:spPr bwMode="auto">
          <a:xfrm>
            <a:off x="5919980" y="6183868"/>
            <a:ext cx="97975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b="1" dirty="0">
                <a:solidFill>
                  <a:prstClr val="black"/>
                </a:solidFill>
                <a:latin typeface="Arial" panose="020B0604020202020204" pitchFamily="34" charset="0"/>
                <a:cs typeface="Arial" panose="020B0604020202020204" pitchFamily="34" charset="0"/>
              </a:rPr>
              <a:t>P3 wild</a:t>
            </a:r>
          </a:p>
        </p:txBody>
      </p:sp>
      <p:sp>
        <p:nvSpPr>
          <p:cNvPr id="5140" name="Rectangle 20"/>
          <p:cNvSpPr>
            <a:spLocks noChangeArrowheads="1"/>
          </p:cNvSpPr>
          <p:nvPr/>
        </p:nvSpPr>
        <p:spPr bwMode="auto">
          <a:xfrm>
            <a:off x="3807945" y="6260068"/>
            <a:ext cx="457200" cy="228600"/>
          </a:xfrm>
          <a:prstGeom prst="rect">
            <a:avLst/>
          </a:prstGeom>
          <a:solidFill>
            <a:srgbClr val="00FF00"/>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prstClr val="black"/>
              </a:solidFill>
              <a:latin typeface="Arial" panose="020B0604020202020204" pitchFamily="34" charset="0"/>
              <a:cs typeface="Arial" panose="020B0604020202020204" pitchFamily="34" charset="0"/>
            </a:endParaRPr>
          </a:p>
        </p:txBody>
      </p:sp>
      <p:sp>
        <p:nvSpPr>
          <p:cNvPr id="5141" name="Text Box 21"/>
          <p:cNvSpPr txBox="1">
            <a:spLocks noChangeArrowheads="1"/>
          </p:cNvSpPr>
          <p:nvPr/>
        </p:nvSpPr>
        <p:spPr bwMode="auto">
          <a:xfrm>
            <a:off x="4232468" y="6182280"/>
            <a:ext cx="97975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b="1">
                <a:solidFill>
                  <a:prstClr val="black"/>
                </a:solidFill>
                <a:latin typeface="Arial" panose="020B0604020202020204" pitchFamily="34" charset="0"/>
                <a:cs typeface="Arial" panose="020B0604020202020204" pitchFamily="34" charset="0"/>
              </a:rPr>
              <a:t>P2 wild</a:t>
            </a:r>
          </a:p>
        </p:txBody>
      </p:sp>
      <p:sp>
        <p:nvSpPr>
          <p:cNvPr id="5142" name="Text Box 22"/>
          <p:cNvSpPr txBox="1">
            <a:spLocks noChangeArrowheads="1"/>
          </p:cNvSpPr>
          <p:nvPr/>
        </p:nvSpPr>
        <p:spPr bwMode="auto">
          <a:xfrm>
            <a:off x="2547685" y="1828800"/>
            <a:ext cx="511679" cy="307777"/>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pPr>
            <a:r>
              <a:rPr lang="en-US" sz="1400" b="1" dirty="0">
                <a:solidFill>
                  <a:prstClr val="black"/>
                </a:solidFill>
                <a:latin typeface="Arial Narrow" panose="020B0606020202030204" pitchFamily="34" charset="0"/>
                <a:cs typeface="Arial" panose="020B0604020202020204" pitchFamily="34" charset="0"/>
              </a:rPr>
              <a:t>1600</a:t>
            </a:r>
          </a:p>
        </p:txBody>
      </p:sp>
      <p:sp>
        <p:nvSpPr>
          <p:cNvPr id="5143" name="Text Box 23"/>
          <p:cNvSpPr txBox="1">
            <a:spLocks noChangeArrowheads="1"/>
          </p:cNvSpPr>
          <p:nvPr/>
        </p:nvSpPr>
        <p:spPr bwMode="auto">
          <a:xfrm>
            <a:off x="918457" y="1005114"/>
            <a:ext cx="511679" cy="307777"/>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pPr>
            <a:r>
              <a:rPr lang="en-US" sz="1400" b="1" dirty="0">
                <a:solidFill>
                  <a:prstClr val="black"/>
                </a:solidFill>
                <a:latin typeface="Arial Narrow" panose="020B0606020202030204" pitchFamily="34" charset="0"/>
                <a:cs typeface="Arial" panose="020B0604020202020204" pitchFamily="34" charset="0"/>
              </a:rPr>
              <a:t>1934</a:t>
            </a:r>
          </a:p>
        </p:txBody>
      </p:sp>
      <p:sp>
        <p:nvSpPr>
          <p:cNvPr id="5149" name="Line 29"/>
          <p:cNvSpPr>
            <a:spLocks noChangeShapeType="1"/>
          </p:cNvSpPr>
          <p:nvPr/>
        </p:nvSpPr>
        <p:spPr bwMode="auto">
          <a:xfrm>
            <a:off x="8915400" y="4191000"/>
            <a:ext cx="0" cy="0"/>
          </a:xfrm>
          <a:prstGeom prst="line">
            <a:avLst/>
          </a:prstGeom>
          <a:noFill/>
          <a:ln w="9525">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prstClr val="black"/>
              </a:solidFill>
              <a:latin typeface="Arial" panose="020B0604020202020204" pitchFamily="34" charset="0"/>
              <a:cs typeface="Arial" panose="020B0604020202020204" pitchFamily="34" charset="0"/>
            </a:endParaRPr>
          </a:p>
        </p:txBody>
      </p:sp>
      <p:sp>
        <p:nvSpPr>
          <p:cNvPr id="15" name="Text Box 9"/>
          <p:cNvSpPr txBox="1">
            <a:spLocks noChangeArrowheads="1"/>
          </p:cNvSpPr>
          <p:nvPr/>
        </p:nvSpPr>
        <p:spPr bwMode="auto">
          <a:xfrm>
            <a:off x="34925" y="6602413"/>
            <a:ext cx="2403475"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000" b="1">
                <a:solidFill>
                  <a:schemeClr val="tx1"/>
                </a:solidFill>
                <a:latin typeface="Arial" charset="0"/>
              </a:defRPr>
            </a:lvl1pPr>
            <a:lvl2pPr marL="742950" indent="-285750" eaLnBrk="0" hangingPunct="0">
              <a:defRPr sz="1000" b="1">
                <a:solidFill>
                  <a:schemeClr val="tx1"/>
                </a:solidFill>
                <a:latin typeface="Arial" charset="0"/>
              </a:defRPr>
            </a:lvl2pPr>
            <a:lvl3pPr marL="1143000" indent="-228600" eaLnBrk="0" hangingPunct="0">
              <a:defRPr sz="1000" b="1">
                <a:solidFill>
                  <a:schemeClr val="tx1"/>
                </a:solidFill>
                <a:latin typeface="Arial" charset="0"/>
              </a:defRPr>
            </a:lvl3pPr>
            <a:lvl4pPr marL="1600200" indent="-228600" eaLnBrk="0" hangingPunct="0">
              <a:defRPr sz="1000" b="1">
                <a:solidFill>
                  <a:schemeClr val="tx1"/>
                </a:solidFill>
                <a:latin typeface="Arial" charset="0"/>
              </a:defRPr>
            </a:lvl4pPr>
            <a:lvl5pPr marL="2057400" indent="-228600" eaLnBrk="0" hangingPunct="0">
              <a:defRPr sz="1000" b="1">
                <a:solidFill>
                  <a:schemeClr val="tx1"/>
                </a:solidFill>
                <a:latin typeface="Arial" charset="0"/>
              </a:defRPr>
            </a:lvl5pPr>
            <a:lvl6pPr marL="2514600" indent="-228600" algn="ctr" eaLnBrk="0" fontAlgn="base" hangingPunct="0">
              <a:spcBef>
                <a:spcPct val="50000"/>
              </a:spcBef>
              <a:spcAft>
                <a:spcPct val="0"/>
              </a:spcAft>
              <a:defRPr sz="1000" b="1">
                <a:solidFill>
                  <a:schemeClr val="tx1"/>
                </a:solidFill>
                <a:latin typeface="Arial" charset="0"/>
              </a:defRPr>
            </a:lvl6pPr>
            <a:lvl7pPr marL="2971800" indent="-228600" algn="ctr" eaLnBrk="0" fontAlgn="base" hangingPunct="0">
              <a:spcBef>
                <a:spcPct val="50000"/>
              </a:spcBef>
              <a:spcAft>
                <a:spcPct val="0"/>
              </a:spcAft>
              <a:defRPr sz="1000" b="1">
                <a:solidFill>
                  <a:schemeClr val="tx1"/>
                </a:solidFill>
                <a:latin typeface="Arial" charset="0"/>
              </a:defRPr>
            </a:lvl7pPr>
            <a:lvl8pPr marL="3429000" indent="-228600" algn="ctr" eaLnBrk="0" fontAlgn="base" hangingPunct="0">
              <a:spcBef>
                <a:spcPct val="50000"/>
              </a:spcBef>
              <a:spcAft>
                <a:spcPct val="0"/>
              </a:spcAft>
              <a:defRPr sz="1000" b="1">
                <a:solidFill>
                  <a:schemeClr val="tx1"/>
                </a:solidFill>
                <a:latin typeface="Arial" charset="0"/>
              </a:defRPr>
            </a:lvl8pPr>
            <a:lvl9pPr marL="3886200" indent="-228600" algn="ctr" eaLnBrk="0" fontAlgn="base" hangingPunct="0">
              <a:spcBef>
                <a:spcPct val="50000"/>
              </a:spcBef>
              <a:spcAft>
                <a:spcPct val="0"/>
              </a:spcAft>
              <a:defRPr sz="1000" b="1">
                <a:solidFill>
                  <a:schemeClr val="tx1"/>
                </a:solidFill>
                <a:latin typeface="Arial" charset="0"/>
              </a:defRPr>
            </a:lvl9pPr>
          </a:lstStyle>
          <a:p>
            <a:pPr>
              <a:spcBef>
                <a:spcPct val="0"/>
              </a:spcBef>
            </a:pPr>
            <a:r>
              <a:rPr lang="en-US" sz="1100" b="0" i="1" dirty="0">
                <a:solidFill>
                  <a:prstClr val="black"/>
                </a:solidFill>
                <a:latin typeface="Arial" panose="020B0604020202020204" pitchFamily="34" charset="0"/>
                <a:cs typeface="Arial" panose="020B0604020202020204" pitchFamily="34" charset="0"/>
              </a:rPr>
              <a:t>* data as on </a:t>
            </a:r>
            <a:r>
              <a:rPr lang="en-US" sz="1100" b="0" i="1" dirty="0" smtClean="0">
                <a:solidFill>
                  <a:prstClr val="black"/>
                </a:solidFill>
                <a:latin typeface="Arial" panose="020B0604020202020204" pitchFamily="34" charset="0"/>
                <a:cs typeface="Arial" panose="020B0604020202020204" pitchFamily="34" charset="0"/>
              </a:rPr>
              <a:t>18 July 2015</a:t>
            </a:r>
            <a:endParaRPr lang="en-US" sz="1100" b="0" i="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2210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3"/>
          <p:cNvSpPr>
            <a:spLocks noGrp="1" noChangeArrowheads="1"/>
          </p:cNvSpPr>
          <p:nvPr>
            <p:ph type="title" idx="4294967295"/>
          </p:nvPr>
        </p:nvSpPr>
        <p:spPr>
          <a:xfrm>
            <a:off x="107504" y="14988"/>
            <a:ext cx="8928992" cy="1143000"/>
          </a:xfrm>
          <a:solidFill>
            <a:srgbClr val="7030A0"/>
          </a:solidFill>
          <a:ln>
            <a:noFill/>
            <a:miter lim="800000"/>
            <a:headEnd/>
            <a:tailEnd/>
          </a:ln>
        </p:spPr>
        <p:txBody>
          <a:bodyPr>
            <a:noAutofit/>
          </a:bodyPr>
          <a:lstStyle/>
          <a:p>
            <a:pPr eaLnBrk="1" hangingPunct="1">
              <a:defRPr/>
            </a:pPr>
            <a:r>
              <a:rPr lang="en-IN" sz="2800" dirty="0" smtClean="0">
                <a:solidFill>
                  <a:schemeClr val="bg1"/>
                </a:solidFill>
                <a:latin typeface="Arial" panose="020B0604020202020204" pitchFamily="34" charset="0"/>
                <a:cs typeface="Arial" panose="020B0604020202020204" pitchFamily="34" charset="0"/>
              </a:rPr>
              <a:t>Environmental surveillance confirms no WPV since January 2011 in the country</a:t>
            </a:r>
            <a:endParaRPr lang="en-IN" sz="3200" dirty="0" smtClean="0">
              <a:solidFill>
                <a:schemeClr val="bg1"/>
              </a:solidFill>
              <a:latin typeface="Arial" panose="020B0604020202020204" pitchFamily="34" charset="0"/>
              <a:cs typeface="Arial" panose="020B0604020202020204" pitchFamily="34" charset="0"/>
            </a:endParaRPr>
          </a:p>
        </p:txBody>
      </p:sp>
      <p:sp>
        <p:nvSpPr>
          <p:cNvPr id="18" name="Text Box 2"/>
          <p:cNvSpPr txBox="1">
            <a:spLocks noChangeArrowheads="1"/>
          </p:cNvSpPr>
          <p:nvPr/>
        </p:nvSpPr>
        <p:spPr bwMode="auto">
          <a:xfrm>
            <a:off x="1692275" y="6437537"/>
            <a:ext cx="19113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b="1">
                <a:solidFill>
                  <a:srgbClr val="002060"/>
                </a:solidFill>
              </a:rPr>
              <a:t>Wild poliovirus type 1</a:t>
            </a:r>
          </a:p>
        </p:txBody>
      </p:sp>
      <p:sp>
        <p:nvSpPr>
          <p:cNvPr id="22" name="Rectangle 3"/>
          <p:cNvSpPr>
            <a:spLocks noChangeArrowheads="1"/>
          </p:cNvSpPr>
          <p:nvPr/>
        </p:nvSpPr>
        <p:spPr bwMode="auto">
          <a:xfrm>
            <a:off x="1447800" y="6472462"/>
            <a:ext cx="285750" cy="146050"/>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2060"/>
              </a:solidFill>
            </a:endParaRPr>
          </a:p>
        </p:txBody>
      </p:sp>
      <p:sp>
        <p:nvSpPr>
          <p:cNvPr id="23" name="Rectangle 4"/>
          <p:cNvSpPr>
            <a:spLocks noChangeArrowheads="1"/>
          </p:cNvSpPr>
          <p:nvPr/>
        </p:nvSpPr>
        <p:spPr bwMode="auto">
          <a:xfrm>
            <a:off x="1447800" y="6704237"/>
            <a:ext cx="285750" cy="146050"/>
          </a:xfrm>
          <a:prstGeom prst="rect">
            <a:avLst/>
          </a:pr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2060"/>
              </a:solidFill>
            </a:endParaRPr>
          </a:p>
        </p:txBody>
      </p:sp>
      <p:sp>
        <p:nvSpPr>
          <p:cNvPr id="24" name="Rectangle 5"/>
          <p:cNvSpPr>
            <a:spLocks noChangeArrowheads="1"/>
          </p:cNvSpPr>
          <p:nvPr/>
        </p:nvSpPr>
        <p:spPr bwMode="auto">
          <a:xfrm>
            <a:off x="3221038" y="6475637"/>
            <a:ext cx="285750" cy="146050"/>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2060"/>
              </a:solidFill>
            </a:endParaRPr>
          </a:p>
        </p:txBody>
      </p:sp>
      <p:sp>
        <p:nvSpPr>
          <p:cNvPr id="25" name="Text Box 6"/>
          <p:cNvSpPr txBox="1">
            <a:spLocks noChangeArrowheads="1"/>
          </p:cNvSpPr>
          <p:nvPr/>
        </p:nvSpPr>
        <p:spPr bwMode="auto">
          <a:xfrm>
            <a:off x="1693863" y="6651850"/>
            <a:ext cx="1909762" cy="246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b="1">
                <a:solidFill>
                  <a:srgbClr val="002060"/>
                </a:solidFill>
              </a:rPr>
              <a:t>Wild poliovirus type 3</a:t>
            </a:r>
          </a:p>
        </p:txBody>
      </p:sp>
      <p:sp>
        <p:nvSpPr>
          <p:cNvPr id="26" name="Text Box 7"/>
          <p:cNvSpPr txBox="1">
            <a:spLocks noChangeArrowheads="1"/>
          </p:cNvSpPr>
          <p:nvPr/>
        </p:nvSpPr>
        <p:spPr bwMode="auto">
          <a:xfrm>
            <a:off x="3494088" y="6651850"/>
            <a:ext cx="1436687" cy="246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b="1">
                <a:solidFill>
                  <a:srgbClr val="002060"/>
                </a:solidFill>
              </a:rPr>
              <a:t>Result pending</a:t>
            </a:r>
          </a:p>
        </p:txBody>
      </p:sp>
      <p:sp>
        <p:nvSpPr>
          <p:cNvPr id="27" name="Rectangle 8"/>
          <p:cNvSpPr>
            <a:spLocks noChangeArrowheads="1"/>
          </p:cNvSpPr>
          <p:nvPr/>
        </p:nvSpPr>
        <p:spPr bwMode="auto">
          <a:xfrm>
            <a:off x="3221038" y="6705825"/>
            <a:ext cx="285750" cy="146050"/>
          </a:xfrm>
          <a:prstGeom prst="rect">
            <a:avLst/>
          </a:prstGeom>
          <a:solidFill>
            <a:srgbClr val="96969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2060"/>
              </a:solidFill>
            </a:endParaRPr>
          </a:p>
        </p:txBody>
      </p:sp>
      <p:sp>
        <p:nvSpPr>
          <p:cNvPr id="28" name="Text Box 9"/>
          <p:cNvSpPr txBox="1">
            <a:spLocks noChangeArrowheads="1"/>
          </p:cNvSpPr>
          <p:nvPr/>
        </p:nvSpPr>
        <p:spPr bwMode="auto">
          <a:xfrm>
            <a:off x="3497263" y="6434362"/>
            <a:ext cx="22923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b="1">
                <a:solidFill>
                  <a:srgbClr val="002060"/>
                </a:solidFill>
              </a:rPr>
              <a:t>Negative for wild poliovirus</a:t>
            </a:r>
          </a:p>
        </p:txBody>
      </p:sp>
      <p:sp>
        <p:nvSpPr>
          <p:cNvPr id="29" name="Text Box 10"/>
          <p:cNvSpPr txBox="1">
            <a:spLocks noChangeArrowheads="1"/>
          </p:cNvSpPr>
          <p:nvPr/>
        </p:nvSpPr>
        <p:spPr bwMode="auto">
          <a:xfrm>
            <a:off x="5583238" y="6435950"/>
            <a:ext cx="237013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b="1">
                <a:solidFill>
                  <a:srgbClr val="002060"/>
                </a:solidFill>
              </a:rPr>
              <a:t>Scheduled but sample not collected</a:t>
            </a:r>
          </a:p>
        </p:txBody>
      </p:sp>
      <p:sp>
        <p:nvSpPr>
          <p:cNvPr id="30" name="Rectangle 11"/>
          <p:cNvSpPr>
            <a:spLocks noChangeArrowheads="1"/>
          </p:cNvSpPr>
          <p:nvPr/>
        </p:nvSpPr>
        <p:spPr bwMode="auto">
          <a:xfrm>
            <a:off x="5319713" y="6486750"/>
            <a:ext cx="285750" cy="1460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96969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sz="1000">
                <a:solidFill>
                  <a:srgbClr val="002060"/>
                </a:solidFill>
              </a:rPr>
              <a:t>X</a:t>
            </a:r>
          </a:p>
        </p:txBody>
      </p:sp>
      <p:sp>
        <p:nvSpPr>
          <p:cNvPr id="31" name="Rectangle 12"/>
          <p:cNvSpPr>
            <a:spLocks noChangeArrowheads="1"/>
          </p:cNvSpPr>
          <p:nvPr/>
        </p:nvSpPr>
        <p:spPr bwMode="auto">
          <a:xfrm>
            <a:off x="5319713" y="6704237"/>
            <a:ext cx="285750" cy="1460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96969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2060"/>
              </a:solidFill>
            </a:endParaRPr>
          </a:p>
        </p:txBody>
      </p:sp>
      <p:sp>
        <p:nvSpPr>
          <p:cNvPr id="32" name="Text Box 13"/>
          <p:cNvSpPr txBox="1">
            <a:spLocks noChangeArrowheads="1"/>
          </p:cNvSpPr>
          <p:nvPr/>
        </p:nvSpPr>
        <p:spPr bwMode="auto">
          <a:xfrm>
            <a:off x="5595938" y="6651850"/>
            <a:ext cx="2066925" cy="246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000" b="1">
                <a:solidFill>
                  <a:srgbClr val="002060"/>
                </a:solidFill>
              </a:rPr>
              <a:t>Sampling not scheduled</a:t>
            </a:r>
          </a:p>
        </p:txBody>
      </p:sp>
      <p:graphicFrame>
        <p:nvGraphicFramePr>
          <p:cNvPr id="3" name="Object 2"/>
          <p:cNvGraphicFramePr>
            <a:graphicFrameLocks noChangeAspect="1"/>
          </p:cNvGraphicFramePr>
          <p:nvPr>
            <p:extLst/>
          </p:nvPr>
        </p:nvGraphicFramePr>
        <p:xfrm>
          <a:off x="512763" y="1124744"/>
          <a:ext cx="8116887" cy="5239768"/>
        </p:xfrm>
        <a:graphic>
          <a:graphicData uri="http://schemas.openxmlformats.org/presentationml/2006/ole">
            <mc:AlternateContent xmlns:mc="http://schemas.openxmlformats.org/markup-compatibility/2006">
              <mc:Choice xmlns:v="urn:schemas-microsoft-com:vml" Requires="v">
                <p:oleObj spid="_x0000_s4103" name="Worksheet" r:id="rId3" imgW="15040051" imgH="10848848" progId="Excel.Sheet.8">
                  <p:embed/>
                </p:oleObj>
              </mc:Choice>
              <mc:Fallback>
                <p:oleObj name="Worksheet" r:id="rId3" imgW="15040051" imgH="10848848" progId="Excel.Shee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2763" y="1124744"/>
                        <a:ext cx="8116887" cy="5239768"/>
                      </a:xfrm>
                      <a:prstGeom prst="rect">
                        <a:avLst/>
                      </a:prstGeom>
                      <a:noFill/>
                      <a:ln>
                        <a:noFill/>
                      </a:ln>
                      <a:effectLst/>
                      <a:extLst/>
                    </p:spPr>
                  </p:pic>
                </p:oleObj>
              </mc:Fallback>
            </mc:AlternateContent>
          </a:graphicData>
        </a:graphic>
      </p:graphicFrame>
    </p:spTree>
    <p:extLst>
      <p:ext uri="{BB962C8B-B14F-4D97-AF65-F5344CB8AC3E}">
        <p14:creationId xmlns:p14="http://schemas.microsoft.com/office/powerpoint/2010/main" val="873940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le 1"/>
          <p:cNvSpPr>
            <a:spLocks/>
          </p:cNvSpPr>
          <p:nvPr/>
        </p:nvSpPr>
        <p:spPr bwMode="auto">
          <a:xfrm>
            <a:off x="0" y="0"/>
            <a:ext cx="9144000" cy="908050"/>
          </a:xfrm>
          <a:prstGeom prst="rect">
            <a:avLst/>
          </a:prstGeom>
          <a:solidFill>
            <a:srgbClr val="7030A0"/>
          </a:solidFill>
          <a:ln>
            <a:noFill/>
          </a:ln>
          <a:effectLst/>
        </p:spPr>
        <p:txBody>
          <a:bodyPr anchor="ctr"/>
          <a:lstStyle/>
          <a:p>
            <a:pPr algn="ctr">
              <a:defRPr/>
            </a:pPr>
            <a:r>
              <a:rPr lang="en-US" altLang="en-US" sz="3200" b="1" dirty="0">
                <a:solidFill>
                  <a:prstClr val="white"/>
                </a:solidFill>
                <a:latin typeface="Arial" panose="020B0604020202020204" pitchFamily="34" charset="0"/>
                <a:cs typeface="Arial" panose="020B0604020202020204" pitchFamily="34" charset="0"/>
              </a:rPr>
              <a:t>Major developments, India</a:t>
            </a:r>
          </a:p>
        </p:txBody>
      </p:sp>
      <p:sp>
        <p:nvSpPr>
          <p:cNvPr id="31747" name="TextBox 10"/>
          <p:cNvSpPr txBox="1">
            <a:spLocks noChangeArrowheads="1"/>
          </p:cNvSpPr>
          <p:nvPr/>
        </p:nvSpPr>
        <p:spPr bwMode="auto">
          <a:xfrm>
            <a:off x="2268538" y="2997200"/>
            <a:ext cx="142875" cy="1222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sz="200">
              <a:solidFill>
                <a:prstClr val="black"/>
              </a:solidFill>
            </a:endParaRPr>
          </a:p>
        </p:txBody>
      </p:sp>
      <p:pic>
        <p:nvPicPr>
          <p:cNvPr id="31748" name="Picture 24" descr="a"/>
          <p:cNvPicPr>
            <a:picLocks noChangeAspect="1" noChangeArrowheads="1"/>
          </p:cNvPicPr>
          <p:nvPr/>
        </p:nvPicPr>
        <p:blipFill>
          <a:blip r:embed="rId2" cstate="email">
            <a:extLst>
              <a:ext uri="{28A0092B-C50C-407E-A947-70E740481C1C}">
                <a14:useLocalDpi xmlns:a14="http://schemas.microsoft.com/office/drawing/2010/main"/>
              </a:ext>
            </a:extLst>
          </a:blip>
          <a:srcRect l="14769" t="3581" r="15868" b="3026"/>
          <a:stretch>
            <a:fillRect/>
          </a:stretch>
        </p:blipFill>
        <p:spPr bwMode="auto">
          <a:xfrm>
            <a:off x="34925" y="1125538"/>
            <a:ext cx="4651375" cy="5129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9" name="Oval 25"/>
          <p:cNvSpPr>
            <a:spLocks noChangeArrowheads="1"/>
          </p:cNvSpPr>
          <p:nvPr/>
        </p:nvSpPr>
        <p:spPr bwMode="auto">
          <a:xfrm>
            <a:off x="1589088" y="2584450"/>
            <a:ext cx="149225" cy="160338"/>
          </a:xfrm>
          <a:prstGeom prst="ellipse">
            <a:avLst/>
          </a:prstGeom>
          <a:solidFill>
            <a:srgbClr val="00FF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IN" altLang="en-US">
              <a:solidFill>
                <a:prstClr val="black"/>
              </a:solidFill>
            </a:endParaRPr>
          </a:p>
        </p:txBody>
      </p:sp>
      <p:sp>
        <p:nvSpPr>
          <p:cNvPr id="27" name="Oval 26"/>
          <p:cNvSpPr>
            <a:spLocks noChangeArrowheads="1"/>
          </p:cNvSpPr>
          <p:nvPr/>
        </p:nvSpPr>
        <p:spPr bwMode="auto">
          <a:xfrm>
            <a:off x="3043238" y="3171825"/>
            <a:ext cx="149225" cy="158750"/>
          </a:xfrm>
          <a:prstGeom prst="ellipse">
            <a:avLst/>
          </a:pr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IN" altLang="en-US">
              <a:solidFill>
                <a:prstClr val="black"/>
              </a:solidFill>
            </a:endParaRPr>
          </a:p>
        </p:txBody>
      </p:sp>
      <p:sp>
        <p:nvSpPr>
          <p:cNvPr id="31751" name="AutoShape 7"/>
          <p:cNvSpPr>
            <a:spLocks noChangeArrowheads="1"/>
          </p:cNvSpPr>
          <p:nvPr/>
        </p:nvSpPr>
        <p:spPr bwMode="auto">
          <a:xfrm>
            <a:off x="2163763" y="1558925"/>
            <a:ext cx="1700212" cy="773113"/>
          </a:xfrm>
          <a:prstGeom prst="wedgeRectCallout">
            <a:avLst>
              <a:gd name="adj1" fmla="val -81380"/>
              <a:gd name="adj2" fmla="val 93935"/>
            </a:avLst>
          </a:prstGeom>
          <a:solidFill>
            <a:srgbClr val="FFFF00"/>
          </a:solidFill>
          <a:ln w="9525">
            <a:solidFill>
              <a:schemeClr val="tx1"/>
            </a:solidFill>
            <a:miter lim="800000"/>
            <a:headEnd/>
            <a:tailEnd/>
          </a:ln>
        </p:spPr>
        <p:txBody>
          <a:bodyPr/>
          <a:lstStyle/>
          <a:p>
            <a:pPr algn="ctr"/>
            <a:r>
              <a:rPr lang="en-US" altLang="en-US" sz="1400" b="1">
                <a:solidFill>
                  <a:srgbClr val="000000"/>
                </a:solidFill>
              </a:rPr>
              <a:t>WPV2 </a:t>
            </a:r>
          </a:p>
          <a:p>
            <a:pPr algn="ctr"/>
            <a:r>
              <a:rPr lang="en-US" altLang="en-US" sz="1400" b="1">
                <a:solidFill>
                  <a:srgbClr val="000000"/>
                </a:solidFill>
              </a:rPr>
              <a:t>24/10/1999</a:t>
            </a:r>
          </a:p>
          <a:p>
            <a:pPr algn="ctr"/>
            <a:r>
              <a:rPr lang="en-US" altLang="en-US" sz="1400" b="1">
                <a:solidFill>
                  <a:srgbClr val="000000"/>
                </a:solidFill>
              </a:rPr>
              <a:t>Aligarh (UP)</a:t>
            </a:r>
          </a:p>
        </p:txBody>
      </p:sp>
      <p:sp>
        <p:nvSpPr>
          <p:cNvPr id="29" name="AutoShape 8"/>
          <p:cNvSpPr>
            <a:spLocks noChangeArrowheads="1"/>
          </p:cNvSpPr>
          <p:nvPr/>
        </p:nvSpPr>
        <p:spPr bwMode="auto">
          <a:xfrm>
            <a:off x="4157663" y="4575175"/>
            <a:ext cx="1584325" cy="796925"/>
          </a:xfrm>
          <a:prstGeom prst="wedgeRectCallout">
            <a:avLst>
              <a:gd name="adj1" fmla="val -110954"/>
              <a:gd name="adj2" fmla="val -178444"/>
            </a:avLst>
          </a:prstGeom>
          <a:solidFill>
            <a:srgbClr val="FFFF00"/>
          </a:solidFill>
          <a:ln w="9525">
            <a:solidFill>
              <a:schemeClr val="tx1"/>
            </a:solidFill>
            <a:miter lim="800000"/>
            <a:headEnd/>
            <a:tailEnd/>
          </a:ln>
        </p:spPr>
        <p:txBody>
          <a:bodyPr/>
          <a:lstStyle/>
          <a:p>
            <a:pPr algn="ctr"/>
            <a:r>
              <a:rPr lang="en-US" altLang="en-US" sz="1400" b="1">
                <a:solidFill>
                  <a:srgbClr val="000000"/>
                </a:solidFill>
              </a:rPr>
              <a:t>WPV1 </a:t>
            </a:r>
          </a:p>
          <a:p>
            <a:pPr algn="ctr"/>
            <a:r>
              <a:rPr lang="en-US" altLang="en-US" sz="1400" b="1">
                <a:solidFill>
                  <a:srgbClr val="000000"/>
                </a:solidFill>
              </a:rPr>
              <a:t>13/01/2011</a:t>
            </a:r>
          </a:p>
          <a:p>
            <a:pPr algn="ctr"/>
            <a:r>
              <a:rPr lang="en-US" altLang="en-US" sz="1400" b="1">
                <a:solidFill>
                  <a:srgbClr val="000000"/>
                </a:solidFill>
              </a:rPr>
              <a:t>Howrah (WB)</a:t>
            </a:r>
          </a:p>
        </p:txBody>
      </p:sp>
      <p:sp>
        <p:nvSpPr>
          <p:cNvPr id="30" name="AutoShape 9"/>
          <p:cNvSpPr>
            <a:spLocks noChangeArrowheads="1"/>
          </p:cNvSpPr>
          <p:nvPr/>
        </p:nvSpPr>
        <p:spPr bwMode="auto">
          <a:xfrm>
            <a:off x="4392613" y="3081338"/>
            <a:ext cx="1349375" cy="820737"/>
          </a:xfrm>
          <a:prstGeom prst="wedgeRectCallout">
            <a:avLst>
              <a:gd name="adj1" fmla="val -142176"/>
              <a:gd name="adj2" fmla="val -31319"/>
            </a:avLst>
          </a:prstGeom>
          <a:solidFill>
            <a:srgbClr val="FFFF00"/>
          </a:solidFill>
          <a:ln w="9525">
            <a:solidFill>
              <a:schemeClr val="tx1"/>
            </a:solidFill>
            <a:miter lim="800000"/>
            <a:headEnd/>
            <a:tailEnd/>
          </a:ln>
        </p:spPr>
        <p:txBody>
          <a:bodyPr/>
          <a:lstStyle/>
          <a:p>
            <a:pPr algn="ctr"/>
            <a:r>
              <a:rPr lang="en-US" altLang="en-US" sz="1400" b="1">
                <a:solidFill>
                  <a:srgbClr val="000000"/>
                </a:solidFill>
              </a:rPr>
              <a:t>WPV3 </a:t>
            </a:r>
          </a:p>
          <a:p>
            <a:pPr algn="ctr"/>
            <a:r>
              <a:rPr lang="en-US" altLang="en-US" sz="1400" b="1">
                <a:solidFill>
                  <a:srgbClr val="000000"/>
                </a:solidFill>
              </a:rPr>
              <a:t>22/10/2010</a:t>
            </a:r>
          </a:p>
          <a:p>
            <a:pPr algn="ctr"/>
            <a:r>
              <a:rPr lang="en-US" altLang="en-US" sz="1400" b="1">
                <a:solidFill>
                  <a:srgbClr val="000000"/>
                </a:solidFill>
              </a:rPr>
              <a:t>Pakur (JH)</a:t>
            </a:r>
          </a:p>
        </p:txBody>
      </p:sp>
      <p:sp>
        <p:nvSpPr>
          <p:cNvPr id="31" name="Oval 30"/>
          <p:cNvSpPr>
            <a:spLocks noChangeArrowheads="1"/>
          </p:cNvSpPr>
          <p:nvPr/>
        </p:nvSpPr>
        <p:spPr bwMode="auto">
          <a:xfrm>
            <a:off x="3114675" y="3482975"/>
            <a:ext cx="150813" cy="158750"/>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IN" altLang="en-US">
              <a:solidFill>
                <a:prstClr val="black"/>
              </a:solidFill>
            </a:endParaRPr>
          </a:p>
        </p:txBody>
      </p:sp>
      <p:sp>
        <p:nvSpPr>
          <p:cNvPr id="4" name="TextBox 3"/>
          <p:cNvSpPr txBox="1">
            <a:spLocks noChangeArrowheads="1"/>
          </p:cNvSpPr>
          <p:nvPr/>
        </p:nvSpPr>
        <p:spPr bwMode="auto">
          <a:xfrm>
            <a:off x="6372225" y="1289050"/>
            <a:ext cx="2592388" cy="314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Char char="•"/>
            </a:pPr>
            <a:r>
              <a:rPr lang="en-US" b="1" dirty="0">
                <a:solidFill>
                  <a:prstClr val="black"/>
                </a:solidFill>
              </a:rPr>
              <a:t>Feb 2012:</a:t>
            </a:r>
          </a:p>
          <a:p>
            <a:pPr eaLnBrk="1" hangingPunct="1"/>
            <a:r>
              <a:rPr lang="en-US" dirty="0">
                <a:solidFill>
                  <a:prstClr val="black"/>
                </a:solidFill>
              </a:rPr>
              <a:t>	WHO removes India from the list of polio endemic countries</a:t>
            </a:r>
          </a:p>
          <a:p>
            <a:pPr eaLnBrk="1" hangingPunct="1"/>
            <a:endParaRPr lang="en-US" dirty="0">
              <a:solidFill>
                <a:prstClr val="black"/>
              </a:solidFill>
            </a:endParaRPr>
          </a:p>
          <a:p>
            <a:pPr eaLnBrk="1" hangingPunct="1"/>
            <a:endParaRPr lang="en-US" dirty="0">
              <a:solidFill>
                <a:prstClr val="black"/>
              </a:solidFill>
            </a:endParaRPr>
          </a:p>
          <a:p>
            <a:pPr eaLnBrk="1" hangingPunct="1">
              <a:buFont typeface="Arial" charset="0"/>
              <a:buChar char="•"/>
            </a:pPr>
            <a:r>
              <a:rPr lang="en-US" b="1" dirty="0">
                <a:solidFill>
                  <a:prstClr val="black"/>
                </a:solidFill>
              </a:rPr>
              <a:t>Jan 2014: </a:t>
            </a:r>
          </a:p>
          <a:p>
            <a:pPr eaLnBrk="1" hangingPunct="1"/>
            <a:r>
              <a:rPr lang="en-US" dirty="0">
                <a:solidFill>
                  <a:prstClr val="black"/>
                </a:solidFill>
              </a:rPr>
              <a:t>	</a:t>
            </a:r>
            <a:r>
              <a:rPr lang="en-US" dirty="0" smtClean="0">
                <a:solidFill>
                  <a:prstClr val="black"/>
                </a:solidFill>
              </a:rPr>
              <a:t>India marks the third anniversary of the last polio case</a:t>
            </a:r>
            <a:endParaRPr lang="en-US" dirty="0">
              <a:solidFill>
                <a:prstClr val="black"/>
              </a:solidFill>
            </a:endParaRPr>
          </a:p>
          <a:p>
            <a:pPr eaLnBrk="1" hangingPunct="1"/>
            <a:endParaRPr lang="en-US" dirty="0">
              <a:solidFill>
                <a:prstClr val="black"/>
              </a:solidFill>
            </a:endParaRPr>
          </a:p>
        </p:txBody>
      </p:sp>
      <p:pic>
        <p:nvPicPr>
          <p:cNvPr id="31756" name="Picture 7" descr="leaterhead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388" y="6237288"/>
            <a:ext cx="1274762"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756522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0" grpId="0" animBg="1"/>
      <p:bldP spid="31" grpId="0" animBg="1"/>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txBox="1">
            <a:spLocks noChangeArrowheads="1"/>
          </p:cNvSpPr>
          <p:nvPr/>
        </p:nvSpPr>
        <p:spPr bwMode="auto">
          <a:xfrm>
            <a:off x="715963" y="3860800"/>
            <a:ext cx="7772400" cy="97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125000"/>
              </a:lnSpc>
            </a:pPr>
            <a:endParaRPr lang="en-IN" sz="1600" i="1">
              <a:solidFill>
                <a:srgbClr val="FFFF00"/>
              </a:solidFill>
              <a:latin typeface="Calibri" pitchFamily="34" charset="0"/>
            </a:endParaRPr>
          </a:p>
        </p:txBody>
      </p:sp>
      <p:pic>
        <p:nvPicPr>
          <p:cNvPr id="32771" name="Picture 1"/>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124744"/>
            <a:ext cx="9149292" cy="5733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Title 1"/>
          <p:cNvSpPr txBox="1">
            <a:spLocks/>
          </p:cNvSpPr>
          <p:nvPr/>
        </p:nvSpPr>
        <p:spPr bwMode="auto">
          <a:xfrm>
            <a:off x="0" y="0"/>
            <a:ext cx="9144000" cy="1124744"/>
          </a:xfrm>
          <a:prstGeom prst="rect">
            <a:avLst/>
          </a:prstGeom>
          <a:solidFill>
            <a:srgbClr val="7030A0"/>
          </a:solidFill>
          <a:ln>
            <a:noFill/>
          </a:ln>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sz="2800" b="1" dirty="0">
                <a:solidFill>
                  <a:prstClr val="white"/>
                </a:solidFill>
              </a:rPr>
              <a:t>March 27, 2014:</a:t>
            </a:r>
          </a:p>
          <a:p>
            <a:pPr algn="ctr" eaLnBrk="1" hangingPunct="1"/>
            <a:r>
              <a:rPr lang="en-GB" sz="2800" b="1" dirty="0">
                <a:solidFill>
                  <a:prstClr val="white"/>
                </a:solidFill>
              </a:rPr>
              <a:t>South-East Asia Region of WHO certified polio-free</a:t>
            </a:r>
          </a:p>
        </p:txBody>
      </p:sp>
    </p:spTree>
    <p:extLst>
      <p:ext uri="{BB962C8B-B14F-4D97-AF65-F5344CB8AC3E}">
        <p14:creationId xmlns:p14="http://schemas.microsoft.com/office/powerpoint/2010/main" val="3051270954"/>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5089" t="15525" r="33256" b="4133"/>
          <a:stretch/>
        </p:blipFill>
        <p:spPr bwMode="auto">
          <a:xfrm rot="1452865">
            <a:off x="1168451" y="3475664"/>
            <a:ext cx="1968293" cy="2958691"/>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0" y="0"/>
            <a:ext cx="9144000" cy="1447800"/>
          </a:xfrm>
          <a:prstGeom prst="rect">
            <a:avLst/>
          </a:prstGeom>
          <a:solidFill>
            <a:srgbClr val="1F02C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0" y="0"/>
            <a:ext cx="9144000" cy="1464231"/>
          </a:xfrm>
          <a:prstGeom prst="roundRect">
            <a:avLst/>
          </a:prstGeom>
          <a:solidFill>
            <a:srgbClr val="7030A0"/>
          </a:solidFill>
          <a:ln>
            <a:noFill/>
          </a:ln>
          <a:extLst/>
        </p:spPr>
        <p:txBody>
          <a:bodyPr vert="horz" wrap="square" lIns="91440" tIns="45720" rIns="91440" bIns="45720" numCol="1" anchor="ctr" anchorCtr="0" compatLnSpc="1">
            <a:prstTxWarp prst="textNoShape">
              <a:avLst/>
            </a:prstTxWarp>
          </a:bodyPr>
          <a:lstStyle/>
          <a:p>
            <a:r>
              <a:rPr lang="en-US" sz="3200" b="1" dirty="0" smtClean="0">
                <a:solidFill>
                  <a:schemeClr val="bg1"/>
                </a:solidFill>
              </a:rPr>
              <a:t>India validated Maternal and Neonatal Tetanus Elimination in 2015 </a:t>
            </a:r>
            <a:r>
              <a:rPr lang="en-US" sz="3200" b="1" dirty="0">
                <a:solidFill>
                  <a:schemeClr val="bg1"/>
                </a:solidFill>
              </a:rPr>
              <a:t/>
            </a:r>
            <a:br>
              <a:rPr lang="en-US" sz="3200" b="1" dirty="0">
                <a:solidFill>
                  <a:schemeClr val="bg1"/>
                </a:solidFill>
              </a:rPr>
            </a:br>
            <a:r>
              <a:rPr lang="en-US" sz="3200" b="1" dirty="0" smtClean="0">
                <a:solidFill>
                  <a:schemeClr val="bg1"/>
                </a:solidFill>
              </a:rPr>
              <a:t>A Major </a:t>
            </a:r>
            <a:r>
              <a:rPr lang="en-US" sz="3200" b="1" dirty="0">
                <a:solidFill>
                  <a:schemeClr val="bg1"/>
                </a:solidFill>
              </a:rPr>
              <a:t>Milestone achieved</a:t>
            </a:r>
          </a:p>
        </p:txBody>
      </p:sp>
      <p:sp>
        <p:nvSpPr>
          <p:cNvPr id="5" name="TextBox 4"/>
          <p:cNvSpPr txBox="1"/>
          <p:nvPr/>
        </p:nvSpPr>
        <p:spPr>
          <a:xfrm>
            <a:off x="4355976" y="1628800"/>
            <a:ext cx="4536504" cy="369332"/>
          </a:xfrm>
          <a:prstGeom prst="rect">
            <a:avLst/>
          </a:prstGeom>
          <a:noFill/>
        </p:spPr>
        <p:txBody>
          <a:bodyPr wrap="square" rtlCol="0">
            <a:spAutoFit/>
          </a:bodyPr>
          <a:lstStyle/>
          <a:p>
            <a:r>
              <a:rPr lang="en-US" dirty="0" smtClean="0">
                <a:solidFill>
                  <a:prstClr val="black"/>
                </a:solidFill>
                <a:latin typeface="Century Gothic" panose="020B0502020202020204" pitchFamily="34" charset="0"/>
              </a:rPr>
              <a:t> </a:t>
            </a:r>
            <a:endParaRPr lang="en-US" dirty="0">
              <a:solidFill>
                <a:prstClr val="black"/>
              </a:solidFill>
              <a:latin typeface="Century Gothic" panose="020B0502020202020204" pitchFamily="34" charset="0"/>
            </a:endParaRPr>
          </a:p>
        </p:txBody>
      </p:sp>
      <p:sp>
        <p:nvSpPr>
          <p:cNvPr id="6" name="Rounded Rectangle 5"/>
          <p:cNvSpPr/>
          <p:nvPr/>
        </p:nvSpPr>
        <p:spPr>
          <a:xfrm>
            <a:off x="3886148" y="3886200"/>
            <a:ext cx="4953052" cy="281940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smtClean="0">
                <a:solidFill>
                  <a:srgbClr val="FF0000"/>
                </a:solidFill>
              </a:rPr>
              <a:t>15 May 2015:</a:t>
            </a:r>
          </a:p>
          <a:p>
            <a:pPr algn="ctr"/>
            <a:r>
              <a:rPr lang="en-US" sz="3200" dirty="0" smtClean="0">
                <a:solidFill>
                  <a:prstClr val="black"/>
                </a:solidFill>
              </a:rPr>
              <a:t>“WHO congratulates India on achieving the milestone of MNTE”</a:t>
            </a:r>
          </a:p>
        </p:txBody>
      </p:sp>
      <p:sp>
        <p:nvSpPr>
          <p:cNvPr id="7" name="Oval 6"/>
          <p:cNvSpPr/>
          <p:nvPr/>
        </p:nvSpPr>
        <p:spPr>
          <a:xfrm rot="1360105">
            <a:off x="2082770" y="4121680"/>
            <a:ext cx="936104"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entury Gothic" panose="020B0502020202020204" pitchFamily="34" charset="0"/>
            </a:endParaRPr>
          </a:p>
        </p:txBody>
      </p:sp>
      <p:pic>
        <p:nvPicPr>
          <p:cNvPr id="9" name="Picture 6" descr="a"/>
          <p:cNvPicPr>
            <a:picLocks noChangeAspect="1" noChangeArrowheads="1"/>
          </p:cNvPicPr>
          <p:nvPr/>
        </p:nvPicPr>
        <p:blipFill>
          <a:blip r:embed="rId3" cstate="print">
            <a:extLst>
              <a:ext uri="{28A0092B-C50C-407E-A947-70E740481C1C}">
                <a14:useLocalDpi xmlns:a14="http://schemas.microsoft.com/office/drawing/2010/main" val="0"/>
              </a:ext>
            </a:extLst>
          </a:blip>
          <a:srcRect l="15756" t="3304" r="19975" b="3336"/>
          <a:stretch>
            <a:fillRect/>
          </a:stretch>
        </p:blipFill>
        <p:spPr bwMode="auto">
          <a:xfrm>
            <a:off x="76200" y="1981200"/>
            <a:ext cx="1571764" cy="161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 descr="a"/>
          <p:cNvPicPr>
            <a:picLocks noChangeAspect="1" noChangeArrowheads="1"/>
          </p:cNvPicPr>
          <p:nvPr/>
        </p:nvPicPr>
        <p:blipFill>
          <a:blip r:embed="rId4" cstate="print">
            <a:extLst>
              <a:ext uri="{28A0092B-C50C-407E-A947-70E740481C1C}">
                <a14:useLocalDpi xmlns:a14="http://schemas.microsoft.com/office/drawing/2010/main" val="0"/>
              </a:ext>
            </a:extLst>
          </a:blip>
          <a:srcRect l="15756" t="3304" r="19975" b="3336"/>
          <a:stretch>
            <a:fillRect/>
          </a:stretch>
        </p:blipFill>
        <p:spPr bwMode="auto">
          <a:xfrm>
            <a:off x="2786330" y="1981200"/>
            <a:ext cx="1571764" cy="161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9"/>
          <p:cNvSpPr txBox="1">
            <a:spLocks noChangeArrowheads="1"/>
          </p:cNvSpPr>
          <p:nvPr/>
        </p:nvSpPr>
        <p:spPr bwMode="auto">
          <a:xfrm>
            <a:off x="152400" y="1490246"/>
            <a:ext cx="188535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600" b="1" dirty="0" smtClean="0">
                <a:solidFill>
                  <a:prstClr val="black"/>
                </a:solidFill>
                <a:latin typeface="Century Gothic" panose="020B0502020202020204" pitchFamily="34" charset="0"/>
              </a:rPr>
              <a:t>2003–2012</a:t>
            </a:r>
            <a:endParaRPr lang="en-US" sz="1600" b="1" dirty="0">
              <a:solidFill>
                <a:prstClr val="black"/>
              </a:solidFill>
              <a:latin typeface="Century Gothic" panose="020B0502020202020204" pitchFamily="34" charset="0"/>
            </a:endParaRPr>
          </a:p>
        </p:txBody>
      </p:sp>
      <p:sp>
        <p:nvSpPr>
          <p:cNvPr id="12" name="Text Box 10"/>
          <p:cNvSpPr txBox="1">
            <a:spLocks noChangeArrowheads="1"/>
          </p:cNvSpPr>
          <p:nvPr/>
        </p:nvSpPr>
        <p:spPr bwMode="auto">
          <a:xfrm>
            <a:off x="3048000" y="1468760"/>
            <a:ext cx="110062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600" b="1" dirty="0">
                <a:solidFill>
                  <a:prstClr val="black"/>
                </a:solidFill>
                <a:latin typeface="Century Gothic" panose="020B0502020202020204" pitchFamily="34" charset="0"/>
              </a:rPr>
              <a:t>2013</a:t>
            </a:r>
          </a:p>
        </p:txBody>
      </p:sp>
      <p:sp>
        <p:nvSpPr>
          <p:cNvPr id="13" name="Text Box 11"/>
          <p:cNvSpPr txBox="1">
            <a:spLocks noChangeArrowheads="1"/>
          </p:cNvSpPr>
          <p:nvPr/>
        </p:nvSpPr>
        <p:spPr bwMode="auto">
          <a:xfrm>
            <a:off x="5334000" y="1468760"/>
            <a:ext cx="125160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600" b="1" dirty="0">
                <a:solidFill>
                  <a:prstClr val="black"/>
                </a:solidFill>
                <a:latin typeface="Century Gothic" panose="020B0502020202020204" pitchFamily="34" charset="0"/>
              </a:rPr>
              <a:t>2014</a:t>
            </a:r>
          </a:p>
        </p:txBody>
      </p:sp>
      <p:pic>
        <p:nvPicPr>
          <p:cNvPr id="17" name="Picture 16"/>
          <p:cNvPicPr>
            <a:picLocks noChangeAspect="1"/>
          </p:cNvPicPr>
          <p:nvPr/>
        </p:nvPicPr>
        <p:blipFill rotWithShape="1">
          <a:blip r:embed="rId5" cstate="print">
            <a:extLst>
              <a:ext uri="{28A0092B-C50C-407E-A947-70E740481C1C}">
                <a14:useLocalDpi xmlns:a14="http://schemas.microsoft.com/office/drawing/2010/main" val="0"/>
              </a:ext>
            </a:extLst>
          </a:blip>
          <a:srcRect l="14950" t="3842" r="15047" b="2462"/>
          <a:stretch/>
        </p:blipFill>
        <p:spPr>
          <a:xfrm>
            <a:off x="7529060" y="1981199"/>
            <a:ext cx="1589192" cy="1643641"/>
          </a:xfrm>
          <a:prstGeom prst="rect">
            <a:avLst/>
          </a:prstGeom>
        </p:spPr>
      </p:pic>
      <p:sp>
        <p:nvSpPr>
          <p:cNvPr id="18" name="Text Box 11"/>
          <p:cNvSpPr txBox="1">
            <a:spLocks noChangeArrowheads="1"/>
          </p:cNvSpPr>
          <p:nvPr/>
        </p:nvSpPr>
        <p:spPr bwMode="auto">
          <a:xfrm>
            <a:off x="7696200" y="1468760"/>
            <a:ext cx="106685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600" b="1" dirty="0" smtClean="0">
                <a:solidFill>
                  <a:prstClr val="black"/>
                </a:solidFill>
                <a:latin typeface="Century Gothic" panose="020B0502020202020204" pitchFamily="34" charset="0"/>
              </a:rPr>
              <a:t>2015</a:t>
            </a:r>
            <a:endParaRPr lang="en-US" sz="1600" b="1" dirty="0">
              <a:solidFill>
                <a:prstClr val="black"/>
              </a:solidFill>
              <a:latin typeface="Century Gothic" panose="020B0502020202020204" pitchFamily="34" charset="0"/>
            </a:endParaRPr>
          </a:p>
        </p:txBody>
      </p:sp>
      <p:pic>
        <p:nvPicPr>
          <p:cNvPr id="28" name="Picture 27"/>
          <p:cNvPicPr>
            <a:picLocks noChangeAspect="1"/>
          </p:cNvPicPr>
          <p:nvPr/>
        </p:nvPicPr>
        <p:blipFill rotWithShape="1">
          <a:blip r:embed="rId6" cstate="print">
            <a:extLst>
              <a:ext uri="{28A0092B-C50C-407E-A947-70E740481C1C}">
                <a14:useLocalDpi xmlns:a14="http://schemas.microsoft.com/office/drawing/2010/main" val="0"/>
              </a:ext>
            </a:extLst>
          </a:blip>
          <a:srcRect l="27163" t="4467" r="27066" b="3600"/>
          <a:stretch/>
        </p:blipFill>
        <p:spPr>
          <a:xfrm>
            <a:off x="5300804" y="1981200"/>
            <a:ext cx="1591943" cy="1640386"/>
          </a:xfrm>
          <a:prstGeom prst="rect">
            <a:avLst/>
          </a:prstGeom>
        </p:spPr>
      </p:pic>
    </p:spTree>
    <p:extLst>
      <p:ext uri="{BB962C8B-B14F-4D97-AF65-F5344CB8AC3E}">
        <p14:creationId xmlns:p14="http://schemas.microsoft.com/office/powerpoint/2010/main" val="38297769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28" name="TextBox 6"/>
          <p:cNvSpPr txBox="1">
            <a:spLocks noChangeArrowheads="1"/>
          </p:cNvSpPr>
          <p:nvPr/>
        </p:nvSpPr>
        <p:spPr bwMode="auto">
          <a:xfrm>
            <a:off x="107950" y="5940623"/>
            <a:ext cx="8856663" cy="307777"/>
          </a:xfrm>
          <a:prstGeom prst="rect">
            <a:avLst/>
          </a:prstGeom>
          <a:noFill/>
          <a:ln w="9525">
            <a:noFill/>
            <a:miter lim="800000"/>
            <a:headEnd/>
            <a:tailEnd/>
          </a:ln>
        </p:spPr>
        <p:txBody>
          <a:bodyPr>
            <a:spAutoFit/>
          </a:bodyPr>
          <a:lstStyle/>
          <a:p>
            <a:pPr marL="285750" indent="-285750">
              <a:spcBef>
                <a:spcPct val="50000"/>
              </a:spcBef>
              <a:buFont typeface="Arial" charset="0"/>
              <a:buChar char="•"/>
              <a:defRPr/>
            </a:pPr>
            <a:r>
              <a:rPr lang="en-US" sz="1400" dirty="0" smtClean="0">
                <a:solidFill>
                  <a:prstClr val="black"/>
                </a:solidFill>
              </a:rPr>
              <a:t>Children </a:t>
            </a:r>
            <a:r>
              <a:rPr lang="en-US" sz="1400" dirty="0">
                <a:solidFill>
                  <a:prstClr val="black"/>
                </a:solidFill>
              </a:rPr>
              <a:t>are fully immunized when they have received </a:t>
            </a:r>
            <a:r>
              <a:rPr lang="en-US" sz="1400" dirty="0" smtClean="0">
                <a:solidFill>
                  <a:prstClr val="black"/>
                </a:solidFill>
              </a:rPr>
              <a:t>one dose of BCG, </a:t>
            </a:r>
            <a:r>
              <a:rPr lang="en-US" sz="1400" dirty="0">
                <a:solidFill>
                  <a:prstClr val="black"/>
                </a:solidFill>
              </a:rPr>
              <a:t>3 doses of </a:t>
            </a:r>
            <a:r>
              <a:rPr lang="en-US" sz="1400" dirty="0" smtClean="0">
                <a:solidFill>
                  <a:prstClr val="black"/>
                </a:solidFill>
              </a:rPr>
              <a:t>DPT </a:t>
            </a:r>
            <a:r>
              <a:rPr lang="en-US" sz="1400" dirty="0">
                <a:solidFill>
                  <a:prstClr val="black"/>
                </a:solidFill>
              </a:rPr>
              <a:t>&amp; Polio &amp; a dose of Measles</a:t>
            </a:r>
          </a:p>
        </p:txBody>
      </p:sp>
      <p:graphicFrame>
        <p:nvGraphicFramePr>
          <p:cNvPr id="2" name="Object 1"/>
          <p:cNvGraphicFramePr>
            <a:graphicFrameLocks noChangeAspect="1"/>
          </p:cNvGraphicFramePr>
          <p:nvPr>
            <p:extLst/>
          </p:nvPr>
        </p:nvGraphicFramePr>
        <p:xfrm>
          <a:off x="416470" y="1104172"/>
          <a:ext cx="8239621" cy="4810472"/>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Arrow Connector 4"/>
          <p:cNvCxnSpPr/>
          <p:nvPr/>
        </p:nvCxnSpPr>
        <p:spPr>
          <a:xfrm flipV="1">
            <a:off x="1830780" y="1205880"/>
            <a:ext cx="5760640" cy="108012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 name="Title 2"/>
          <p:cNvSpPr>
            <a:spLocks noGrp="1"/>
          </p:cNvSpPr>
          <p:nvPr>
            <p:ph type="title"/>
          </p:nvPr>
        </p:nvSpPr>
        <p:spPr>
          <a:xfrm>
            <a:off x="0" y="0"/>
            <a:ext cx="9144000" cy="1066800"/>
          </a:xfrm>
          <a:solidFill>
            <a:srgbClr val="7030A0"/>
          </a:solidFill>
        </p:spPr>
        <p:txBody>
          <a:bodyPr/>
          <a:lstStyle/>
          <a:p>
            <a:r>
              <a:rPr lang="en-IN" sz="4000" b="1" dirty="0" smtClean="0">
                <a:solidFill>
                  <a:schemeClr val="bg1"/>
                </a:solidFill>
              </a:rPr>
              <a:t>Full Immunization coverage</a:t>
            </a:r>
            <a:endParaRPr lang="en-IN" sz="4000" b="1" dirty="0">
              <a:solidFill>
                <a:schemeClr val="bg1"/>
              </a:solidFill>
            </a:endParaRPr>
          </a:p>
        </p:txBody>
      </p:sp>
      <p:sp>
        <p:nvSpPr>
          <p:cNvPr id="7" name="TextBox 6"/>
          <p:cNvSpPr txBox="1">
            <a:spLocks noChangeArrowheads="1"/>
          </p:cNvSpPr>
          <p:nvPr/>
        </p:nvSpPr>
        <p:spPr bwMode="auto">
          <a:xfrm>
            <a:off x="0" y="6321623"/>
            <a:ext cx="9067800" cy="523220"/>
          </a:xfrm>
          <a:prstGeom prst="rect">
            <a:avLst/>
          </a:prstGeom>
          <a:noFill/>
          <a:ln w="9525">
            <a:noFill/>
            <a:miter lim="800000"/>
            <a:headEnd/>
            <a:tailEnd/>
          </a:ln>
        </p:spPr>
        <p:txBody>
          <a:bodyPr wrap="square">
            <a:spAutoFit/>
          </a:bodyPr>
          <a:lstStyle/>
          <a:p>
            <a:pPr>
              <a:spcBef>
                <a:spcPct val="50000"/>
              </a:spcBef>
              <a:defRPr/>
            </a:pPr>
            <a:r>
              <a:rPr lang="en-US" sz="1400" dirty="0">
                <a:solidFill>
                  <a:prstClr val="black"/>
                </a:solidFill>
              </a:rPr>
              <a:t>NFHS: National </a:t>
            </a:r>
            <a:r>
              <a:rPr lang="en-US" sz="1400" dirty="0" smtClean="0">
                <a:solidFill>
                  <a:prstClr val="black"/>
                </a:solidFill>
              </a:rPr>
              <a:t>family household </a:t>
            </a:r>
            <a:r>
              <a:rPr lang="en-US" sz="1400" dirty="0">
                <a:solidFill>
                  <a:prstClr val="black"/>
                </a:solidFill>
              </a:rPr>
              <a:t>s</a:t>
            </a:r>
            <a:r>
              <a:rPr lang="en-US" sz="1400" dirty="0" smtClean="0">
                <a:solidFill>
                  <a:prstClr val="black"/>
                </a:solidFill>
              </a:rPr>
              <a:t>urvey; DLHS: District level household survey; CES: Coverage evaluation </a:t>
            </a:r>
            <a:r>
              <a:rPr lang="en-US" sz="1400" dirty="0">
                <a:solidFill>
                  <a:prstClr val="black"/>
                </a:solidFill>
              </a:rPr>
              <a:t>s</a:t>
            </a:r>
            <a:r>
              <a:rPr lang="en-US" sz="1400" dirty="0" smtClean="0">
                <a:solidFill>
                  <a:prstClr val="black"/>
                </a:solidFill>
              </a:rPr>
              <a:t>urvey;                RSOC: Rapid survey of children</a:t>
            </a:r>
            <a:endParaRPr lang="en-US" sz="1400" dirty="0">
              <a:solidFill>
                <a:prstClr val="black"/>
              </a:solidFill>
            </a:endParaRPr>
          </a:p>
        </p:txBody>
      </p:sp>
    </p:spTree>
    <p:extLst>
      <p:ext uri="{BB962C8B-B14F-4D97-AF65-F5344CB8AC3E}">
        <p14:creationId xmlns:p14="http://schemas.microsoft.com/office/powerpoint/2010/main" val="19364453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05800" cy="1477962"/>
          </a:xfrm>
          <a:solidFill>
            <a:srgbClr val="3399FF"/>
          </a:solidFill>
        </p:spPr>
        <p:txBody>
          <a:bodyPr>
            <a:normAutofit fontScale="90000"/>
          </a:bodyPr>
          <a:lstStyle/>
          <a:p>
            <a:r>
              <a:rPr lang="en-IN" dirty="0" smtClean="0">
                <a:solidFill>
                  <a:schemeClr val="bg1"/>
                </a:solidFill>
                <a:latin typeface="Lucida Sans" panose="020B0602030504020204" pitchFamily="34" charset="0"/>
              </a:rPr>
              <a:t>Mission Indradhanush: </a:t>
            </a:r>
            <a:br>
              <a:rPr lang="en-IN" dirty="0" smtClean="0">
                <a:solidFill>
                  <a:schemeClr val="bg1"/>
                </a:solidFill>
                <a:latin typeface="Lucida Sans" panose="020B0602030504020204" pitchFamily="34" charset="0"/>
              </a:rPr>
            </a:br>
            <a:r>
              <a:rPr lang="en-IN" dirty="0" smtClean="0">
                <a:solidFill>
                  <a:schemeClr val="bg1"/>
                </a:solidFill>
                <a:latin typeface="Lucida Sans" panose="020B0602030504020204" pitchFamily="34" charset="0"/>
              </a:rPr>
              <a:t>A new beginning for RI in 2015!!</a:t>
            </a:r>
            <a:endParaRPr lang="en-IN" dirty="0">
              <a:solidFill>
                <a:schemeClr val="bg1"/>
              </a:solidFill>
              <a:latin typeface="Lucida Sans" panose="020B0602030504020204" pitchFamily="34" charset="0"/>
            </a:endParaRPr>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1252896"/>
            <a:ext cx="9234870" cy="5272448"/>
          </a:xfrm>
          <a:prstGeom prst="rect">
            <a:avLst/>
          </a:prstGeom>
        </p:spPr>
      </p:pic>
    </p:spTree>
    <p:extLst>
      <p:ext uri="{BB962C8B-B14F-4D97-AF65-F5344CB8AC3E}">
        <p14:creationId xmlns:p14="http://schemas.microsoft.com/office/powerpoint/2010/main" val="1241926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8" descr="a"/>
          <p:cNvPicPr>
            <a:picLocks noChangeAspect="1" noChangeArrowheads="1"/>
          </p:cNvPicPr>
          <p:nvPr/>
        </p:nvPicPr>
        <p:blipFill>
          <a:blip r:embed="rId2" cstate="screen">
            <a:extLst>
              <a:ext uri="{28A0092B-C50C-407E-A947-70E740481C1C}">
                <a14:useLocalDpi xmlns:a14="http://schemas.microsoft.com/office/drawing/2010/main"/>
              </a:ext>
            </a:extLst>
          </a:blip>
          <a:srcRect l="16608" t="3304" r="18269" b="3336"/>
          <a:stretch>
            <a:fillRect/>
          </a:stretch>
        </p:blipFill>
        <p:spPr bwMode="auto">
          <a:xfrm>
            <a:off x="0" y="1097280"/>
            <a:ext cx="4265612" cy="431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1" name="Picture 3" descr="a"/>
          <p:cNvPicPr>
            <a:picLocks noChangeAspect="1" noChangeArrowheads="1"/>
          </p:cNvPicPr>
          <p:nvPr/>
        </p:nvPicPr>
        <p:blipFill>
          <a:blip r:embed="rId3" cstate="screen">
            <a:extLst>
              <a:ext uri="{28A0092B-C50C-407E-A947-70E740481C1C}">
                <a14:useLocalDpi xmlns:a14="http://schemas.microsoft.com/office/drawing/2010/main"/>
              </a:ext>
            </a:extLst>
          </a:blip>
          <a:srcRect l="36472" t="39987" r="56917" b="55106"/>
          <a:stretch>
            <a:fillRect/>
          </a:stretch>
        </p:blipFill>
        <p:spPr bwMode="auto">
          <a:xfrm>
            <a:off x="609600" y="5561012"/>
            <a:ext cx="3857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Text Box 9"/>
          <p:cNvSpPr txBox="1">
            <a:spLocks noChangeArrowheads="1"/>
          </p:cNvSpPr>
          <p:nvPr/>
        </p:nvSpPr>
        <p:spPr bwMode="auto">
          <a:xfrm>
            <a:off x="285804" y="5949280"/>
            <a:ext cx="3362395" cy="615553"/>
          </a:xfrm>
          <a:prstGeom prst="rect">
            <a:avLst/>
          </a:prstGeom>
          <a:noFill/>
          <a:ln>
            <a:noFill/>
          </a:ln>
          <a:effectLs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dirty="0" smtClean="0">
                <a:solidFill>
                  <a:prstClr val="black"/>
                </a:solidFill>
                <a:latin typeface="Calibri"/>
              </a:rPr>
              <a:t>201 High focus districts in Phase 1</a:t>
            </a:r>
          </a:p>
          <a:p>
            <a:pPr eaLnBrk="1" hangingPunct="1">
              <a:defRPr/>
            </a:pPr>
            <a:r>
              <a:rPr lang="en-US" sz="1600" dirty="0" smtClean="0">
                <a:solidFill>
                  <a:prstClr val="black"/>
                </a:solidFill>
                <a:latin typeface="Calibri"/>
              </a:rPr>
              <a:t>And 297 districts in Phase 2</a:t>
            </a:r>
            <a:endParaRPr lang="en-US" sz="1600" dirty="0">
              <a:solidFill>
                <a:prstClr val="black"/>
              </a:solidFill>
              <a:latin typeface="Calibri"/>
            </a:endParaRPr>
          </a:p>
        </p:txBody>
      </p:sp>
      <p:sp>
        <p:nvSpPr>
          <p:cNvPr id="12294" name="Content Placeholder 2"/>
          <p:cNvSpPr txBox="1">
            <a:spLocks/>
          </p:cNvSpPr>
          <p:nvPr/>
        </p:nvSpPr>
        <p:spPr bwMode="auto">
          <a:xfrm>
            <a:off x="3635896" y="838200"/>
            <a:ext cx="4953000" cy="5867400"/>
          </a:xfrm>
          <a:prstGeom prst="rect">
            <a:avLst/>
          </a:prstGeom>
          <a:noFill/>
          <a:ln w="38100">
            <a:noFill/>
            <a:miter lim="800000"/>
            <a:headEnd/>
            <a:tailEnd/>
          </a:ln>
          <a:extLst>
            <a:ext uri="{909E8E84-426E-40DD-AFC4-6F175D3DCCD1}">
              <a14:hiddenFill xmlns:a14="http://schemas.microsoft.com/office/drawing/2010/main">
                <a:solidFill>
                  <a:srgbClr val="FFFFFF"/>
                </a:solidFill>
              </a14:hiddenFill>
            </a:ext>
          </a:extLst>
        </p:spPr>
        <p:txBody>
          <a:bodyPr lIns="91397" tIns="45698" rIns="91397" bIns="45698"/>
          <a:lstStyle>
            <a:lvl1pPr marL="360363" indent="-2682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20000"/>
              </a:spcBef>
              <a:buFont typeface="Arial" charset="0"/>
              <a:buChar char="•"/>
            </a:pPr>
            <a:r>
              <a:rPr lang="en-US" sz="2000" dirty="0" smtClean="0">
                <a:solidFill>
                  <a:prstClr val="black"/>
                </a:solidFill>
                <a:latin typeface="Calibri"/>
              </a:rPr>
              <a:t>Launched by MoHFW on </a:t>
            </a:r>
            <a:r>
              <a:rPr lang="en-US" sz="2000" dirty="0">
                <a:solidFill>
                  <a:prstClr val="black"/>
                </a:solidFill>
                <a:latin typeface="Calibri"/>
              </a:rPr>
              <a:t>25 Dec </a:t>
            </a:r>
            <a:r>
              <a:rPr lang="en-US" sz="2000" dirty="0" smtClean="0">
                <a:solidFill>
                  <a:prstClr val="black"/>
                </a:solidFill>
                <a:latin typeface="Calibri"/>
              </a:rPr>
              <a:t>2014 as a special drive to strengthen routine immunization in the country</a:t>
            </a:r>
          </a:p>
          <a:p>
            <a:pPr eaLnBrk="1" hangingPunct="1">
              <a:spcBef>
                <a:spcPct val="20000"/>
              </a:spcBef>
              <a:buFont typeface="Arial" charset="0"/>
              <a:buChar char="•"/>
            </a:pPr>
            <a:endParaRPr lang="en-US" sz="2000" dirty="0">
              <a:solidFill>
                <a:prstClr val="black"/>
              </a:solidFill>
              <a:latin typeface="Calibri"/>
            </a:endParaRPr>
          </a:p>
          <a:p>
            <a:pPr eaLnBrk="1" hangingPunct="1">
              <a:spcBef>
                <a:spcPct val="20000"/>
              </a:spcBef>
              <a:buFont typeface="Arial" charset="0"/>
              <a:buChar char="•"/>
            </a:pPr>
            <a:r>
              <a:rPr lang="en-US" sz="2000" dirty="0" smtClean="0">
                <a:solidFill>
                  <a:prstClr val="black"/>
                </a:solidFill>
                <a:latin typeface="Calibri"/>
              </a:rPr>
              <a:t>Focuses on interventions to ensure high coverage of children and pregnant women</a:t>
            </a:r>
          </a:p>
          <a:p>
            <a:pPr eaLnBrk="1" hangingPunct="1">
              <a:spcBef>
                <a:spcPct val="20000"/>
              </a:spcBef>
              <a:buFont typeface="Arial" charset="0"/>
              <a:buChar char="•"/>
            </a:pPr>
            <a:endParaRPr lang="en-US" sz="2000" dirty="0" smtClean="0">
              <a:solidFill>
                <a:prstClr val="black"/>
              </a:solidFill>
              <a:latin typeface="Calibri"/>
            </a:endParaRPr>
          </a:p>
          <a:p>
            <a:pPr eaLnBrk="1" hangingPunct="1">
              <a:spcBef>
                <a:spcPct val="20000"/>
              </a:spcBef>
              <a:buFont typeface="Arial" charset="0"/>
              <a:buChar char="•"/>
            </a:pPr>
            <a:r>
              <a:rPr lang="en-US" sz="2000" dirty="0" smtClean="0">
                <a:solidFill>
                  <a:prstClr val="black"/>
                </a:solidFill>
                <a:latin typeface="Calibri"/>
              </a:rPr>
              <a:t>Special </a:t>
            </a:r>
            <a:r>
              <a:rPr lang="en-US" sz="2000" dirty="0">
                <a:solidFill>
                  <a:prstClr val="black"/>
                </a:solidFill>
                <a:latin typeface="Calibri"/>
              </a:rPr>
              <a:t>attention to 201 </a:t>
            </a:r>
            <a:r>
              <a:rPr lang="en-US" sz="2000" dirty="0" smtClean="0">
                <a:solidFill>
                  <a:prstClr val="black"/>
                </a:solidFill>
                <a:latin typeface="Calibri"/>
              </a:rPr>
              <a:t>high </a:t>
            </a:r>
            <a:r>
              <a:rPr lang="en-US" sz="2000" dirty="0">
                <a:solidFill>
                  <a:prstClr val="black"/>
                </a:solidFill>
                <a:latin typeface="Calibri"/>
              </a:rPr>
              <a:t>focus </a:t>
            </a:r>
            <a:r>
              <a:rPr lang="en-US" sz="2000" dirty="0" smtClean="0">
                <a:solidFill>
                  <a:prstClr val="black"/>
                </a:solidFill>
                <a:latin typeface="Calibri"/>
              </a:rPr>
              <a:t>districts in Phase 1 including 6 in Karnataka with nearly </a:t>
            </a:r>
            <a:r>
              <a:rPr lang="en-US" sz="2000" dirty="0">
                <a:solidFill>
                  <a:prstClr val="black"/>
                </a:solidFill>
                <a:latin typeface="Calibri"/>
              </a:rPr>
              <a:t>50% of all unvaccinated or partially vaccinated </a:t>
            </a:r>
            <a:r>
              <a:rPr lang="en-US" sz="2000" dirty="0" smtClean="0">
                <a:solidFill>
                  <a:prstClr val="black"/>
                </a:solidFill>
                <a:latin typeface="Calibri"/>
              </a:rPr>
              <a:t>children</a:t>
            </a:r>
          </a:p>
          <a:p>
            <a:pPr marL="92075" indent="0" eaLnBrk="1" hangingPunct="1">
              <a:spcBef>
                <a:spcPct val="20000"/>
              </a:spcBef>
            </a:pPr>
            <a:endParaRPr lang="en-US" sz="2000" dirty="0" smtClean="0">
              <a:solidFill>
                <a:prstClr val="black"/>
              </a:solidFill>
              <a:latin typeface="Calibri"/>
            </a:endParaRPr>
          </a:p>
          <a:p>
            <a:pPr eaLnBrk="1" hangingPunct="1">
              <a:spcBef>
                <a:spcPct val="20000"/>
              </a:spcBef>
              <a:buFont typeface="Arial" charset="0"/>
              <a:buChar char="•"/>
            </a:pPr>
            <a:r>
              <a:rPr lang="en-US" sz="2000" dirty="0" smtClean="0">
                <a:solidFill>
                  <a:prstClr val="black"/>
                </a:solidFill>
                <a:latin typeface="Calibri"/>
              </a:rPr>
              <a:t>297 Medium Focus districts selected in Phase 2 including 12 in Karnataka</a:t>
            </a:r>
          </a:p>
          <a:p>
            <a:pPr eaLnBrk="1" hangingPunct="1">
              <a:spcBef>
                <a:spcPct val="20000"/>
              </a:spcBef>
              <a:buFont typeface="Arial" charset="0"/>
              <a:buChar char="•"/>
            </a:pPr>
            <a:r>
              <a:rPr lang="en-US" sz="2000" dirty="0" smtClean="0">
                <a:solidFill>
                  <a:prstClr val="black"/>
                </a:solidFill>
                <a:latin typeface="Calibri"/>
              </a:rPr>
              <a:t>Karnataka State has chosen 6 more districts – Total 18 Districts in Karnataka</a:t>
            </a:r>
            <a:endParaRPr lang="en-US" sz="2000" dirty="0">
              <a:solidFill>
                <a:prstClr val="black"/>
              </a:solidFill>
              <a:latin typeface="Calibri"/>
            </a:endParaRPr>
          </a:p>
          <a:p>
            <a:pPr eaLnBrk="1" hangingPunct="1">
              <a:spcBef>
                <a:spcPct val="20000"/>
              </a:spcBef>
              <a:buFont typeface="Arial" charset="0"/>
              <a:buChar char="•"/>
            </a:pPr>
            <a:endParaRPr lang="en-US" sz="2000" dirty="0">
              <a:solidFill>
                <a:prstClr val="black"/>
              </a:solidFill>
              <a:latin typeface="Calibri"/>
            </a:endParaRPr>
          </a:p>
          <a:p>
            <a:pPr eaLnBrk="1" hangingPunct="1">
              <a:spcBef>
                <a:spcPct val="20000"/>
              </a:spcBef>
              <a:buFont typeface="Arial" charset="0"/>
              <a:buChar char="•"/>
            </a:pPr>
            <a:endParaRPr lang="en-US" sz="2000" dirty="0">
              <a:solidFill>
                <a:prstClr val="black"/>
              </a:solidFill>
              <a:latin typeface="Calibri"/>
            </a:endParaRPr>
          </a:p>
          <a:p>
            <a:pPr eaLnBrk="1" hangingPunct="1">
              <a:spcBef>
                <a:spcPct val="20000"/>
              </a:spcBef>
              <a:buFont typeface="Arial" charset="0"/>
              <a:buChar char="•"/>
            </a:pPr>
            <a:endParaRPr lang="en-US" sz="2000" dirty="0">
              <a:solidFill>
                <a:prstClr val="black"/>
              </a:solidFill>
              <a:latin typeface="Calibri"/>
            </a:endParaRPr>
          </a:p>
          <a:p>
            <a:pPr eaLnBrk="1" hangingPunct="1">
              <a:spcBef>
                <a:spcPct val="20000"/>
              </a:spcBef>
              <a:buFont typeface="Arial" charset="0"/>
              <a:buChar char="•"/>
            </a:pPr>
            <a:endParaRPr lang="en-US" sz="2000" dirty="0">
              <a:solidFill>
                <a:prstClr val="black"/>
              </a:solidFill>
              <a:latin typeface="Calibri"/>
            </a:endParaRPr>
          </a:p>
          <a:p>
            <a:pPr eaLnBrk="1" hangingPunct="1">
              <a:spcBef>
                <a:spcPct val="20000"/>
              </a:spcBef>
              <a:buFont typeface="Arial" charset="0"/>
              <a:buChar char="•"/>
            </a:pPr>
            <a:endParaRPr lang="en-US" sz="2000" dirty="0">
              <a:solidFill>
                <a:prstClr val="black"/>
              </a:solidFill>
              <a:latin typeface="Calibri"/>
            </a:endParaRPr>
          </a:p>
          <a:p>
            <a:pPr eaLnBrk="1" hangingPunct="1">
              <a:spcBef>
                <a:spcPct val="20000"/>
              </a:spcBef>
              <a:buFont typeface="Arial" charset="0"/>
              <a:buNone/>
            </a:pPr>
            <a:r>
              <a:rPr lang="en-US" sz="2000" dirty="0">
                <a:solidFill>
                  <a:prstClr val="black"/>
                </a:solidFill>
                <a:latin typeface="Calibri"/>
              </a:rPr>
              <a:t> </a:t>
            </a:r>
          </a:p>
          <a:p>
            <a:pPr eaLnBrk="1" hangingPunct="1">
              <a:spcBef>
                <a:spcPct val="20000"/>
              </a:spcBef>
              <a:buFont typeface="Arial" charset="0"/>
              <a:buChar char="•"/>
            </a:pPr>
            <a:endParaRPr lang="en-US" sz="2000" dirty="0">
              <a:solidFill>
                <a:prstClr val="black"/>
              </a:solidFill>
              <a:latin typeface="Calibri"/>
            </a:endParaRPr>
          </a:p>
        </p:txBody>
      </p:sp>
      <p:sp>
        <p:nvSpPr>
          <p:cNvPr id="2" name="Title 1"/>
          <p:cNvSpPr>
            <a:spLocks noGrp="1"/>
          </p:cNvSpPr>
          <p:nvPr>
            <p:ph type="title"/>
          </p:nvPr>
        </p:nvSpPr>
        <p:spPr>
          <a:xfrm>
            <a:off x="0" y="152400"/>
            <a:ext cx="9144000" cy="685800"/>
          </a:xfrm>
        </p:spPr>
        <p:txBody>
          <a:bodyPr vert="horz" lIns="91440" tIns="45720" rIns="91440" bIns="45720" rtlCol="0" anchor="ctr">
            <a:noAutofit/>
          </a:bodyPr>
          <a:lstStyle/>
          <a:p>
            <a:r>
              <a:rPr lang="en-GB" altLang="en-US" sz="3200" dirty="0"/>
              <a:t>Mission Indradhanush (Rainbow): Reaching all children</a:t>
            </a:r>
            <a:endParaRPr lang="en-US" sz="3200" dirty="0"/>
          </a:p>
        </p:txBody>
      </p:sp>
    </p:spTree>
    <p:extLst>
      <p:ext uri="{BB962C8B-B14F-4D97-AF65-F5344CB8AC3E}">
        <p14:creationId xmlns:p14="http://schemas.microsoft.com/office/powerpoint/2010/main" val="23466098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p:cNvSpPr>
          <p:nvPr/>
        </p:nvSpPr>
        <p:spPr bwMode="auto">
          <a:xfrm>
            <a:off x="27585" y="167904"/>
            <a:ext cx="9144000" cy="966788"/>
          </a:xfrm>
          <a:prstGeom prst="rect">
            <a:avLst/>
          </a:prstGeom>
          <a:solidFill>
            <a:srgbClr val="3399FF"/>
          </a:solidFill>
          <a:ln>
            <a:noFill/>
          </a:ln>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en-US" sz="2800" b="1" dirty="0">
                <a:solidFill>
                  <a:prstClr val="white"/>
                </a:solidFill>
                <a:latin typeface="Lucida Sans" panose="020B0602030504020204" pitchFamily="34" charset="0"/>
                <a:cs typeface="Arial" panose="020B0604020202020204" pitchFamily="34" charset="0"/>
              </a:rPr>
              <a:t>Timelines for Mission Indradhanush: 2015 &amp; 16 </a:t>
            </a:r>
          </a:p>
        </p:txBody>
      </p:sp>
      <p:grpSp>
        <p:nvGrpSpPr>
          <p:cNvPr id="5" name="Group 4"/>
          <p:cNvGrpSpPr/>
          <p:nvPr/>
        </p:nvGrpSpPr>
        <p:grpSpPr>
          <a:xfrm>
            <a:off x="338734" y="1158505"/>
            <a:ext cx="8527062" cy="5688013"/>
            <a:chOff x="311149" y="990600"/>
            <a:chExt cx="8527062" cy="5688013"/>
          </a:xfrm>
        </p:grpSpPr>
        <p:sp>
          <p:nvSpPr>
            <p:cNvPr id="6" name="Rectangle 95"/>
            <p:cNvSpPr>
              <a:spLocks noChangeArrowheads="1"/>
            </p:cNvSpPr>
            <p:nvPr/>
          </p:nvSpPr>
          <p:spPr bwMode="auto">
            <a:xfrm>
              <a:off x="604838" y="3411538"/>
              <a:ext cx="9778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500" b="1">
                  <a:solidFill>
                    <a:srgbClr val="FFFFFF"/>
                  </a:solidFill>
                  <a:cs typeface="Arial" charset="0"/>
                </a:rPr>
                <a:t>0</a:t>
              </a:r>
              <a:endParaRPr lang="en-GB">
                <a:solidFill>
                  <a:prstClr val="black"/>
                </a:solidFill>
                <a:cs typeface="Arial" charset="0"/>
              </a:endParaRPr>
            </a:p>
          </p:txBody>
        </p:sp>
        <p:sp>
          <p:nvSpPr>
            <p:cNvPr id="7" name="Rectangle 44"/>
            <p:cNvSpPr>
              <a:spLocks noChangeArrowheads="1"/>
            </p:cNvSpPr>
            <p:nvPr/>
          </p:nvSpPr>
          <p:spPr bwMode="auto">
            <a:xfrm>
              <a:off x="523875" y="4175125"/>
              <a:ext cx="22602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Jan</a:t>
              </a:r>
              <a:endParaRPr lang="en-GB">
                <a:solidFill>
                  <a:prstClr val="black"/>
                </a:solidFill>
                <a:cs typeface="Arial" charset="0"/>
              </a:endParaRPr>
            </a:p>
          </p:txBody>
        </p:sp>
        <p:sp>
          <p:nvSpPr>
            <p:cNvPr id="8" name="Rectangle 45"/>
            <p:cNvSpPr>
              <a:spLocks noChangeArrowheads="1"/>
            </p:cNvSpPr>
            <p:nvPr/>
          </p:nvSpPr>
          <p:spPr bwMode="auto">
            <a:xfrm>
              <a:off x="1190625" y="4175125"/>
              <a:ext cx="24763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Feb</a:t>
              </a:r>
              <a:endParaRPr lang="en-GB">
                <a:solidFill>
                  <a:prstClr val="black"/>
                </a:solidFill>
                <a:cs typeface="Arial" charset="0"/>
              </a:endParaRPr>
            </a:p>
          </p:txBody>
        </p:sp>
        <p:sp>
          <p:nvSpPr>
            <p:cNvPr id="9" name="Rectangle 46"/>
            <p:cNvSpPr>
              <a:spLocks noChangeArrowheads="1"/>
            </p:cNvSpPr>
            <p:nvPr/>
          </p:nvSpPr>
          <p:spPr bwMode="auto">
            <a:xfrm>
              <a:off x="1887538" y="4175125"/>
              <a:ext cx="293687"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Mar</a:t>
              </a:r>
              <a:endParaRPr lang="en-GB">
                <a:solidFill>
                  <a:prstClr val="black"/>
                </a:solidFill>
                <a:cs typeface="Arial" charset="0"/>
              </a:endParaRPr>
            </a:p>
          </p:txBody>
        </p:sp>
        <p:sp>
          <p:nvSpPr>
            <p:cNvPr id="10" name="Rectangle 47"/>
            <p:cNvSpPr>
              <a:spLocks noChangeArrowheads="1"/>
            </p:cNvSpPr>
            <p:nvPr/>
          </p:nvSpPr>
          <p:spPr bwMode="auto">
            <a:xfrm>
              <a:off x="2568575" y="4175125"/>
              <a:ext cx="25006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Apr</a:t>
              </a:r>
              <a:endParaRPr lang="en-GB">
                <a:solidFill>
                  <a:prstClr val="black"/>
                </a:solidFill>
                <a:cs typeface="Arial" charset="0"/>
              </a:endParaRPr>
            </a:p>
          </p:txBody>
        </p:sp>
        <p:sp>
          <p:nvSpPr>
            <p:cNvPr id="11" name="Rectangle 48"/>
            <p:cNvSpPr>
              <a:spLocks noChangeArrowheads="1"/>
            </p:cNvSpPr>
            <p:nvPr/>
          </p:nvSpPr>
          <p:spPr bwMode="auto">
            <a:xfrm>
              <a:off x="3236913" y="4175125"/>
              <a:ext cx="30316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May</a:t>
              </a:r>
              <a:endParaRPr lang="en-GB">
                <a:solidFill>
                  <a:prstClr val="black"/>
                </a:solidFill>
                <a:cs typeface="Arial" charset="0"/>
              </a:endParaRPr>
            </a:p>
          </p:txBody>
        </p:sp>
        <p:sp>
          <p:nvSpPr>
            <p:cNvPr id="12" name="Rectangle 49"/>
            <p:cNvSpPr>
              <a:spLocks noChangeArrowheads="1"/>
            </p:cNvSpPr>
            <p:nvPr/>
          </p:nvSpPr>
          <p:spPr bwMode="auto">
            <a:xfrm>
              <a:off x="3932238" y="4175125"/>
              <a:ext cx="23403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Jun</a:t>
              </a:r>
              <a:endParaRPr lang="en-GB">
                <a:solidFill>
                  <a:prstClr val="black"/>
                </a:solidFill>
                <a:cs typeface="Arial" charset="0"/>
              </a:endParaRPr>
            </a:p>
          </p:txBody>
        </p:sp>
        <p:sp>
          <p:nvSpPr>
            <p:cNvPr id="13" name="Rectangle 50"/>
            <p:cNvSpPr>
              <a:spLocks noChangeArrowheads="1"/>
            </p:cNvSpPr>
            <p:nvPr/>
          </p:nvSpPr>
          <p:spPr bwMode="auto">
            <a:xfrm>
              <a:off x="4656138" y="4175125"/>
              <a:ext cx="18594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Jul</a:t>
              </a:r>
              <a:endParaRPr lang="en-GB">
                <a:solidFill>
                  <a:prstClr val="black"/>
                </a:solidFill>
                <a:cs typeface="Arial" charset="0"/>
              </a:endParaRPr>
            </a:p>
          </p:txBody>
        </p:sp>
        <p:sp>
          <p:nvSpPr>
            <p:cNvPr id="14" name="Rectangle 51"/>
            <p:cNvSpPr>
              <a:spLocks noChangeArrowheads="1"/>
            </p:cNvSpPr>
            <p:nvPr/>
          </p:nvSpPr>
          <p:spPr bwMode="auto">
            <a:xfrm>
              <a:off x="5295900" y="4175125"/>
              <a:ext cx="26930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Aug</a:t>
              </a:r>
              <a:endParaRPr lang="en-GB">
                <a:solidFill>
                  <a:prstClr val="black"/>
                </a:solidFill>
                <a:cs typeface="Arial" charset="0"/>
              </a:endParaRPr>
            </a:p>
          </p:txBody>
        </p:sp>
        <p:sp>
          <p:nvSpPr>
            <p:cNvPr id="15" name="Rectangle 52"/>
            <p:cNvSpPr>
              <a:spLocks noChangeArrowheads="1"/>
            </p:cNvSpPr>
            <p:nvPr/>
          </p:nvSpPr>
          <p:spPr bwMode="auto">
            <a:xfrm>
              <a:off x="5991225" y="4175125"/>
              <a:ext cx="25167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Sep</a:t>
              </a:r>
              <a:endParaRPr lang="en-GB">
                <a:solidFill>
                  <a:prstClr val="black"/>
                </a:solidFill>
                <a:cs typeface="Arial" charset="0"/>
              </a:endParaRPr>
            </a:p>
          </p:txBody>
        </p:sp>
        <p:sp>
          <p:nvSpPr>
            <p:cNvPr id="16" name="Rectangle 53"/>
            <p:cNvSpPr>
              <a:spLocks noChangeArrowheads="1"/>
            </p:cNvSpPr>
            <p:nvPr/>
          </p:nvSpPr>
          <p:spPr bwMode="auto">
            <a:xfrm>
              <a:off x="6688138" y="4175125"/>
              <a:ext cx="24045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Oct</a:t>
              </a:r>
              <a:endParaRPr lang="en-GB">
                <a:solidFill>
                  <a:prstClr val="black"/>
                </a:solidFill>
                <a:cs typeface="Arial" charset="0"/>
              </a:endParaRPr>
            </a:p>
          </p:txBody>
        </p:sp>
        <p:sp>
          <p:nvSpPr>
            <p:cNvPr id="17" name="Rectangle 54"/>
            <p:cNvSpPr>
              <a:spLocks noChangeArrowheads="1"/>
            </p:cNvSpPr>
            <p:nvPr/>
          </p:nvSpPr>
          <p:spPr bwMode="auto">
            <a:xfrm>
              <a:off x="7369175" y="4175125"/>
              <a:ext cx="278410"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a:solidFill>
                    <a:srgbClr val="000000"/>
                  </a:solidFill>
                  <a:cs typeface="Arial" charset="0"/>
                </a:rPr>
                <a:t>Nov</a:t>
              </a:r>
              <a:endParaRPr lang="en-GB">
                <a:solidFill>
                  <a:prstClr val="black"/>
                </a:solidFill>
                <a:cs typeface="Arial" charset="0"/>
              </a:endParaRPr>
            </a:p>
          </p:txBody>
        </p:sp>
        <p:sp>
          <p:nvSpPr>
            <p:cNvPr id="18" name="Rectangle 55"/>
            <p:cNvSpPr>
              <a:spLocks noChangeArrowheads="1"/>
            </p:cNvSpPr>
            <p:nvPr/>
          </p:nvSpPr>
          <p:spPr bwMode="auto">
            <a:xfrm>
              <a:off x="8051800" y="4175125"/>
              <a:ext cx="25968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300" b="1" dirty="0">
                  <a:solidFill>
                    <a:srgbClr val="000000"/>
                  </a:solidFill>
                  <a:cs typeface="Arial" charset="0"/>
                </a:rPr>
                <a:t>Dec</a:t>
              </a:r>
              <a:endParaRPr lang="en-GB" dirty="0">
                <a:solidFill>
                  <a:prstClr val="black"/>
                </a:solidFill>
                <a:cs typeface="Arial" charset="0"/>
              </a:endParaRPr>
            </a:p>
          </p:txBody>
        </p:sp>
        <p:sp>
          <p:nvSpPr>
            <p:cNvPr id="19" name="Line 11"/>
            <p:cNvSpPr>
              <a:spLocks noChangeShapeType="1"/>
            </p:cNvSpPr>
            <p:nvPr/>
          </p:nvSpPr>
          <p:spPr bwMode="auto">
            <a:xfrm>
              <a:off x="742950" y="3006725"/>
              <a:ext cx="0" cy="10795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0" name="Line 11"/>
            <p:cNvSpPr>
              <a:spLocks noChangeShapeType="1"/>
            </p:cNvSpPr>
            <p:nvPr/>
          </p:nvSpPr>
          <p:spPr bwMode="auto">
            <a:xfrm>
              <a:off x="1449388" y="3006725"/>
              <a:ext cx="0" cy="107950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1" name="Line 11"/>
            <p:cNvSpPr>
              <a:spLocks noChangeShapeType="1"/>
            </p:cNvSpPr>
            <p:nvPr/>
          </p:nvSpPr>
          <p:spPr bwMode="auto">
            <a:xfrm>
              <a:off x="2255838" y="5526088"/>
              <a:ext cx="0" cy="69215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2" name="Rectangle 93"/>
            <p:cNvSpPr>
              <a:spLocks noChangeArrowheads="1"/>
            </p:cNvSpPr>
            <p:nvPr/>
          </p:nvSpPr>
          <p:spPr bwMode="auto">
            <a:xfrm>
              <a:off x="2774950" y="5678488"/>
              <a:ext cx="504825"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r>
                <a:rPr lang="en-GB" b="1">
                  <a:solidFill>
                    <a:prstClr val="black"/>
                  </a:solidFill>
                </a:rPr>
                <a:t>NID (tOPV)</a:t>
              </a:r>
            </a:p>
          </p:txBody>
        </p:sp>
        <p:sp>
          <p:nvSpPr>
            <p:cNvPr id="23" name="Line 11"/>
            <p:cNvSpPr>
              <a:spLocks noChangeShapeType="1"/>
            </p:cNvSpPr>
            <p:nvPr/>
          </p:nvSpPr>
          <p:spPr bwMode="auto">
            <a:xfrm>
              <a:off x="2495863" y="1951038"/>
              <a:ext cx="1587" cy="2095500"/>
            </a:xfrm>
            <a:prstGeom prst="line">
              <a:avLst/>
            </a:prstGeom>
            <a:noFill/>
            <a:ln w="57150">
              <a:solidFill>
                <a:srgbClr val="82008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4" name="Line 11"/>
            <p:cNvSpPr>
              <a:spLocks noChangeShapeType="1"/>
            </p:cNvSpPr>
            <p:nvPr/>
          </p:nvSpPr>
          <p:spPr bwMode="auto">
            <a:xfrm>
              <a:off x="3236913" y="1951038"/>
              <a:ext cx="1588" cy="2095500"/>
            </a:xfrm>
            <a:prstGeom prst="line">
              <a:avLst/>
            </a:prstGeom>
            <a:noFill/>
            <a:ln w="57150">
              <a:solidFill>
                <a:srgbClr val="82008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5" name="Line 11"/>
            <p:cNvSpPr>
              <a:spLocks noChangeShapeType="1"/>
            </p:cNvSpPr>
            <p:nvPr/>
          </p:nvSpPr>
          <p:spPr bwMode="auto">
            <a:xfrm>
              <a:off x="4054475" y="1909763"/>
              <a:ext cx="1588" cy="2095500"/>
            </a:xfrm>
            <a:prstGeom prst="line">
              <a:avLst/>
            </a:prstGeom>
            <a:noFill/>
            <a:ln w="57150">
              <a:solidFill>
                <a:srgbClr val="82008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6" name="Line 11"/>
            <p:cNvSpPr>
              <a:spLocks noChangeShapeType="1"/>
            </p:cNvSpPr>
            <p:nvPr/>
          </p:nvSpPr>
          <p:spPr bwMode="auto">
            <a:xfrm>
              <a:off x="4651375" y="1951038"/>
              <a:ext cx="4763" cy="2095500"/>
            </a:xfrm>
            <a:prstGeom prst="line">
              <a:avLst/>
            </a:prstGeom>
            <a:noFill/>
            <a:ln w="57150">
              <a:solidFill>
                <a:srgbClr val="82008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7" name="Rectangle 93"/>
            <p:cNvSpPr>
              <a:spLocks noChangeArrowheads="1"/>
            </p:cNvSpPr>
            <p:nvPr/>
          </p:nvSpPr>
          <p:spPr bwMode="auto">
            <a:xfrm>
              <a:off x="4316725" y="5527675"/>
              <a:ext cx="1709737"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GB" b="1">
                  <a:solidFill>
                    <a:prstClr val="black"/>
                  </a:solidFill>
                </a:rPr>
                <a:t>Mission Indradhanush</a:t>
              </a:r>
            </a:p>
          </p:txBody>
        </p:sp>
        <p:sp>
          <p:nvSpPr>
            <p:cNvPr id="28" name="Rectangle 72"/>
            <p:cNvSpPr>
              <a:spLocks noChangeArrowheads="1"/>
            </p:cNvSpPr>
            <p:nvPr/>
          </p:nvSpPr>
          <p:spPr bwMode="auto">
            <a:xfrm>
              <a:off x="395288" y="2717800"/>
              <a:ext cx="66040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GB" sz="1200" b="1">
                  <a:solidFill>
                    <a:prstClr val="black"/>
                  </a:solidFill>
                </a:rPr>
                <a:t>18 Jan</a:t>
              </a:r>
            </a:p>
          </p:txBody>
        </p:sp>
        <p:sp>
          <p:nvSpPr>
            <p:cNvPr id="29" name="Rectangle 72"/>
            <p:cNvSpPr>
              <a:spLocks noChangeArrowheads="1"/>
            </p:cNvSpPr>
            <p:nvPr/>
          </p:nvSpPr>
          <p:spPr bwMode="auto">
            <a:xfrm>
              <a:off x="1103313" y="2717800"/>
              <a:ext cx="69532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GB" sz="1200" b="1" dirty="0">
                  <a:solidFill>
                    <a:prstClr val="black"/>
                  </a:solidFill>
                </a:rPr>
                <a:t>22 Feb</a:t>
              </a:r>
            </a:p>
          </p:txBody>
        </p:sp>
        <p:sp>
          <p:nvSpPr>
            <p:cNvPr id="30" name="Rectangle 72"/>
            <p:cNvSpPr>
              <a:spLocks noChangeArrowheads="1"/>
            </p:cNvSpPr>
            <p:nvPr/>
          </p:nvSpPr>
          <p:spPr bwMode="auto">
            <a:xfrm>
              <a:off x="2255838" y="990600"/>
              <a:ext cx="24003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GB" sz="1400" b="1" dirty="0">
                  <a:solidFill>
                    <a:prstClr val="black"/>
                  </a:solidFill>
                </a:rPr>
                <a:t>Mission Indradhanush Phase I</a:t>
              </a:r>
            </a:p>
          </p:txBody>
        </p:sp>
        <p:sp>
          <p:nvSpPr>
            <p:cNvPr id="31" name="Line 11"/>
            <p:cNvSpPr>
              <a:spLocks noChangeShapeType="1"/>
            </p:cNvSpPr>
            <p:nvPr/>
          </p:nvSpPr>
          <p:spPr bwMode="auto">
            <a:xfrm>
              <a:off x="4173850" y="4583113"/>
              <a:ext cx="4762" cy="2095500"/>
            </a:xfrm>
            <a:prstGeom prst="line">
              <a:avLst/>
            </a:prstGeom>
            <a:noFill/>
            <a:ln w="57150">
              <a:solidFill>
                <a:srgbClr val="82008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2" name="Left Brace 31"/>
            <p:cNvSpPr/>
            <p:nvPr/>
          </p:nvSpPr>
          <p:spPr bwMode="auto">
            <a:xfrm rot="5400000">
              <a:off x="3415943" y="449263"/>
              <a:ext cx="277813" cy="2065337"/>
            </a:xfrm>
            <a:prstGeom prst="lef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prstClr val="black"/>
                </a:solidFill>
              </a:endParaRPr>
            </a:p>
          </p:txBody>
        </p:sp>
        <p:sp>
          <p:nvSpPr>
            <p:cNvPr id="33" name="Line 11"/>
            <p:cNvSpPr>
              <a:spLocks noChangeShapeType="1"/>
            </p:cNvSpPr>
            <p:nvPr/>
          </p:nvSpPr>
          <p:spPr bwMode="auto">
            <a:xfrm>
              <a:off x="6553200" y="1946275"/>
              <a:ext cx="1587" cy="2095500"/>
            </a:xfrm>
            <a:prstGeom prst="line">
              <a:avLst/>
            </a:prstGeom>
            <a:noFill/>
            <a:ln w="57150">
              <a:solidFill>
                <a:srgbClr val="82008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4" name="Line 11"/>
            <p:cNvSpPr>
              <a:spLocks noChangeShapeType="1"/>
            </p:cNvSpPr>
            <p:nvPr/>
          </p:nvSpPr>
          <p:spPr bwMode="auto">
            <a:xfrm>
              <a:off x="7294250" y="1946275"/>
              <a:ext cx="1588" cy="2095500"/>
            </a:xfrm>
            <a:prstGeom prst="line">
              <a:avLst/>
            </a:prstGeom>
            <a:noFill/>
            <a:ln w="57150">
              <a:solidFill>
                <a:srgbClr val="82008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5" name="Line 11"/>
            <p:cNvSpPr>
              <a:spLocks noChangeShapeType="1"/>
            </p:cNvSpPr>
            <p:nvPr/>
          </p:nvSpPr>
          <p:spPr bwMode="auto">
            <a:xfrm>
              <a:off x="7924800" y="1905000"/>
              <a:ext cx="1588" cy="2095500"/>
            </a:xfrm>
            <a:prstGeom prst="line">
              <a:avLst/>
            </a:prstGeom>
            <a:noFill/>
            <a:ln w="57150">
              <a:solidFill>
                <a:srgbClr val="82008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6" name="Line 11"/>
            <p:cNvSpPr>
              <a:spLocks noChangeShapeType="1"/>
            </p:cNvSpPr>
            <p:nvPr/>
          </p:nvSpPr>
          <p:spPr bwMode="auto">
            <a:xfrm>
              <a:off x="8534400" y="1946275"/>
              <a:ext cx="4763" cy="2095500"/>
            </a:xfrm>
            <a:prstGeom prst="line">
              <a:avLst/>
            </a:prstGeom>
            <a:noFill/>
            <a:ln w="57150">
              <a:solidFill>
                <a:srgbClr val="820082"/>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grpSp>
          <p:nvGrpSpPr>
            <p:cNvPr id="37" name="Group 36"/>
            <p:cNvGrpSpPr/>
            <p:nvPr/>
          </p:nvGrpSpPr>
          <p:grpSpPr>
            <a:xfrm>
              <a:off x="311149" y="3962400"/>
              <a:ext cx="8527061" cy="123825"/>
              <a:chOff x="311149" y="3962400"/>
              <a:chExt cx="8527061" cy="123825"/>
            </a:xfrm>
          </p:grpSpPr>
          <p:sp>
            <p:nvSpPr>
              <p:cNvPr id="41" name="Line 79"/>
              <p:cNvSpPr>
                <a:spLocks noChangeShapeType="1"/>
              </p:cNvSpPr>
              <p:nvPr/>
            </p:nvSpPr>
            <p:spPr bwMode="auto">
              <a:xfrm>
                <a:off x="790575" y="3962400"/>
                <a:ext cx="57150" cy="0"/>
              </a:xfrm>
              <a:prstGeom prst="line">
                <a:avLst/>
              </a:prstGeom>
              <a:noFill/>
              <a:ln w="14288">
                <a:solidFill>
                  <a:srgbClr val="FFFFFF"/>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2" name="Line 24"/>
              <p:cNvSpPr>
                <a:spLocks noChangeShapeType="1"/>
              </p:cNvSpPr>
              <p:nvPr/>
            </p:nvSpPr>
            <p:spPr bwMode="auto">
              <a:xfrm flipV="1">
                <a:off x="311149" y="4038600"/>
                <a:ext cx="8527061" cy="6350"/>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3" name="Line 25"/>
              <p:cNvSpPr>
                <a:spLocks noChangeShapeType="1"/>
              </p:cNvSpPr>
              <p:nvPr/>
            </p:nvSpPr>
            <p:spPr bwMode="auto">
              <a:xfrm flipV="1">
                <a:off x="311150"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4" name="Line 26"/>
              <p:cNvSpPr>
                <a:spLocks noChangeShapeType="1"/>
              </p:cNvSpPr>
              <p:nvPr/>
            </p:nvSpPr>
            <p:spPr bwMode="auto">
              <a:xfrm flipV="1">
                <a:off x="992188"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5" name="Line 27"/>
              <p:cNvSpPr>
                <a:spLocks noChangeShapeType="1"/>
              </p:cNvSpPr>
              <p:nvPr/>
            </p:nvSpPr>
            <p:spPr bwMode="auto">
              <a:xfrm flipV="1">
                <a:off x="1687513"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6" name="Line 28"/>
              <p:cNvSpPr>
                <a:spLocks noChangeShapeType="1"/>
              </p:cNvSpPr>
              <p:nvPr/>
            </p:nvSpPr>
            <p:spPr bwMode="auto">
              <a:xfrm flipV="1">
                <a:off x="2370138"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7" name="Line 29"/>
              <p:cNvSpPr>
                <a:spLocks noChangeShapeType="1"/>
              </p:cNvSpPr>
              <p:nvPr/>
            </p:nvSpPr>
            <p:spPr bwMode="auto">
              <a:xfrm flipV="1">
                <a:off x="3051175"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8" name="Line 30"/>
              <p:cNvSpPr>
                <a:spLocks noChangeShapeType="1"/>
              </p:cNvSpPr>
              <p:nvPr/>
            </p:nvSpPr>
            <p:spPr bwMode="auto">
              <a:xfrm flipV="1">
                <a:off x="3733800"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9" name="Line 31"/>
              <p:cNvSpPr>
                <a:spLocks noChangeShapeType="1"/>
              </p:cNvSpPr>
              <p:nvPr/>
            </p:nvSpPr>
            <p:spPr bwMode="auto">
              <a:xfrm flipV="1">
                <a:off x="4429125"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50" name="Line 32"/>
              <p:cNvSpPr>
                <a:spLocks noChangeShapeType="1"/>
              </p:cNvSpPr>
              <p:nvPr/>
            </p:nvSpPr>
            <p:spPr bwMode="auto">
              <a:xfrm flipV="1">
                <a:off x="5111750"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51" name="Line 33"/>
              <p:cNvSpPr>
                <a:spLocks noChangeShapeType="1"/>
              </p:cNvSpPr>
              <p:nvPr/>
            </p:nvSpPr>
            <p:spPr bwMode="auto">
              <a:xfrm flipV="1">
                <a:off x="5792788"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52" name="Line 34"/>
              <p:cNvSpPr>
                <a:spLocks noChangeShapeType="1"/>
              </p:cNvSpPr>
              <p:nvPr/>
            </p:nvSpPr>
            <p:spPr bwMode="auto">
              <a:xfrm flipV="1">
                <a:off x="6473825"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53" name="Line 35"/>
              <p:cNvSpPr>
                <a:spLocks noChangeShapeType="1"/>
              </p:cNvSpPr>
              <p:nvPr/>
            </p:nvSpPr>
            <p:spPr bwMode="auto">
              <a:xfrm flipV="1">
                <a:off x="7170738"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54" name="Line 36"/>
              <p:cNvSpPr>
                <a:spLocks noChangeShapeType="1"/>
              </p:cNvSpPr>
              <p:nvPr/>
            </p:nvSpPr>
            <p:spPr bwMode="auto">
              <a:xfrm flipV="1">
                <a:off x="7851775" y="4043363"/>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55" name="Line 36"/>
              <p:cNvSpPr>
                <a:spLocks noChangeShapeType="1"/>
              </p:cNvSpPr>
              <p:nvPr/>
            </p:nvSpPr>
            <p:spPr bwMode="auto">
              <a:xfrm flipV="1">
                <a:off x="8458200" y="4038600"/>
                <a:ext cx="0" cy="42862"/>
              </a:xfrm>
              <a:prstGeom prst="line">
                <a:avLst/>
              </a:prstGeom>
              <a:noFill/>
              <a:ln w="14288">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grpSp>
        <p:sp>
          <p:nvSpPr>
            <p:cNvPr id="38" name="Rectangle 55"/>
            <p:cNvSpPr>
              <a:spLocks noChangeArrowheads="1"/>
            </p:cNvSpPr>
            <p:nvPr/>
          </p:nvSpPr>
          <p:spPr bwMode="auto">
            <a:xfrm>
              <a:off x="8612187" y="4191000"/>
              <a:ext cx="22602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IN" sz="1300" b="1" dirty="0">
                  <a:solidFill>
                    <a:prstClr val="black"/>
                  </a:solidFill>
                  <a:cs typeface="Arial" charset="0"/>
                </a:rPr>
                <a:t>Jan</a:t>
              </a:r>
              <a:endParaRPr lang="en-GB" sz="1300" b="1" dirty="0">
                <a:solidFill>
                  <a:prstClr val="black"/>
                </a:solidFill>
                <a:cs typeface="Arial" charset="0"/>
              </a:endParaRPr>
            </a:p>
          </p:txBody>
        </p:sp>
        <p:sp>
          <p:nvSpPr>
            <p:cNvPr id="39" name="Rectangle 72"/>
            <p:cNvSpPr>
              <a:spLocks noChangeArrowheads="1"/>
            </p:cNvSpPr>
            <p:nvPr/>
          </p:nvSpPr>
          <p:spPr bwMode="auto">
            <a:xfrm>
              <a:off x="6248400" y="990600"/>
              <a:ext cx="2476799"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GB" sz="1400" b="1" dirty="0">
                  <a:solidFill>
                    <a:prstClr val="black"/>
                  </a:solidFill>
                </a:rPr>
                <a:t>Mission Indradhanush Phase II</a:t>
              </a:r>
            </a:p>
          </p:txBody>
        </p:sp>
        <p:sp>
          <p:nvSpPr>
            <p:cNvPr id="40" name="Left Brace 39"/>
            <p:cNvSpPr/>
            <p:nvPr/>
          </p:nvSpPr>
          <p:spPr bwMode="auto">
            <a:xfrm rot="5400000">
              <a:off x="7408505" y="449263"/>
              <a:ext cx="277813" cy="2065337"/>
            </a:xfrm>
            <a:prstGeom prst="lef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prstClr val="black"/>
                </a:solidFill>
              </a:endParaRPr>
            </a:p>
          </p:txBody>
        </p:sp>
      </p:grpSp>
    </p:spTree>
    <p:extLst>
      <p:ext uri="{BB962C8B-B14F-4D97-AF65-F5344CB8AC3E}">
        <p14:creationId xmlns:p14="http://schemas.microsoft.com/office/powerpoint/2010/main" val="42474234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01058" name="Picture 6" descr="C:\Users\Valued Customer\Documents\Dropbox\TED Polio 2011\Slide Comps\30-polio_types_02-022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 y="263769"/>
            <a:ext cx="3074377" cy="633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C:\Users\Valued Customer\Documents\Dropbox\TED Polio 2011\Slide Comps\30-polio_types_02-022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82836" y="1540127"/>
            <a:ext cx="2718289" cy="2750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1060" name="Picture 2" descr="C:\Users\Valued Customer\Documents\Dropbox\TED Polio 2011\Slide Comps\30-polio_types_02-0223.jpg"/>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25000"/>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6034474" y="1541592"/>
            <a:ext cx="2716823" cy="2751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106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42897" y="2365168"/>
            <a:ext cx="2784231" cy="1063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38" name="Picture 2" descr="C:\Users\Valued Customer\Documents\Dropbox\TED Polio 2011\Slide Comps\29-polio_types_01-0223.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76173" y="263769"/>
            <a:ext cx="2894135" cy="633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33723" y="2365498"/>
            <a:ext cx="2525819" cy="1063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Valued Customer\Documents\Dropbox\TED Polio 2011\Slide Comps\30-polio_types_02-0223.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48456" y="263769"/>
            <a:ext cx="3009900" cy="633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967851" y="4293097"/>
            <a:ext cx="3264165" cy="660437"/>
          </a:xfrm>
          <a:prstGeom prst="rect">
            <a:avLst/>
          </a:prstGeom>
          <a:solidFill>
            <a:srgbClr val="000000"/>
          </a:solidFill>
        </p:spPr>
        <p:txBody>
          <a:bodyPr wrap="square" rtlCol="0">
            <a:spAutoFit/>
          </a:bodyPr>
          <a:lstStyle/>
          <a:p>
            <a:pPr defTabSz="844083"/>
            <a:r>
              <a:rPr lang="en-GB" sz="1846" dirty="0">
                <a:solidFill>
                  <a:srgbClr val="FFFFFF"/>
                </a:solidFill>
              </a:rPr>
              <a:t>Not detected since Nov 2012</a:t>
            </a:r>
          </a:p>
        </p:txBody>
      </p:sp>
    </p:spTree>
    <p:extLst>
      <p:ext uri="{BB962C8B-B14F-4D97-AF65-F5344CB8AC3E}">
        <p14:creationId xmlns:p14="http://schemas.microsoft.com/office/powerpoint/2010/main" val="30989767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xit" presetSubtype="0" fill="hold" nodeType="clickEffect">
                                  <p:stCondLst>
                                    <p:cond delay="0"/>
                                  </p:stCondLst>
                                  <p:childTnLst>
                                    <p:animEffect transition="out" filter="fade">
                                      <p:cBhvr>
                                        <p:cTn id="6" dur="2000"/>
                                        <p:tgtEl>
                                          <p:spTgt spid="14338"/>
                                        </p:tgtEl>
                                      </p:cBhvr>
                                    </p:animEffect>
                                    <p:set>
                                      <p:cBhvr>
                                        <p:cTn id="7" dur="1" fill="hold">
                                          <p:stCondLst>
                                            <p:cond delay="1999"/>
                                          </p:stCondLst>
                                        </p:cTn>
                                        <p:tgtEl>
                                          <p:spTgt spid="14338"/>
                                        </p:tgtEl>
                                        <p:attrNameLst>
                                          <p:attrName>style.visibility</p:attrName>
                                        </p:attrNameLst>
                                      </p:cBhvr>
                                      <p:to>
                                        <p:strVal val="hidden"/>
                                      </p:to>
                                    </p:set>
                                  </p:childTnLst>
                                </p:cTn>
                              </p:par>
                            </p:childTnLst>
                          </p:cTn>
                        </p:par>
                        <p:par>
                          <p:cTn id="8" fill="hold" nodeType="afterGroup">
                            <p:stCondLst>
                              <p:cond delay="2000"/>
                            </p:stCondLst>
                            <p:childTnLst>
                              <p:par>
                                <p:cTn id="9" presetID="10" presetClass="exit" presetSubtype="0" fill="hold" nodeType="afterEffect">
                                  <p:stCondLst>
                                    <p:cond delay="0"/>
                                  </p:stCondLst>
                                  <p:childTnLst>
                                    <p:animEffect transition="out" filter="fade">
                                      <p:cBhvr>
                                        <p:cTn id="10" dur="500"/>
                                        <p:tgtEl>
                                          <p:spTgt spid="4"/>
                                        </p:tgtEl>
                                      </p:cBhvr>
                                    </p:animEffect>
                                    <p:set>
                                      <p:cBhvr>
                                        <p:cTn id="11" dur="1" fill="hold">
                                          <p:stCondLst>
                                            <p:cond delay="499"/>
                                          </p:stCondLst>
                                        </p:cTn>
                                        <p:tgtEl>
                                          <p:spTgt spid="4"/>
                                        </p:tgtEl>
                                        <p:attrNameLst>
                                          <p:attrName>style.visibility</p:attrName>
                                        </p:attrNameLst>
                                      </p:cBhvr>
                                      <p:to>
                                        <p:strVal val="hidden"/>
                                      </p:to>
                                    </p:set>
                                  </p:childTnLst>
                                </p:cTn>
                              </p:par>
                            </p:childTnLst>
                          </p:cTn>
                        </p:par>
                      </p:childTnLst>
                    </p:cTn>
                  </p:par>
                  <p:par>
                    <p:cTn id="12" fill="hold" nodeType="clickPar">
                      <p:stCondLst>
                        <p:cond delay="indefinite"/>
                      </p:stCondLst>
                      <p:childTnLst>
                        <p:par>
                          <p:cTn id="13" fill="hold" nodeType="withGroup">
                            <p:stCondLst>
                              <p:cond delay="0"/>
                            </p:stCondLst>
                            <p:childTnLst>
                              <p:par>
                                <p:cTn id="14" presetID="10" presetClass="exit" presetSubtype="0" fill="hold" nodeType="clickEffect">
                                  <p:stCondLst>
                                    <p:cond delay="0"/>
                                  </p:stCondLst>
                                  <p:childTnLst>
                                    <p:animEffect transition="out" filter="fade">
                                      <p:cBhvr>
                                        <p:cTn id="15" dur="1000"/>
                                        <p:tgtEl>
                                          <p:spTgt spid="6"/>
                                        </p:tgtEl>
                                      </p:cBhvr>
                                    </p:animEffect>
                                    <p:set>
                                      <p:cBhvr>
                                        <p:cTn id="16" dur="1" fill="hold">
                                          <p:stCondLst>
                                            <p:cond delay="999"/>
                                          </p:stCondLst>
                                        </p:cTn>
                                        <p:tgtEl>
                                          <p:spTgt spid="6"/>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0" y="0"/>
            <a:ext cx="9144000" cy="685800"/>
          </a:xfrm>
          <a:prstGeom prst="rect">
            <a:avLst/>
          </a:prstGeom>
          <a:solidFill>
            <a:schemeClr val="bg2">
              <a:lumMod val="9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oAutofit/>
          </a:bodyPr>
          <a:lstStyle>
            <a:lvl1pPr algn="ctr" defTabSz="9144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GB" altLang="en-US" sz="3000" b="1" dirty="0" smtClean="0">
                <a:solidFill>
                  <a:srgbClr val="C0504D"/>
                </a:solidFill>
              </a:rPr>
              <a:t>Areas under focus - Mission </a:t>
            </a:r>
            <a:r>
              <a:rPr lang="en-GB" altLang="en-US" sz="3000" b="1" dirty="0" err="1" smtClean="0">
                <a:solidFill>
                  <a:srgbClr val="C0504D"/>
                </a:solidFill>
              </a:rPr>
              <a:t>Indradhanush</a:t>
            </a:r>
            <a:endParaRPr lang="en-US" sz="3000" b="1" dirty="0">
              <a:solidFill>
                <a:srgbClr val="C0504D"/>
              </a:solidFill>
            </a:endParaRPr>
          </a:p>
        </p:txBody>
      </p:sp>
      <p:sp>
        <p:nvSpPr>
          <p:cNvPr id="3" name="Content Placeholder 2"/>
          <p:cNvSpPr txBox="1">
            <a:spLocks/>
          </p:cNvSpPr>
          <p:nvPr/>
        </p:nvSpPr>
        <p:spPr bwMode="auto">
          <a:xfrm>
            <a:off x="76200" y="609600"/>
            <a:ext cx="8456240" cy="6096000"/>
          </a:xfrm>
          <a:prstGeom prst="rect">
            <a:avLst/>
          </a:prstGeom>
          <a:noFill/>
          <a:ln w="38100">
            <a:noFill/>
            <a:miter lim="800000"/>
            <a:headEnd/>
            <a:tailEnd/>
          </a:ln>
          <a:extLst>
            <a:ext uri="{909E8E84-426E-40DD-AFC4-6F175D3DCCD1}">
              <a14:hiddenFill xmlns:a14="http://schemas.microsoft.com/office/drawing/2010/main">
                <a:solidFill>
                  <a:srgbClr val="FFFFFF"/>
                </a:solidFill>
              </a14:hiddenFill>
            </a:ext>
          </a:extLst>
        </p:spPr>
        <p:txBody>
          <a:bodyPr lIns="91397" tIns="45698" rIns="91397" bIns="45698"/>
          <a:lstStyle>
            <a:lvl1pPr marL="360363" indent="-268288"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92075" indent="0" eaLnBrk="1" hangingPunct="1">
              <a:spcBef>
                <a:spcPct val="20000"/>
              </a:spcBef>
            </a:pPr>
            <a:endParaRPr lang="en-US" dirty="0" smtClean="0">
              <a:solidFill>
                <a:prstClr val="black"/>
              </a:solidFill>
              <a:latin typeface="Calibri"/>
            </a:endParaRPr>
          </a:p>
          <a:p>
            <a:pPr marL="549275" indent="-457200" eaLnBrk="1" hangingPunct="1">
              <a:spcBef>
                <a:spcPct val="20000"/>
              </a:spcBef>
              <a:buFont typeface="+mj-lt"/>
              <a:buAutoNum type="arabicPeriod"/>
            </a:pPr>
            <a:r>
              <a:rPr lang="en-US" sz="2000" dirty="0" smtClean="0">
                <a:solidFill>
                  <a:prstClr val="black"/>
                </a:solidFill>
                <a:latin typeface="Calibri"/>
              </a:rPr>
              <a:t>S1. Settled HRA identified during Polio Campaigns  - Low </a:t>
            </a:r>
            <a:r>
              <a:rPr lang="en-US" sz="2000" dirty="0">
                <a:solidFill>
                  <a:prstClr val="black"/>
                </a:solidFill>
                <a:latin typeface="Calibri"/>
              </a:rPr>
              <a:t>Coverage Area –  (Due to large population/ high </a:t>
            </a:r>
            <a:r>
              <a:rPr lang="en-US" sz="2000" dirty="0" smtClean="0">
                <a:solidFill>
                  <a:prstClr val="black"/>
                </a:solidFill>
                <a:latin typeface="Calibri"/>
              </a:rPr>
              <a:t>workload)Small  </a:t>
            </a:r>
            <a:r>
              <a:rPr lang="en-US" sz="2000" dirty="0">
                <a:solidFill>
                  <a:prstClr val="black"/>
                </a:solidFill>
                <a:latin typeface="Calibri"/>
              </a:rPr>
              <a:t>villages, hamlets, </a:t>
            </a:r>
            <a:r>
              <a:rPr lang="en-US" sz="2000" dirty="0" err="1">
                <a:solidFill>
                  <a:prstClr val="black"/>
                </a:solidFill>
                <a:latin typeface="Calibri"/>
              </a:rPr>
              <a:t>tandas</a:t>
            </a:r>
            <a:r>
              <a:rPr lang="en-US" sz="2000" dirty="0">
                <a:solidFill>
                  <a:prstClr val="black"/>
                </a:solidFill>
                <a:latin typeface="Calibri"/>
              </a:rPr>
              <a:t>, field huts etc. clubbed/tagged with another village for RI sessions and not having independent RI sessions</a:t>
            </a:r>
          </a:p>
          <a:p>
            <a:pPr marL="549275" indent="-457200" eaLnBrk="1" hangingPunct="1">
              <a:spcBef>
                <a:spcPct val="20000"/>
              </a:spcBef>
              <a:buFont typeface="+mj-lt"/>
              <a:buAutoNum type="arabicPeriod"/>
            </a:pPr>
            <a:r>
              <a:rPr lang="en-US" sz="2000" dirty="0" smtClean="0">
                <a:solidFill>
                  <a:prstClr val="black"/>
                </a:solidFill>
                <a:latin typeface="Calibri"/>
              </a:rPr>
              <a:t> S2: Areas with vacant sub-centers and temporary vacant sub </a:t>
            </a:r>
            <a:r>
              <a:rPr lang="en-US" sz="2000" dirty="0" err="1" smtClean="0">
                <a:solidFill>
                  <a:prstClr val="black"/>
                </a:solidFill>
                <a:latin typeface="Calibri"/>
              </a:rPr>
              <a:t>centres</a:t>
            </a:r>
            <a:r>
              <a:rPr lang="en-US" sz="2000" dirty="0" smtClean="0">
                <a:solidFill>
                  <a:prstClr val="black"/>
                </a:solidFill>
                <a:latin typeface="Calibri"/>
              </a:rPr>
              <a:t> (areas with last three RI sessions not held: JHA(F) on long leave/ other reason)</a:t>
            </a:r>
          </a:p>
          <a:p>
            <a:pPr marL="549275" indent="-457200" eaLnBrk="1" hangingPunct="1">
              <a:spcBef>
                <a:spcPct val="20000"/>
              </a:spcBef>
              <a:buFont typeface="+mj-lt"/>
              <a:buAutoNum type="arabicPeriod"/>
            </a:pPr>
            <a:r>
              <a:rPr lang="en-US" sz="2000" dirty="0" smtClean="0">
                <a:solidFill>
                  <a:prstClr val="black"/>
                </a:solidFill>
                <a:latin typeface="Calibri"/>
              </a:rPr>
              <a:t>S3. Areas with Measles outbreaks or cases of Diphtheria/ Neonatal Tetanus in last two years</a:t>
            </a:r>
          </a:p>
          <a:p>
            <a:pPr marL="549275" indent="-457200" eaLnBrk="1" hangingPunct="1">
              <a:spcBef>
                <a:spcPct val="20000"/>
              </a:spcBef>
              <a:buFont typeface="+mj-lt"/>
              <a:buAutoNum type="arabicPeriod"/>
            </a:pPr>
            <a:r>
              <a:rPr lang="en-US" sz="2000" dirty="0" smtClean="0">
                <a:solidFill>
                  <a:prstClr val="black"/>
                </a:solidFill>
                <a:latin typeface="Calibri"/>
              </a:rPr>
              <a:t>Migrant population areas identified during Polio campaigns:</a:t>
            </a:r>
          </a:p>
          <a:p>
            <a:pPr marL="1331912" lvl="2" indent="-457200" eaLnBrk="1" hangingPunct="1">
              <a:spcBef>
                <a:spcPct val="20000"/>
              </a:spcBef>
            </a:pPr>
            <a:r>
              <a:rPr lang="en-US" sz="2000" dirty="0" smtClean="0">
                <a:solidFill>
                  <a:prstClr val="black"/>
                </a:solidFill>
                <a:latin typeface="Calibri"/>
              </a:rPr>
              <a:t>M-1 (Slum with Migration)</a:t>
            </a:r>
          </a:p>
          <a:p>
            <a:pPr marL="1331912" lvl="2" indent="-457200" eaLnBrk="1" hangingPunct="1">
              <a:spcBef>
                <a:spcPct val="20000"/>
              </a:spcBef>
            </a:pPr>
            <a:r>
              <a:rPr lang="en-US" sz="2000" dirty="0" smtClean="0">
                <a:solidFill>
                  <a:prstClr val="black"/>
                </a:solidFill>
                <a:latin typeface="Calibri"/>
              </a:rPr>
              <a:t>M-2 (Nomads)</a:t>
            </a:r>
          </a:p>
          <a:p>
            <a:pPr marL="1331912" lvl="2" indent="-457200" eaLnBrk="1" hangingPunct="1">
              <a:spcBef>
                <a:spcPct val="20000"/>
              </a:spcBef>
            </a:pPr>
            <a:r>
              <a:rPr lang="en-US" sz="2000" dirty="0" smtClean="0">
                <a:solidFill>
                  <a:prstClr val="black"/>
                </a:solidFill>
                <a:latin typeface="Calibri"/>
              </a:rPr>
              <a:t>M-3(Brick Kilns)</a:t>
            </a:r>
          </a:p>
          <a:p>
            <a:pPr marL="1331912" lvl="2" indent="-457200" eaLnBrk="1" hangingPunct="1">
              <a:spcBef>
                <a:spcPct val="20000"/>
              </a:spcBef>
            </a:pPr>
            <a:r>
              <a:rPr lang="en-US" sz="2000" dirty="0" smtClean="0">
                <a:solidFill>
                  <a:prstClr val="black"/>
                </a:solidFill>
                <a:latin typeface="Calibri"/>
              </a:rPr>
              <a:t>M-4 (Construction Sites)</a:t>
            </a:r>
          </a:p>
          <a:p>
            <a:pPr marL="1331912" lvl="2" indent="-457200" eaLnBrk="1" hangingPunct="1">
              <a:spcBef>
                <a:spcPct val="20000"/>
              </a:spcBef>
            </a:pPr>
            <a:r>
              <a:rPr lang="en-US" sz="2000" dirty="0" smtClean="0">
                <a:solidFill>
                  <a:prstClr val="black"/>
                </a:solidFill>
                <a:latin typeface="Calibri"/>
              </a:rPr>
              <a:t>M-5 (Others)</a:t>
            </a:r>
          </a:p>
          <a:p>
            <a:pPr marL="1331912" lvl="2" indent="-457200" eaLnBrk="1" hangingPunct="1">
              <a:spcBef>
                <a:spcPct val="20000"/>
              </a:spcBef>
            </a:pPr>
            <a:endParaRPr lang="en-US" sz="2000" dirty="0" smtClean="0">
              <a:solidFill>
                <a:prstClr val="black"/>
              </a:solidFill>
              <a:latin typeface="Calibri"/>
            </a:endParaRPr>
          </a:p>
          <a:p>
            <a:pPr marL="92075" indent="0" eaLnBrk="1" hangingPunct="1">
              <a:spcBef>
                <a:spcPct val="20000"/>
              </a:spcBef>
            </a:pPr>
            <a:endParaRPr lang="en-US" sz="2000" dirty="0">
              <a:solidFill>
                <a:prstClr val="black"/>
              </a:solidFill>
              <a:latin typeface="Calibri"/>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20000" y="5943600"/>
            <a:ext cx="1447800" cy="8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3864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274638"/>
            <a:ext cx="7620000" cy="715962"/>
          </a:xfrm>
        </p:spPr>
        <p:txBody>
          <a:bodyPr/>
          <a:lstStyle/>
          <a:p>
            <a:r>
              <a:rPr lang="en-US" sz="4000" dirty="0"/>
              <a:t>Strategy for Mission Indradhanush </a:t>
            </a:r>
          </a:p>
        </p:txBody>
      </p:sp>
      <p:sp>
        <p:nvSpPr>
          <p:cNvPr id="3" name="Content Placeholder 2"/>
          <p:cNvSpPr>
            <a:spLocks noGrp="1"/>
          </p:cNvSpPr>
          <p:nvPr>
            <p:ph idx="1"/>
          </p:nvPr>
        </p:nvSpPr>
        <p:spPr>
          <a:xfrm>
            <a:off x="457200" y="1143000"/>
            <a:ext cx="7620000" cy="5257800"/>
          </a:xfrm>
        </p:spPr>
        <p:txBody>
          <a:bodyPr>
            <a:normAutofit fontScale="77500" lnSpcReduction="20000"/>
          </a:bodyPr>
          <a:lstStyle/>
          <a:p>
            <a:pPr lvl="0"/>
            <a:r>
              <a:rPr lang="en-US" b="1" dirty="0" smtClean="0"/>
              <a:t>4 intensified RI drives in 4 successive months:</a:t>
            </a:r>
            <a:r>
              <a:rPr lang="en-US" dirty="0" smtClean="0"/>
              <a:t> </a:t>
            </a:r>
          </a:p>
          <a:p>
            <a:pPr lvl="1"/>
            <a:r>
              <a:rPr lang="en-US" i="1" dirty="0"/>
              <a:t>Each </a:t>
            </a:r>
            <a:r>
              <a:rPr lang="en-US" i="1" dirty="0" smtClean="0"/>
              <a:t>drive will </a:t>
            </a:r>
            <a:r>
              <a:rPr lang="en-US" i="1" dirty="0"/>
              <a:t>begin on </a:t>
            </a:r>
            <a:r>
              <a:rPr lang="en-US" b="1" i="1" dirty="0" smtClean="0"/>
              <a:t>07th of the month </a:t>
            </a:r>
            <a:r>
              <a:rPr lang="en-US" i="1" dirty="0"/>
              <a:t>and will last for </a:t>
            </a:r>
            <a:r>
              <a:rPr lang="en-US" i="1" dirty="0" smtClean="0"/>
              <a:t>up-to </a:t>
            </a:r>
            <a:r>
              <a:rPr lang="en-US" i="1" dirty="0"/>
              <a:t>seven </a:t>
            </a:r>
            <a:r>
              <a:rPr lang="en-US" i="1" dirty="0" smtClean="0"/>
              <a:t>working days </a:t>
            </a:r>
            <a:r>
              <a:rPr lang="en-US" i="1" dirty="0"/>
              <a:t>(based </a:t>
            </a:r>
            <a:r>
              <a:rPr lang="en-US" i="1" dirty="0" smtClean="0"/>
              <a:t>on the actual </a:t>
            </a:r>
            <a:r>
              <a:rPr lang="en-US" i="1" dirty="0"/>
              <a:t>need).</a:t>
            </a:r>
            <a:endParaRPr lang="en-US" dirty="0"/>
          </a:p>
          <a:p>
            <a:endParaRPr lang="en-US" b="1" dirty="0" smtClean="0"/>
          </a:p>
          <a:p>
            <a:r>
              <a:rPr lang="en-US" b="1" dirty="0" smtClean="0"/>
              <a:t>Targeted </a:t>
            </a:r>
            <a:r>
              <a:rPr lang="en-US" b="1" dirty="0"/>
              <a:t>beneficiaries: </a:t>
            </a:r>
          </a:p>
          <a:p>
            <a:pPr lvl="1"/>
            <a:r>
              <a:rPr lang="en-US" i="1" dirty="0" smtClean="0"/>
              <a:t>Pregnant women and </a:t>
            </a:r>
            <a:r>
              <a:rPr lang="en-US" i="1" dirty="0"/>
              <a:t>Children under two years of age </a:t>
            </a:r>
            <a:r>
              <a:rPr lang="en-US" i="1" dirty="0" smtClean="0"/>
              <a:t>who have missed Routine Immunization doses</a:t>
            </a:r>
          </a:p>
          <a:p>
            <a:pPr lvl="1"/>
            <a:r>
              <a:rPr lang="en-US" i="1" dirty="0" smtClean="0"/>
              <a:t>Children </a:t>
            </a:r>
            <a:r>
              <a:rPr lang="en-US" i="1" dirty="0"/>
              <a:t>above two years of age seeking vaccination </a:t>
            </a:r>
            <a:r>
              <a:rPr lang="en-US" i="1" dirty="0" smtClean="0"/>
              <a:t>services at </a:t>
            </a:r>
            <a:r>
              <a:rPr lang="en-US" i="1" dirty="0"/>
              <a:t>any </a:t>
            </a:r>
            <a:r>
              <a:rPr lang="en-US" i="1" dirty="0" err="1"/>
              <a:t>Indradhanush</a:t>
            </a:r>
            <a:r>
              <a:rPr lang="en-US" i="1" dirty="0"/>
              <a:t> </a:t>
            </a:r>
            <a:r>
              <a:rPr lang="en-US" i="1" dirty="0" smtClean="0"/>
              <a:t>Vaccination Centre (IVC) will </a:t>
            </a:r>
            <a:r>
              <a:rPr lang="en-US" i="1" dirty="0"/>
              <a:t>not be denied </a:t>
            </a:r>
            <a:r>
              <a:rPr lang="en-US" i="1" dirty="0" smtClean="0"/>
              <a:t>services</a:t>
            </a:r>
          </a:p>
          <a:p>
            <a:pPr lvl="1"/>
            <a:endParaRPr lang="en-US" i="1" dirty="0" smtClean="0"/>
          </a:p>
          <a:p>
            <a:r>
              <a:rPr lang="en-US" b="1" dirty="0" smtClean="0"/>
              <a:t>Routine immunization system strengthening: </a:t>
            </a:r>
            <a:endParaRPr lang="en-US" b="1" dirty="0"/>
          </a:p>
          <a:p>
            <a:pPr lvl="1"/>
            <a:r>
              <a:rPr lang="en-US" i="1" dirty="0" smtClean="0"/>
              <a:t>Try to Include areas identified for Mission Indradhanush in </a:t>
            </a:r>
            <a:r>
              <a:rPr lang="en-US" i="1" dirty="0"/>
              <a:t>regular RI </a:t>
            </a:r>
            <a:r>
              <a:rPr lang="en-US" i="1" dirty="0" smtClean="0"/>
              <a:t>plans</a:t>
            </a:r>
          </a:p>
          <a:p>
            <a:pPr lvl="1"/>
            <a:r>
              <a:rPr lang="en-US" i="1" dirty="0" smtClean="0"/>
              <a:t>RI sessions on other days of the week other than Thursday to focus on areas identified for </a:t>
            </a:r>
            <a:r>
              <a:rPr lang="en-US" i="1" dirty="0" err="1" smtClean="0"/>
              <a:t>Indradhanush</a:t>
            </a:r>
            <a:endParaRPr lang="en-US" i="1" dirty="0" smtClean="0"/>
          </a:p>
          <a:p>
            <a:pPr lvl="1"/>
            <a:endParaRPr lang="en-US" dirty="0"/>
          </a:p>
          <a:p>
            <a:endParaRPr lang="en-US" dirty="0"/>
          </a:p>
        </p:txBody>
      </p:sp>
    </p:spTree>
    <p:extLst>
      <p:ext uri="{BB962C8B-B14F-4D97-AF65-F5344CB8AC3E}">
        <p14:creationId xmlns:p14="http://schemas.microsoft.com/office/powerpoint/2010/main" val="32411357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3804" y="5076042"/>
            <a:ext cx="9144000" cy="1815882"/>
          </a:xfrm>
          <a:prstGeom prst="rect">
            <a:avLst/>
          </a:prstGeom>
          <a:solidFill>
            <a:schemeClr val="tx2">
              <a:lumMod val="75000"/>
            </a:schemeClr>
          </a:solidFill>
        </p:spPr>
        <p:txBody>
          <a:bodyPr wrap="square" rtlCol="0">
            <a:spAutoFit/>
          </a:bodyPr>
          <a:lstStyle/>
          <a:p>
            <a:r>
              <a:rPr lang="en-IN" sz="2800" b="1" dirty="0" smtClean="0">
                <a:solidFill>
                  <a:prstClr val="white"/>
                </a:solidFill>
              </a:rPr>
              <a:t>Mission Indradhanush was launched by Hon’ble Health Minister and Medical Education Minister on April 7</a:t>
            </a:r>
            <a:r>
              <a:rPr lang="en-IN" sz="2800" b="1" baseline="30000" dirty="0" smtClean="0">
                <a:solidFill>
                  <a:prstClr val="white"/>
                </a:solidFill>
              </a:rPr>
              <a:t>th</a:t>
            </a:r>
            <a:r>
              <a:rPr lang="en-IN" sz="2800" b="1" dirty="0" smtClean="0">
                <a:solidFill>
                  <a:prstClr val="white"/>
                </a:solidFill>
              </a:rPr>
              <a:t> the World Health Day at the historic Vidhan Soudha Banquet hall - Karnataka </a:t>
            </a:r>
            <a:endParaRPr lang="en-IN" sz="2800" b="1" dirty="0">
              <a:solidFill>
                <a:prstClr val="white"/>
              </a:solidFill>
            </a:endParaRPr>
          </a:p>
        </p:txBody>
      </p:sp>
    </p:spTree>
    <p:extLst>
      <p:ext uri="{BB962C8B-B14F-4D97-AF65-F5344CB8AC3E}">
        <p14:creationId xmlns:p14="http://schemas.microsoft.com/office/powerpoint/2010/main" val="24174784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0" y="0"/>
            <a:ext cx="9144000" cy="584775"/>
          </a:xfrm>
          <a:prstGeom prst="rect">
            <a:avLst/>
          </a:prstGeom>
          <a:solidFill>
            <a:srgbClr val="00B0F0"/>
          </a:solidFill>
        </p:spPr>
        <p:txBody>
          <a:bodyPr wrap="square" rtlCol="0">
            <a:spAutoFit/>
          </a:bodyPr>
          <a:lstStyle/>
          <a:p>
            <a:pPr algn="ctr"/>
            <a:r>
              <a:rPr lang="en-IN" sz="3200" b="1" dirty="0" smtClean="0">
                <a:solidFill>
                  <a:prstClr val="white"/>
                </a:solidFill>
                <a:latin typeface="Lucida Sans" panose="020B0602030504020204" pitchFamily="34" charset="0"/>
              </a:rPr>
              <a:t>Release of Posters and other IEC material</a:t>
            </a:r>
            <a:endParaRPr lang="en-IN" sz="3200" b="1" dirty="0">
              <a:solidFill>
                <a:prstClr val="white"/>
              </a:solidFill>
              <a:latin typeface="Lucida Sans" panose="020B0602030504020204" pitchFamily="34" charset="0"/>
            </a:endParaRPr>
          </a:p>
        </p:txBody>
      </p:sp>
    </p:spTree>
    <p:extLst>
      <p:ext uri="{BB962C8B-B14F-4D97-AF65-F5344CB8AC3E}">
        <p14:creationId xmlns:p14="http://schemas.microsoft.com/office/powerpoint/2010/main" val="7580291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527126" y="0"/>
            <a:ext cx="4616874" cy="3408396"/>
          </a:xfr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4716016" cy="3429000"/>
          </a:xfrm>
          <a:prstGeom prst="rect">
            <a:avLst/>
          </a:prstGeom>
        </p:spPr>
      </p:pic>
      <p:sp>
        <p:nvSpPr>
          <p:cNvPr id="9" name="TextBox 8"/>
          <p:cNvSpPr txBox="1"/>
          <p:nvPr/>
        </p:nvSpPr>
        <p:spPr>
          <a:xfrm>
            <a:off x="259926" y="4495800"/>
            <a:ext cx="8534400" cy="1077218"/>
          </a:xfrm>
          <a:prstGeom prst="rect">
            <a:avLst/>
          </a:prstGeom>
          <a:solidFill>
            <a:srgbClr val="3399FF"/>
          </a:solidFill>
        </p:spPr>
        <p:txBody>
          <a:bodyPr wrap="square" rtlCol="0">
            <a:spAutoFit/>
          </a:bodyPr>
          <a:lstStyle/>
          <a:p>
            <a:pPr algn="ctr"/>
            <a:r>
              <a:rPr lang="en-IN" sz="3200" dirty="0" smtClean="0">
                <a:solidFill>
                  <a:prstClr val="white"/>
                </a:solidFill>
                <a:latin typeface="Lucida Sans" panose="020B0602030504020204" pitchFamily="34" charset="0"/>
              </a:rPr>
              <a:t>Principal Secretary and Commissioner lead from the front &amp; motivated the team</a:t>
            </a:r>
          </a:p>
        </p:txBody>
      </p:sp>
    </p:spTree>
    <p:extLst>
      <p:ext uri="{BB962C8B-B14F-4D97-AF65-F5344CB8AC3E}">
        <p14:creationId xmlns:p14="http://schemas.microsoft.com/office/powerpoint/2010/main" val="212705179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Dr.R.S.Sreedhar\Desktop\IMG-20150318-WA002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48200" y="0"/>
            <a:ext cx="4563034" cy="33909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Dr.R.S.Sreedhar\Desktop\IMG-20150606-WA000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3429000"/>
            <a:ext cx="4572000" cy="3429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Dr.R.S.Sreedhar\Desktop\IMG-20150428-WA001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8200" y="3390900"/>
            <a:ext cx="4622800" cy="34671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Placeholder 3"/>
          <p:cNvPicPr>
            <a:picLocks noGrp="1" noChangeAspect="1"/>
          </p:cNvPicPr>
          <p:nvPr>
            <p:ph type="pic" idx="1"/>
          </p:nvPr>
        </p:nvPicPr>
        <p:blipFill>
          <a:blip r:embed="rId5" cstate="print">
            <a:extLst>
              <a:ext uri="{28A0092B-C50C-407E-A947-70E740481C1C}">
                <a14:useLocalDpi xmlns:a14="http://schemas.microsoft.com/office/drawing/2010/main" val="0"/>
              </a:ext>
            </a:extLst>
          </a:blip>
          <a:srcRect/>
          <a:stretch>
            <a:fillRect/>
          </a:stretch>
        </p:blipFill>
        <p:spPr>
          <a:xfrm>
            <a:off x="-25309" y="10019"/>
            <a:ext cx="4715073" cy="3536305"/>
          </a:xfrm>
        </p:spPr>
      </p:pic>
      <p:sp>
        <p:nvSpPr>
          <p:cNvPr id="6" name="TextBox 5"/>
          <p:cNvSpPr txBox="1"/>
          <p:nvPr/>
        </p:nvSpPr>
        <p:spPr>
          <a:xfrm>
            <a:off x="0" y="2708920"/>
            <a:ext cx="9271000" cy="954107"/>
          </a:xfrm>
          <a:prstGeom prst="rect">
            <a:avLst/>
          </a:prstGeom>
          <a:solidFill>
            <a:srgbClr val="3399FF"/>
          </a:solidFill>
        </p:spPr>
        <p:txBody>
          <a:bodyPr wrap="square" rtlCol="0">
            <a:spAutoFit/>
          </a:bodyPr>
          <a:lstStyle/>
          <a:p>
            <a:pPr algn="ctr"/>
            <a:r>
              <a:rPr lang="en-IN" sz="2800" b="1" dirty="0" smtClean="0">
                <a:solidFill>
                  <a:prstClr val="white"/>
                </a:solidFill>
                <a:latin typeface="Lucida Sans" panose="020B0602030504020204" pitchFamily="34" charset="0"/>
              </a:rPr>
              <a:t>Strong ownership by District DCs, CEOs and Taluk level officials in all the districts</a:t>
            </a:r>
            <a:endParaRPr lang="en-IN" sz="2800" b="1" dirty="0">
              <a:solidFill>
                <a:prstClr val="white"/>
              </a:solidFill>
              <a:latin typeface="Lucida Sans" panose="020B0602030504020204" pitchFamily="34" charset="0"/>
            </a:endParaRPr>
          </a:p>
        </p:txBody>
      </p:sp>
    </p:spTree>
    <p:extLst>
      <p:ext uri="{BB962C8B-B14F-4D97-AF65-F5344CB8AC3E}">
        <p14:creationId xmlns:p14="http://schemas.microsoft.com/office/powerpoint/2010/main" val="38458419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55" y="0"/>
            <a:ext cx="4967181" cy="3725386"/>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7536" y="-17512"/>
            <a:ext cx="4435413" cy="3008002"/>
          </a:xfrm>
          <a:prstGeom prst="rect">
            <a:avLst/>
          </a:prstGeom>
        </p:spPr>
      </p:pic>
      <p:pic>
        <p:nvPicPr>
          <p:cNvPr id="6" name="Picture 6" descr="C:\Users\Dr.R.S.Sreedhar\Desktop\IMG-20150609-WA003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3410775"/>
            <a:ext cx="4967536" cy="3429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7537" y="2852936"/>
            <a:ext cx="4176463" cy="4923656"/>
          </a:xfrm>
          <a:prstGeom prst="rect">
            <a:avLst/>
          </a:prstGeom>
        </p:spPr>
      </p:pic>
      <p:sp>
        <p:nvSpPr>
          <p:cNvPr id="8" name="TextBox 7"/>
          <p:cNvSpPr txBox="1"/>
          <p:nvPr/>
        </p:nvSpPr>
        <p:spPr>
          <a:xfrm>
            <a:off x="0" y="2990490"/>
            <a:ext cx="9143999" cy="646331"/>
          </a:xfrm>
          <a:prstGeom prst="rect">
            <a:avLst/>
          </a:prstGeom>
          <a:solidFill>
            <a:srgbClr val="3399FF"/>
          </a:solidFill>
        </p:spPr>
        <p:txBody>
          <a:bodyPr wrap="square" rtlCol="0">
            <a:spAutoFit/>
          </a:bodyPr>
          <a:lstStyle/>
          <a:p>
            <a:pPr algn="ctr"/>
            <a:r>
              <a:rPr lang="en-IN" sz="3600" b="1" dirty="0" smtClean="0">
                <a:solidFill>
                  <a:prstClr val="white"/>
                </a:solidFill>
              </a:rPr>
              <a:t>Extensive IEC efforts for MI  </a:t>
            </a:r>
            <a:endParaRPr lang="en-IN" sz="3600" b="1" dirty="0">
              <a:solidFill>
                <a:prstClr val="white"/>
              </a:solidFill>
            </a:endParaRPr>
          </a:p>
        </p:txBody>
      </p:sp>
    </p:spTree>
    <p:extLst>
      <p:ext uri="{BB962C8B-B14F-4D97-AF65-F5344CB8AC3E}">
        <p14:creationId xmlns:p14="http://schemas.microsoft.com/office/powerpoint/2010/main" val="39613972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5111552" cy="3833664"/>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3227737"/>
            <a:ext cx="5111554" cy="3648666"/>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11553" y="18403"/>
            <a:ext cx="4032447" cy="6858000"/>
          </a:xfrm>
          <a:prstGeom prst="rect">
            <a:avLst/>
          </a:prstGeom>
        </p:spPr>
      </p:pic>
      <p:sp>
        <p:nvSpPr>
          <p:cNvPr id="9" name="TextBox 8"/>
          <p:cNvSpPr txBox="1"/>
          <p:nvPr/>
        </p:nvSpPr>
        <p:spPr>
          <a:xfrm>
            <a:off x="1" y="2447129"/>
            <a:ext cx="9143999" cy="2369880"/>
          </a:xfrm>
          <a:prstGeom prst="rect">
            <a:avLst/>
          </a:prstGeom>
          <a:solidFill>
            <a:schemeClr val="accent3"/>
          </a:solidFill>
        </p:spPr>
        <p:txBody>
          <a:bodyPr wrap="square" rtlCol="0">
            <a:spAutoFit/>
          </a:bodyPr>
          <a:lstStyle/>
          <a:p>
            <a:r>
              <a:rPr lang="en-IN" sz="2400" b="1" dirty="0" smtClean="0">
                <a:solidFill>
                  <a:prstClr val="black"/>
                </a:solidFill>
                <a:latin typeface="Lucida Sans" panose="020B0602030504020204" pitchFamily="34" charset="0"/>
              </a:rPr>
              <a:t>RI Sessions held </a:t>
            </a:r>
            <a:r>
              <a:rPr lang="en-IN" sz="2800" b="1" u="sng" dirty="0" smtClean="0">
                <a:solidFill>
                  <a:prstClr val="black"/>
                </a:solidFill>
                <a:latin typeface="Lucida Sans" panose="020B0602030504020204" pitchFamily="34" charset="0"/>
              </a:rPr>
              <a:t>beyond</a:t>
            </a:r>
            <a:r>
              <a:rPr lang="en-IN" sz="2400" b="1" dirty="0" smtClean="0">
                <a:solidFill>
                  <a:prstClr val="black"/>
                </a:solidFill>
                <a:latin typeface="Lucida Sans" panose="020B0602030504020204" pitchFamily="34" charset="0"/>
              </a:rPr>
              <a:t> the PHC, Health Sub Centre and Anganwadi centres….close to the community</a:t>
            </a:r>
          </a:p>
          <a:p>
            <a:endParaRPr lang="en-IN" sz="2400" b="1" dirty="0" smtClean="0">
              <a:solidFill>
                <a:prstClr val="black"/>
              </a:solidFill>
              <a:latin typeface="Lucida Sans" panose="020B0602030504020204" pitchFamily="34" charset="0"/>
            </a:endParaRPr>
          </a:p>
          <a:p>
            <a:r>
              <a:rPr lang="en-IN" sz="2400" b="1" dirty="0" smtClean="0">
                <a:solidFill>
                  <a:prstClr val="black"/>
                </a:solidFill>
                <a:latin typeface="Lucida Sans" panose="020B0602030504020204" pitchFamily="34" charset="0"/>
              </a:rPr>
              <a:t>AND Intense monitoring  of the MI campaign by GoI, State nodal officers, WHO NPSP officers and External monitors</a:t>
            </a:r>
            <a:endParaRPr lang="en-IN" sz="2400" b="1" dirty="0">
              <a:solidFill>
                <a:prstClr val="black"/>
              </a:solidFill>
              <a:latin typeface="Lucida Sans" panose="020B0602030504020204" pitchFamily="34" charset="0"/>
            </a:endParaRPr>
          </a:p>
        </p:txBody>
      </p:sp>
    </p:spTree>
    <p:extLst>
      <p:ext uri="{BB962C8B-B14F-4D97-AF65-F5344CB8AC3E}">
        <p14:creationId xmlns:p14="http://schemas.microsoft.com/office/powerpoint/2010/main" val="36653097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IN" dirty="0" smtClean="0"/>
              <a:t>The out come of Phase 1 </a:t>
            </a:r>
            <a:br>
              <a:rPr lang="en-IN" dirty="0" smtClean="0"/>
            </a:br>
            <a:r>
              <a:rPr lang="en-IN" dirty="0" smtClean="0"/>
              <a:t>April to July 2015</a:t>
            </a:r>
            <a:endParaRPr lang="en-IN" dirty="0"/>
          </a:p>
        </p:txBody>
      </p:sp>
      <p:sp>
        <p:nvSpPr>
          <p:cNvPr id="3" name="Content Placeholder 2"/>
          <p:cNvSpPr>
            <a:spLocks noGrp="1"/>
          </p:cNvSpPr>
          <p:nvPr>
            <p:ph idx="1"/>
          </p:nvPr>
        </p:nvSpPr>
        <p:spPr/>
        <p:txBody>
          <a:bodyPr>
            <a:normAutofit lnSpcReduction="10000"/>
          </a:bodyPr>
          <a:lstStyle/>
          <a:p>
            <a:r>
              <a:rPr lang="en-IN" sz="2400" dirty="0" smtClean="0"/>
              <a:t>About 38,395 children fully immunized with first year’s doses of all vaccines</a:t>
            </a:r>
          </a:p>
          <a:p>
            <a:r>
              <a:rPr lang="en-IN" sz="2400" dirty="0" smtClean="0"/>
              <a:t>More than 33,300 children completed second year booster doses</a:t>
            </a:r>
          </a:p>
          <a:p>
            <a:r>
              <a:rPr lang="en-IN" sz="2400" dirty="0" smtClean="0"/>
              <a:t>About 5% children received vaccine for the first time in their life…..</a:t>
            </a:r>
          </a:p>
          <a:p>
            <a:r>
              <a:rPr lang="en-IN" sz="2400" dirty="0" smtClean="0"/>
              <a:t>Quality of sessions, parent’s awareness improved from round to round</a:t>
            </a:r>
          </a:p>
          <a:p>
            <a:r>
              <a:rPr lang="en-IN" sz="2400" dirty="0" smtClean="0"/>
              <a:t>The campaign extended for 3 more months from August to October in all the six districts at State’s own initiative. </a:t>
            </a:r>
          </a:p>
          <a:p>
            <a:r>
              <a:rPr lang="en-IN" sz="2400" dirty="0" smtClean="0"/>
              <a:t>10,000 more children have been Fully immunized (Total 48000 children immunized) till now in the six districts</a:t>
            </a:r>
            <a:endParaRPr lang="en-IN" sz="2400" dirty="0"/>
          </a:p>
        </p:txBody>
      </p:sp>
    </p:spTree>
    <p:extLst>
      <p:ext uri="{BB962C8B-B14F-4D97-AF65-F5344CB8AC3E}">
        <p14:creationId xmlns:p14="http://schemas.microsoft.com/office/powerpoint/2010/main" val="297323735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ctrTitle"/>
          </p:nvPr>
        </p:nvSpPr>
        <p:spPr>
          <a:xfrm>
            <a:off x="0" y="2354263"/>
            <a:ext cx="9143999" cy="1578793"/>
          </a:xfrm>
          <a:solidFill>
            <a:srgbClr val="7030A0"/>
          </a:solidFill>
        </p:spPr>
        <p:txBody>
          <a:bodyPr/>
          <a:lstStyle/>
          <a:p>
            <a:pPr eaLnBrk="1" hangingPunct="1"/>
            <a:r>
              <a:rPr lang="en-US" altLang="en-US" b="1" dirty="0" smtClean="0">
                <a:solidFill>
                  <a:schemeClr val="bg1"/>
                </a:solidFill>
              </a:rPr>
              <a:t>Polio Endgame</a:t>
            </a:r>
            <a:endParaRPr lang="en-US" altLang="en-US" b="1" dirty="0" smtClean="0">
              <a:solidFill>
                <a:schemeClr val="bg1"/>
              </a:solidFill>
            </a:endParaRPr>
          </a:p>
        </p:txBody>
      </p:sp>
    </p:spTree>
    <p:extLst>
      <p:ext uri="{BB962C8B-B14F-4D97-AF65-F5344CB8AC3E}">
        <p14:creationId xmlns:p14="http://schemas.microsoft.com/office/powerpoint/2010/main" val="17704570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0" name="Text Box 750"/>
          <p:cNvSpPr txBox="1">
            <a:spLocks noChangeArrowheads="1"/>
          </p:cNvSpPr>
          <p:nvPr/>
        </p:nvSpPr>
        <p:spPr bwMode="auto">
          <a:xfrm>
            <a:off x="1381491" y="1740002"/>
            <a:ext cx="2127006" cy="660565"/>
          </a:xfrm>
          <a:prstGeom prst="rect">
            <a:avLst/>
          </a:prstGeom>
          <a:solidFill>
            <a:srgbClr val="000000"/>
          </a:solidFill>
          <a:ln w="2857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3980" eaLnBrk="1" fontAlgn="base" hangingPunct="1">
              <a:lnSpc>
                <a:spcPct val="125000"/>
              </a:lnSpc>
              <a:spcBef>
                <a:spcPct val="0"/>
              </a:spcBef>
              <a:spcAft>
                <a:spcPct val="0"/>
              </a:spcAft>
              <a:defRPr/>
            </a:pPr>
            <a:r>
              <a:rPr lang="en-US" sz="1477" b="1" kern="0" dirty="0">
                <a:solidFill>
                  <a:srgbClr val="FFFFFF"/>
                </a:solidFill>
              </a:rPr>
              <a:t>125 Polio Endemic countries </a:t>
            </a:r>
          </a:p>
        </p:txBody>
      </p:sp>
      <p:sp>
        <p:nvSpPr>
          <p:cNvPr id="1131" name="Text Box 750"/>
          <p:cNvSpPr txBox="1">
            <a:spLocks noChangeArrowheads="1"/>
          </p:cNvSpPr>
          <p:nvPr/>
        </p:nvSpPr>
        <p:spPr bwMode="auto">
          <a:xfrm>
            <a:off x="1381491" y="1210333"/>
            <a:ext cx="2127006" cy="1228798"/>
          </a:xfrm>
          <a:prstGeom prst="rect">
            <a:avLst/>
          </a:prstGeom>
          <a:solidFill>
            <a:srgbClr val="000000"/>
          </a:solidFill>
          <a:ln w="28575">
            <a:solidFill>
              <a:srgbClr val="000000"/>
            </a:solidFill>
            <a:miter lim="800000"/>
            <a:headEnd/>
            <a:tailEnd/>
          </a:ln>
          <a:effectLs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3980" eaLnBrk="1" fontAlgn="base" hangingPunct="1">
              <a:lnSpc>
                <a:spcPct val="125000"/>
              </a:lnSpc>
              <a:spcBef>
                <a:spcPct val="0"/>
              </a:spcBef>
              <a:spcAft>
                <a:spcPct val="0"/>
              </a:spcAft>
              <a:defRPr/>
            </a:pPr>
            <a:r>
              <a:rPr lang="en-US" sz="1477" b="1" kern="0" dirty="0">
                <a:solidFill>
                  <a:srgbClr val="000000"/>
                </a:solidFill>
              </a:rPr>
              <a:t>125 Polio Endemic countries </a:t>
            </a:r>
          </a:p>
          <a:p>
            <a:pPr algn="ctr" defTabSz="913980" eaLnBrk="1" fontAlgn="base" hangingPunct="1">
              <a:lnSpc>
                <a:spcPct val="125000"/>
              </a:lnSpc>
              <a:spcBef>
                <a:spcPct val="0"/>
              </a:spcBef>
              <a:spcAft>
                <a:spcPct val="0"/>
              </a:spcAft>
              <a:defRPr/>
            </a:pPr>
            <a:r>
              <a:rPr lang="en-US" sz="1477" b="1" kern="0" dirty="0">
                <a:solidFill>
                  <a:srgbClr val="000000"/>
                </a:solidFill>
              </a:rPr>
              <a:t>to </a:t>
            </a:r>
          </a:p>
          <a:p>
            <a:pPr algn="ctr" defTabSz="913980" eaLnBrk="1" fontAlgn="base" hangingPunct="1">
              <a:lnSpc>
                <a:spcPct val="125000"/>
              </a:lnSpc>
              <a:spcBef>
                <a:spcPct val="0"/>
              </a:spcBef>
              <a:spcAft>
                <a:spcPct val="0"/>
              </a:spcAft>
              <a:defRPr/>
            </a:pPr>
            <a:r>
              <a:rPr lang="en-US" sz="1477" b="1" kern="0" dirty="0">
                <a:solidFill>
                  <a:srgbClr val="000000"/>
                </a:solidFill>
              </a:rPr>
              <a:t>3 endemic countries</a:t>
            </a:r>
          </a:p>
        </p:txBody>
      </p:sp>
      <p:graphicFrame>
        <p:nvGraphicFramePr>
          <p:cNvPr id="2" name="Object 14"/>
          <p:cNvGraphicFramePr>
            <a:graphicFrameLocks noChangeAspect="1"/>
          </p:cNvGraphicFramePr>
          <p:nvPr>
            <p:extLst/>
          </p:nvPr>
        </p:nvGraphicFramePr>
        <p:xfrm>
          <a:off x="-33932" y="2251082"/>
          <a:ext cx="8878766" cy="4169020"/>
        </p:xfrm>
        <a:graphic>
          <a:graphicData uri="http://schemas.openxmlformats.org/drawingml/2006/chart">
            <c:chart xmlns:c="http://schemas.openxmlformats.org/drawingml/2006/chart" xmlns:r="http://schemas.openxmlformats.org/officeDocument/2006/relationships" r:id="rId3"/>
          </a:graphicData>
        </a:graphic>
      </p:graphicFrame>
      <p:sp>
        <p:nvSpPr>
          <p:cNvPr id="219139" name="Rectangle 3"/>
          <p:cNvSpPr>
            <a:spLocks noChangeArrowheads="1"/>
          </p:cNvSpPr>
          <p:nvPr/>
        </p:nvSpPr>
        <p:spPr bwMode="auto">
          <a:xfrm>
            <a:off x="317989" y="437899"/>
            <a:ext cx="8508022" cy="825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842618" fontAlgn="base">
              <a:lnSpc>
                <a:spcPct val="110000"/>
              </a:lnSpc>
              <a:spcBef>
                <a:spcPct val="0"/>
              </a:spcBef>
              <a:spcAft>
                <a:spcPct val="0"/>
              </a:spcAft>
            </a:pPr>
            <a:r>
              <a:rPr lang="en-GB" sz="3323" b="1" i="1" dirty="0">
                <a:solidFill>
                  <a:srgbClr val="FFFFFF"/>
                </a:solidFill>
              </a:rPr>
              <a:t>Wild Poliovirus Eradication, 1988-2012</a:t>
            </a:r>
            <a:endParaRPr lang="en-US" sz="3323" b="1" i="1" dirty="0">
              <a:solidFill>
                <a:srgbClr val="FFFFFF"/>
              </a:solidFill>
            </a:endParaRPr>
          </a:p>
        </p:txBody>
      </p:sp>
      <p:grpSp>
        <p:nvGrpSpPr>
          <p:cNvPr id="379" name="Group 4"/>
          <p:cNvGrpSpPr>
            <a:grpSpLocks/>
          </p:cNvGrpSpPr>
          <p:nvPr/>
        </p:nvGrpSpPr>
        <p:grpSpPr bwMode="auto">
          <a:xfrm>
            <a:off x="3442028" y="1177395"/>
            <a:ext cx="5184576" cy="2977402"/>
            <a:chOff x="0" y="1076"/>
            <a:chExt cx="2454" cy="1305"/>
          </a:xfrm>
        </p:grpSpPr>
        <p:sp>
          <p:nvSpPr>
            <p:cNvPr id="380" name="Text Box 5"/>
            <p:cNvSpPr txBox="1">
              <a:spLocks noChangeArrowheads="1"/>
            </p:cNvSpPr>
            <p:nvPr/>
          </p:nvSpPr>
          <p:spPr bwMode="auto">
            <a:xfrm>
              <a:off x="1079" y="2241"/>
              <a:ext cx="288" cy="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980" fontAlgn="base">
                <a:spcBef>
                  <a:spcPct val="0"/>
                </a:spcBef>
                <a:spcAft>
                  <a:spcPct val="0"/>
                </a:spcAft>
                <a:defRPr/>
              </a:pPr>
              <a:r>
                <a:rPr lang="en-GB" sz="1477" b="1" kern="0" dirty="0">
                  <a:solidFill>
                    <a:srgbClr val="FFFFFF"/>
                  </a:solidFill>
                </a:rPr>
                <a:t>1988</a:t>
              </a:r>
            </a:p>
          </p:txBody>
        </p:sp>
        <p:sp>
          <p:nvSpPr>
            <p:cNvPr id="381" name="Freeform 6"/>
            <p:cNvSpPr>
              <a:spLocks/>
            </p:cNvSpPr>
            <p:nvPr/>
          </p:nvSpPr>
          <p:spPr bwMode="auto">
            <a:xfrm>
              <a:off x="0" y="1233"/>
              <a:ext cx="8" cy="6"/>
            </a:xfrm>
            <a:custGeom>
              <a:avLst/>
              <a:gdLst>
                <a:gd name="T0" fmla="*/ 1 w 18"/>
                <a:gd name="T1" fmla="*/ 0 h 17"/>
                <a:gd name="T2" fmla="*/ 1 w 18"/>
                <a:gd name="T3" fmla="*/ 0 h 17"/>
                <a:gd name="T4" fmla="*/ 0 w 18"/>
                <a:gd name="T5" fmla="*/ 0 h 17"/>
                <a:gd name="T6" fmla="*/ 1 w 18"/>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17">
                  <a:moveTo>
                    <a:pt x="17" y="0"/>
                  </a:moveTo>
                  <a:lnTo>
                    <a:pt x="17" y="16"/>
                  </a:lnTo>
                  <a:lnTo>
                    <a:pt x="0" y="16"/>
                  </a:lnTo>
                  <a:lnTo>
                    <a:pt x="17"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82" name="Freeform 7"/>
            <p:cNvSpPr>
              <a:spLocks/>
            </p:cNvSpPr>
            <p:nvPr/>
          </p:nvSpPr>
          <p:spPr bwMode="auto">
            <a:xfrm>
              <a:off x="192" y="1285"/>
              <a:ext cx="13" cy="18"/>
            </a:xfrm>
            <a:custGeom>
              <a:avLst/>
              <a:gdLst>
                <a:gd name="T0" fmla="*/ 0 w 31"/>
                <a:gd name="T1" fmla="*/ 0 h 47"/>
                <a:gd name="T2" fmla="*/ 0 w 31"/>
                <a:gd name="T3" fmla="*/ 1 h 47"/>
                <a:gd name="T4" fmla="*/ 1 w 31"/>
                <a:gd name="T5" fmla="*/ 1 h 47"/>
                <a:gd name="T6" fmla="*/ 1 w 31"/>
                <a:gd name="T7" fmla="*/ 0 h 47"/>
                <a:gd name="T8" fmla="*/ 0 w 31"/>
                <a:gd name="T9" fmla="*/ 0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47">
                  <a:moveTo>
                    <a:pt x="0" y="15"/>
                  </a:moveTo>
                  <a:lnTo>
                    <a:pt x="15" y="46"/>
                  </a:lnTo>
                  <a:lnTo>
                    <a:pt x="30" y="46"/>
                  </a:lnTo>
                  <a:lnTo>
                    <a:pt x="30" y="0"/>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83" name="Freeform 8"/>
            <p:cNvSpPr>
              <a:spLocks/>
            </p:cNvSpPr>
            <p:nvPr/>
          </p:nvSpPr>
          <p:spPr bwMode="auto">
            <a:xfrm>
              <a:off x="192" y="1315"/>
              <a:ext cx="8" cy="12"/>
            </a:xfrm>
            <a:custGeom>
              <a:avLst/>
              <a:gdLst>
                <a:gd name="T0" fmla="*/ 1 w 17"/>
                <a:gd name="T1" fmla="*/ 0 h 32"/>
                <a:gd name="T2" fmla="*/ 0 w 17"/>
                <a:gd name="T3" fmla="*/ 0 h 32"/>
                <a:gd name="T4" fmla="*/ 1 w 17"/>
                <a:gd name="T5" fmla="*/ 1 h 32"/>
                <a:gd name="T6" fmla="*/ 1 w 17"/>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16" y="0"/>
                  </a:moveTo>
                  <a:lnTo>
                    <a:pt x="0" y="16"/>
                  </a:lnTo>
                  <a:lnTo>
                    <a:pt x="16" y="31"/>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84" name="Freeform 9"/>
            <p:cNvSpPr>
              <a:spLocks/>
            </p:cNvSpPr>
            <p:nvPr/>
          </p:nvSpPr>
          <p:spPr bwMode="auto">
            <a:xfrm>
              <a:off x="192" y="1331"/>
              <a:ext cx="8" cy="13"/>
            </a:xfrm>
            <a:custGeom>
              <a:avLst/>
              <a:gdLst>
                <a:gd name="T0" fmla="*/ 0 w 17"/>
                <a:gd name="T1" fmla="*/ 0 h 32"/>
                <a:gd name="T2" fmla="*/ 1 w 17"/>
                <a:gd name="T3" fmla="*/ 0 h 32"/>
                <a:gd name="T4" fmla="*/ 1 w 17"/>
                <a:gd name="T5" fmla="*/ 1 h 32"/>
                <a:gd name="T6" fmla="*/ 0 w 17"/>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0" y="0"/>
                  </a:moveTo>
                  <a:lnTo>
                    <a:pt x="16" y="0"/>
                  </a:lnTo>
                  <a:lnTo>
                    <a:pt x="16"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85" name="Freeform 10"/>
            <p:cNvSpPr>
              <a:spLocks/>
            </p:cNvSpPr>
            <p:nvPr/>
          </p:nvSpPr>
          <p:spPr bwMode="auto">
            <a:xfrm>
              <a:off x="571" y="1947"/>
              <a:ext cx="95" cy="107"/>
            </a:xfrm>
            <a:custGeom>
              <a:avLst/>
              <a:gdLst>
                <a:gd name="T0" fmla="*/ 3 w 224"/>
                <a:gd name="T1" fmla="*/ 0 h 279"/>
                <a:gd name="T2" fmla="*/ 2 w 224"/>
                <a:gd name="T3" fmla="*/ 0 h 279"/>
                <a:gd name="T4" fmla="*/ 1 w 224"/>
                <a:gd name="T5" fmla="*/ 0 h 279"/>
                <a:gd name="T6" fmla="*/ 1 w 224"/>
                <a:gd name="T7" fmla="*/ 1 h 279"/>
                <a:gd name="T8" fmla="*/ 0 w 224"/>
                <a:gd name="T9" fmla="*/ 0 h 279"/>
                <a:gd name="T10" fmla="*/ 0 w 224"/>
                <a:gd name="T11" fmla="*/ 0 h 279"/>
                <a:gd name="T12" fmla="*/ 0 w 224"/>
                <a:gd name="T13" fmla="*/ 1 h 279"/>
                <a:gd name="T14" fmla="*/ 0 w 224"/>
                <a:gd name="T15" fmla="*/ 2 h 279"/>
                <a:gd name="T16" fmla="*/ 0 w 224"/>
                <a:gd name="T17" fmla="*/ 2 h 279"/>
                <a:gd name="T18" fmla="*/ 0 w 224"/>
                <a:gd name="T19" fmla="*/ 2 h 279"/>
                <a:gd name="T20" fmla="*/ 0 w 224"/>
                <a:gd name="T21" fmla="*/ 3 h 279"/>
                <a:gd name="T22" fmla="*/ 1 w 224"/>
                <a:gd name="T23" fmla="*/ 3 h 279"/>
                <a:gd name="T24" fmla="*/ 1 w 224"/>
                <a:gd name="T25" fmla="*/ 3 h 279"/>
                <a:gd name="T26" fmla="*/ 0 w 224"/>
                <a:gd name="T27" fmla="*/ 3 h 279"/>
                <a:gd name="T28" fmla="*/ 1 w 224"/>
                <a:gd name="T29" fmla="*/ 5 h 279"/>
                <a:gd name="T30" fmla="*/ 2 w 224"/>
                <a:gd name="T31" fmla="*/ 6 h 279"/>
                <a:gd name="T32" fmla="*/ 2 w 224"/>
                <a:gd name="T33" fmla="*/ 6 h 279"/>
                <a:gd name="T34" fmla="*/ 3 w 224"/>
                <a:gd name="T35" fmla="*/ 5 h 279"/>
                <a:gd name="T36" fmla="*/ 3 w 224"/>
                <a:gd name="T37" fmla="*/ 5 h 279"/>
                <a:gd name="T38" fmla="*/ 3 w 224"/>
                <a:gd name="T39" fmla="*/ 5 h 279"/>
                <a:gd name="T40" fmla="*/ 3 w 224"/>
                <a:gd name="T41" fmla="*/ 6 h 279"/>
                <a:gd name="T42" fmla="*/ 4 w 224"/>
                <a:gd name="T43" fmla="*/ 5 h 279"/>
                <a:gd name="T44" fmla="*/ 5 w 224"/>
                <a:gd name="T45" fmla="*/ 5 h 279"/>
                <a:gd name="T46" fmla="*/ 7 w 224"/>
                <a:gd name="T47" fmla="*/ 4 h 279"/>
                <a:gd name="T48" fmla="*/ 7 w 224"/>
                <a:gd name="T49" fmla="*/ 5 h 279"/>
                <a:gd name="T50" fmla="*/ 7 w 224"/>
                <a:gd name="T51" fmla="*/ 3 h 279"/>
                <a:gd name="T52" fmla="*/ 6 w 224"/>
                <a:gd name="T53" fmla="*/ 3 h 279"/>
                <a:gd name="T54" fmla="*/ 6 w 224"/>
                <a:gd name="T55" fmla="*/ 3 h 279"/>
                <a:gd name="T56" fmla="*/ 5 w 224"/>
                <a:gd name="T57" fmla="*/ 2 h 279"/>
                <a:gd name="T58" fmla="*/ 4 w 224"/>
                <a:gd name="T59" fmla="*/ 1 h 279"/>
                <a:gd name="T60" fmla="*/ 3 w 224"/>
                <a:gd name="T61" fmla="*/ 1 h 279"/>
                <a:gd name="T62" fmla="*/ 3 w 224"/>
                <a:gd name="T63" fmla="*/ 1 h 279"/>
                <a:gd name="T64" fmla="*/ 3 w 224"/>
                <a:gd name="T65" fmla="*/ 0 h 2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4" h="279">
                  <a:moveTo>
                    <a:pt x="74" y="0"/>
                  </a:moveTo>
                  <a:lnTo>
                    <a:pt x="59" y="0"/>
                  </a:lnTo>
                  <a:lnTo>
                    <a:pt x="45" y="15"/>
                  </a:lnTo>
                  <a:lnTo>
                    <a:pt x="30" y="31"/>
                  </a:lnTo>
                  <a:lnTo>
                    <a:pt x="15" y="15"/>
                  </a:lnTo>
                  <a:lnTo>
                    <a:pt x="0" y="15"/>
                  </a:lnTo>
                  <a:lnTo>
                    <a:pt x="15" y="46"/>
                  </a:lnTo>
                  <a:lnTo>
                    <a:pt x="15" y="77"/>
                  </a:lnTo>
                  <a:lnTo>
                    <a:pt x="15" y="93"/>
                  </a:lnTo>
                  <a:lnTo>
                    <a:pt x="15" y="108"/>
                  </a:lnTo>
                  <a:lnTo>
                    <a:pt x="15" y="124"/>
                  </a:lnTo>
                  <a:lnTo>
                    <a:pt x="30" y="124"/>
                  </a:lnTo>
                  <a:lnTo>
                    <a:pt x="30" y="139"/>
                  </a:lnTo>
                  <a:lnTo>
                    <a:pt x="15" y="154"/>
                  </a:lnTo>
                  <a:lnTo>
                    <a:pt x="30" y="201"/>
                  </a:lnTo>
                  <a:lnTo>
                    <a:pt x="59" y="263"/>
                  </a:lnTo>
                  <a:lnTo>
                    <a:pt x="59" y="278"/>
                  </a:lnTo>
                  <a:lnTo>
                    <a:pt x="74" y="232"/>
                  </a:lnTo>
                  <a:lnTo>
                    <a:pt x="89" y="247"/>
                  </a:lnTo>
                  <a:lnTo>
                    <a:pt x="104" y="247"/>
                  </a:lnTo>
                  <a:lnTo>
                    <a:pt x="104" y="263"/>
                  </a:lnTo>
                  <a:lnTo>
                    <a:pt x="134" y="247"/>
                  </a:lnTo>
                  <a:lnTo>
                    <a:pt x="149" y="201"/>
                  </a:lnTo>
                  <a:lnTo>
                    <a:pt x="208" y="185"/>
                  </a:lnTo>
                  <a:lnTo>
                    <a:pt x="223" y="201"/>
                  </a:lnTo>
                  <a:lnTo>
                    <a:pt x="223" y="154"/>
                  </a:lnTo>
                  <a:lnTo>
                    <a:pt x="193" y="124"/>
                  </a:lnTo>
                  <a:lnTo>
                    <a:pt x="178" y="124"/>
                  </a:lnTo>
                  <a:lnTo>
                    <a:pt x="149" y="77"/>
                  </a:lnTo>
                  <a:lnTo>
                    <a:pt x="119" y="46"/>
                  </a:lnTo>
                  <a:lnTo>
                    <a:pt x="104" y="46"/>
                  </a:lnTo>
                  <a:lnTo>
                    <a:pt x="74" y="31"/>
                  </a:lnTo>
                  <a:lnTo>
                    <a:pt x="74"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86" name="Freeform 11"/>
            <p:cNvSpPr>
              <a:spLocks/>
            </p:cNvSpPr>
            <p:nvPr/>
          </p:nvSpPr>
          <p:spPr bwMode="auto">
            <a:xfrm>
              <a:off x="475" y="1872"/>
              <a:ext cx="108" cy="140"/>
            </a:xfrm>
            <a:custGeom>
              <a:avLst/>
              <a:gdLst>
                <a:gd name="T0" fmla="*/ 4 w 253"/>
                <a:gd name="T1" fmla="*/ 0 h 370"/>
                <a:gd name="T2" fmla="*/ 4 w 253"/>
                <a:gd name="T3" fmla="*/ 0 h 370"/>
                <a:gd name="T4" fmla="*/ 4 w 253"/>
                <a:gd name="T5" fmla="*/ 1 h 370"/>
                <a:gd name="T6" fmla="*/ 2 w 253"/>
                <a:gd name="T7" fmla="*/ 2 h 370"/>
                <a:gd name="T8" fmla="*/ 1 w 253"/>
                <a:gd name="T9" fmla="*/ 2 h 370"/>
                <a:gd name="T10" fmla="*/ 1 w 253"/>
                <a:gd name="T11" fmla="*/ 2 h 370"/>
                <a:gd name="T12" fmla="*/ 0 w 253"/>
                <a:gd name="T13" fmla="*/ 2 h 370"/>
                <a:gd name="T14" fmla="*/ 0 w 253"/>
                <a:gd name="T15" fmla="*/ 1 h 370"/>
                <a:gd name="T16" fmla="*/ 0 w 253"/>
                <a:gd name="T17" fmla="*/ 2 h 370"/>
                <a:gd name="T18" fmla="*/ 0 w 253"/>
                <a:gd name="T19" fmla="*/ 3 h 370"/>
                <a:gd name="T20" fmla="*/ 1 w 253"/>
                <a:gd name="T21" fmla="*/ 3 h 370"/>
                <a:gd name="T22" fmla="*/ 2 w 253"/>
                <a:gd name="T23" fmla="*/ 4 h 370"/>
                <a:gd name="T24" fmla="*/ 3 w 253"/>
                <a:gd name="T25" fmla="*/ 6 h 370"/>
                <a:gd name="T26" fmla="*/ 5 w 253"/>
                <a:gd name="T27" fmla="*/ 7 h 370"/>
                <a:gd name="T28" fmla="*/ 6 w 253"/>
                <a:gd name="T29" fmla="*/ 7 h 370"/>
                <a:gd name="T30" fmla="*/ 6 w 253"/>
                <a:gd name="T31" fmla="*/ 7 h 370"/>
                <a:gd name="T32" fmla="*/ 6 w 253"/>
                <a:gd name="T33" fmla="*/ 8 h 370"/>
                <a:gd name="T34" fmla="*/ 7 w 253"/>
                <a:gd name="T35" fmla="*/ 8 h 370"/>
                <a:gd name="T36" fmla="*/ 8 w 253"/>
                <a:gd name="T37" fmla="*/ 7 h 370"/>
                <a:gd name="T38" fmla="*/ 8 w 253"/>
                <a:gd name="T39" fmla="*/ 7 h 370"/>
                <a:gd name="T40" fmla="*/ 8 w 253"/>
                <a:gd name="T41" fmla="*/ 7 h 370"/>
                <a:gd name="T42" fmla="*/ 9 w 253"/>
                <a:gd name="T43" fmla="*/ 7 h 370"/>
                <a:gd name="T44" fmla="*/ 8 w 253"/>
                <a:gd name="T45" fmla="*/ 7 h 370"/>
                <a:gd name="T46" fmla="*/ 8 w 253"/>
                <a:gd name="T47" fmla="*/ 6 h 370"/>
                <a:gd name="T48" fmla="*/ 8 w 253"/>
                <a:gd name="T49" fmla="*/ 6 h 370"/>
                <a:gd name="T50" fmla="*/ 8 w 253"/>
                <a:gd name="T51" fmla="*/ 6 h 370"/>
                <a:gd name="T52" fmla="*/ 8 w 253"/>
                <a:gd name="T53" fmla="*/ 6 h 370"/>
                <a:gd name="T54" fmla="*/ 8 w 253"/>
                <a:gd name="T55" fmla="*/ 5 h 370"/>
                <a:gd name="T56" fmla="*/ 8 w 253"/>
                <a:gd name="T57" fmla="*/ 5 h 370"/>
                <a:gd name="T58" fmla="*/ 6 w 253"/>
                <a:gd name="T59" fmla="*/ 5 h 370"/>
                <a:gd name="T60" fmla="*/ 6 w 253"/>
                <a:gd name="T61" fmla="*/ 4 h 370"/>
                <a:gd name="T62" fmla="*/ 6 w 253"/>
                <a:gd name="T63" fmla="*/ 4 h 370"/>
                <a:gd name="T64" fmla="*/ 5 w 253"/>
                <a:gd name="T65" fmla="*/ 3 h 370"/>
                <a:gd name="T66" fmla="*/ 5 w 253"/>
                <a:gd name="T67" fmla="*/ 3 h 370"/>
                <a:gd name="T68" fmla="*/ 6 w 253"/>
                <a:gd name="T69" fmla="*/ 2 h 370"/>
                <a:gd name="T70" fmla="*/ 6 w 253"/>
                <a:gd name="T71" fmla="*/ 2 h 370"/>
                <a:gd name="T72" fmla="*/ 8 w 253"/>
                <a:gd name="T73" fmla="*/ 2 h 370"/>
                <a:gd name="T74" fmla="*/ 7 w 253"/>
                <a:gd name="T75" fmla="*/ 1 h 370"/>
                <a:gd name="T76" fmla="*/ 6 w 253"/>
                <a:gd name="T77" fmla="*/ 1 h 370"/>
                <a:gd name="T78" fmla="*/ 6 w 253"/>
                <a:gd name="T79" fmla="*/ 1 h 370"/>
                <a:gd name="T80" fmla="*/ 5 w 253"/>
                <a:gd name="T81" fmla="*/ 1 h 370"/>
                <a:gd name="T82" fmla="*/ 4 w 253"/>
                <a:gd name="T83" fmla="*/ 0 h 370"/>
                <a:gd name="T84" fmla="*/ 4 w 253"/>
                <a:gd name="T85" fmla="*/ 0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3" h="370">
                  <a:moveTo>
                    <a:pt x="119" y="0"/>
                  </a:moveTo>
                  <a:lnTo>
                    <a:pt x="133" y="15"/>
                  </a:lnTo>
                  <a:lnTo>
                    <a:pt x="119" y="31"/>
                  </a:lnTo>
                  <a:lnTo>
                    <a:pt x="59" y="77"/>
                  </a:lnTo>
                  <a:lnTo>
                    <a:pt x="44" y="92"/>
                  </a:lnTo>
                  <a:lnTo>
                    <a:pt x="30" y="77"/>
                  </a:lnTo>
                  <a:lnTo>
                    <a:pt x="15" y="92"/>
                  </a:lnTo>
                  <a:lnTo>
                    <a:pt x="15" y="62"/>
                  </a:lnTo>
                  <a:lnTo>
                    <a:pt x="0" y="77"/>
                  </a:lnTo>
                  <a:lnTo>
                    <a:pt x="15" y="123"/>
                  </a:lnTo>
                  <a:lnTo>
                    <a:pt x="30" y="138"/>
                  </a:lnTo>
                  <a:lnTo>
                    <a:pt x="59" y="200"/>
                  </a:lnTo>
                  <a:lnTo>
                    <a:pt x="104" y="277"/>
                  </a:lnTo>
                  <a:lnTo>
                    <a:pt x="148" y="338"/>
                  </a:lnTo>
                  <a:lnTo>
                    <a:pt x="178" y="338"/>
                  </a:lnTo>
                  <a:lnTo>
                    <a:pt x="193" y="354"/>
                  </a:lnTo>
                  <a:lnTo>
                    <a:pt x="193" y="369"/>
                  </a:lnTo>
                  <a:lnTo>
                    <a:pt x="208" y="369"/>
                  </a:lnTo>
                  <a:lnTo>
                    <a:pt x="222" y="354"/>
                  </a:lnTo>
                  <a:lnTo>
                    <a:pt x="237" y="354"/>
                  </a:lnTo>
                  <a:lnTo>
                    <a:pt x="237" y="338"/>
                  </a:lnTo>
                  <a:lnTo>
                    <a:pt x="252" y="338"/>
                  </a:lnTo>
                  <a:lnTo>
                    <a:pt x="237" y="338"/>
                  </a:lnTo>
                  <a:lnTo>
                    <a:pt x="237" y="323"/>
                  </a:lnTo>
                  <a:lnTo>
                    <a:pt x="237" y="308"/>
                  </a:lnTo>
                  <a:lnTo>
                    <a:pt x="237" y="292"/>
                  </a:lnTo>
                  <a:lnTo>
                    <a:pt x="237" y="277"/>
                  </a:lnTo>
                  <a:lnTo>
                    <a:pt x="237" y="246"/>
                  </a:lnTo>
                  <a:lnTo>
                    <a:pt x="222" y="215"/>
                  </a:lnTo>
                  <a:lnTo>
                    <a:pt x="193" y="215"/>
                  </a:lnTo>
                  <a:lnTo>
                    <a:pt x="193" y="200"/>
                  </a:lnTo>
                  <a:lnTo>
                    <a:pt x="178" y="200"/>
                  </a:lnTo>
                  <a:lnTo>
                    <a:pt x="148" y="169"/>
                  </a:lnTo>
                  <a:lnTo>
                    <a:pt x="148" y="138"/>
                  </a:lnTo>
                  <a:lnTo>
                    <a:pt x="163" y="108"/>
                  </a:lnTo>
                  <a:lnTo>
                    <a:pt x="193" y="77"/>
                  </a:lnTo>
                  <a:lnTo>
                    <a:pt x="222" y="77"/>
                  </a:lnTo>
                  <a:lnTo>
                    <a:pt x="208" y="46"/>
                  </a:lnTo>
                  <a:lnTo>
                    <a:pt x="178" y="31"/>
                  </a:lnTo>
                  <a:lnTo>
                    <a:pt x="163" y="31"/>
                  </a:lnTo>
                  <a:lnTo>
                    <a:pt x="148" y="31"/>
                  </a:lnTo>
                  <a:lnTo>
                    <a:pt x="133" y="0"/>
                  </a:lnTo>
                  <a:lnTo>
                    <a:pt x="119"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87" name="Freeform 12"/>
            <p:cNvSpPr>
              <a:spLocks/>
            </p:cNvSpPr>
            <p:nvPr/>
          </p:nvSpPr>
          <p:spPr bwMode="auto">
            <a:xfrm>
              <a:off x="480" y="1861"/>
              <a:ext cx="52" cy="46"/>
            </a:xfrm>
            <a:custGeom>
              <a:avLst/>
              <a:gdLst>
                <a:gd name="T0" fmla="*/ 0 w 120"/>
                <a:gd name="T1" fmla="*/ 0 h 124"/>
                <a:gd name="T2" fmla="*/ 0 w 120"/>
                <a:gd name="T3" fmla="*/ 1 h 124"/>
                <a:gd name="T4" fmla="*/ 0 w 120"/>
                <a:gd name="T5" fmla="*/ 1 h 124"/>
                <a:gd name="T6" fmla="*/ 0 w 120"/>
                <a:gd name="T7" fmla="*/ 1 h 124"/>
                <a:gd name="T8" fmla="*/ 0 w 120"/>
                <a:gd name="T9" fmla="*/ 2 h 124"/>
                <a:gd name="T10" fmla="*/ 0 w 120"/>
                <a:gd name="T11" fmla="*/ 2 h 124"/>
                <a:gd name="T12" fmla="*/ 0 w 120"/>
                <a:gd name="T13" fmla="*/ 2 h 124"/>
                <a:gd name="T14" fmla="*/ 0 w 120"/>
                <a:gd name="T15" fmla="*/ 2 h 124"/>
                <a:gd name="T16" fmla="*/ 1 w 120"/>
                <a:gd name="T17" fmla="*/ 2 h 124"/>
                <a:gd name="T18" fmla="*/ 2 w 120"/>
                <a:gd name="T19" fmla="*/ 2 h 124"/>
                <a:gd name="T20" fmla="*/ 4 w 120"/>
                <a:gd name="T21" fmla="*/ 1 h 124"/>
                <a:gd name="T22" fmla="*/ 4 w 120"/>
                <a:gd name="T23" fmla="*/ 1 h 124"/>
                <a:gd name="T24" fmla="*/ 4 w 120"/>
                <a:gd name="T25" fmla="*/ 0 h 124"/>
                <a:gd name="T26" fmla="*/ 3 w 120"/>
                <a:gd name="T27" fmla="*/ 0 h 124"/>
                <a:gd name="T28" fmla="*/ 1 w 120"/>
                <a:gd name="T29" fmla="*/ 0 h 124"/>
                <a:gd name="T30" fmla="*/ 0 w 120"/>
                <a:gd name="T31" fmla="*/ 0 h 124"/>
                <a:gd name="T32" fmla="*/ 0 w 120"/>
                <a:gd name="T33" fmla="*/ 0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24">
                  <a:moveTo>
                    <a:pt x="0" y="15"/>
                  </a:moveTo>
                  <a:lnTo>
                    <a:pt x="0" y="46"/>
                  </a:lnTo>
                  <a:lnTo>
                    <a:pt x="0" y="77"/>
                  </a:lnTo>
                  <a:lnTo>
                    <a:pt x="15" y="77"/>
                  </a:lnTo>
                  <a:lnTo>
                    <a:pt x="15" y="92"/>
                  </a:lnTo>
                  <a:lnTo>
                    <a:pt x="0" y="92"/>
                  </a:lnTo>
                  <a:lnTo>
                    <a:pt x="0" y="123"/>
                  </a:lnTo>
                  <a:lnTo>
                    <a:pt x="15" y="108"/>
                  </a:lnTo>
                  <a:lnTo>
                    <a:pt x="30" y="123"/>
                  </a:lnTo>
                  <a:lnTo>
                    <a:pt x="45" y="108"/>
                  </a:lnTo>
                  <a:lnTo>
                    <a:pt x="104" y="62"/>
                  </a:lnTo>
                  <a:lnTo>
                    <a:pt x="119" y="46"/>
                  </a:lnTo>
                  <a:lnTo>
                    <a:pt x="104" y="31"/>
                  </a:lnTo>
                  <a:lnTo>
                    <a:pt x="89" y="15"/>
                  </a:lnTo>
                  <a:lnTo>
                    <a:pt x="30" y="0"/>
                  </a:lnTo>
                  <a:lnTo>
                    <a:pt x="15" y="0"/>
                  </a:lnTo>
                  <a:lnTo>
                    <a:pt x="0" y="15"/>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88" name="Freeform 13"/>
            <p:cNvSpPr>
              <a:spLocks/>
            </p:cNvSpPr>
            <p:nvPr/>
          </p:nvSpPr>
          <p:spPr bwMode="auto">
            <a:xfrm>
              <a:off x="205" y="1419"/>
              <a:ext cx="423" cy="245"/>
            </a:xfrm>
            <a:custGeom>
              <a:avLst/>
              <a:gdLst>
                <a:gd name="T0" fmla="*/ 3 w 985"/>
                <a:gd name="T1" fmla="*/ 9 h 647"/>
                <a:gd name="T2" fmla="*/ 8 w 985"/>
                <a:gd name="T3" fmla="*/ 10 h 647"/>
                <a:gd name="T4" fmla="*/ 9 w 985"/>
                <a:gd name="T5" fmla="*/ 9 h 647"/>
                <a:gd name="T6" fmla="*/ 10 w 985"/>
                <a:gd name="T7" fmla="*/ 11 h 647"/>
                <a:gd name="T8" fmla="*/ 12 w 985"/>
                <a:gd name="T9" fmla="*/ 11 h 647"/>
                <a:gd name="T10" fmla="*/ 12 w 985"/>
                <a:gd name="T11" fmla="*/ 12 h 647"/>
                <a:gd name="T12" fmla="*/ 13 w 985"/>
                <a:gd name="T13" fmla="*/ 12 h 647"/>
                <a:gd name="T14" fmla="*/ 15 w 985"/>
                <a:gd name="T15" fmla="*/ 11 h 647"/>
                <a:gd name="T16" fmla="*/ 17 w 985"/>
                <a:gd name="T17" fmla="*/ 11 h 647"/>
                <a:gd name="T18" fmla="*/ 18 w 985"/>
                <a:gd name="T19" fmla="*/ 11 h 647"/>
                <a:gd name="T20" fmla="*/ 18 w 985"/>
                <a:gd name="T21" fmla="*/ 11 h 647"/>
                <a:gd name="T22" fmla="*/ 19 w 985"/>
                <a:gd name="T23" fmla="*/ 11 h 647"/>
                <a:gd name="T24" fmla="*/ 21 w 985"/>
                <a:gd name="T25" fmla="*/ 11 h 647"/>
                <a:gd name="T26" fmla="*/ 22 w 985"/>
                <a:gd name="T27" fmla="*/ 12 h 647"/>
                <a:gd name="T28" fmla="*/ 23 w 985"/>
                <a:gd name="T29" fmla="*/ 13 h 647"/>
                <a:gd name="T30" fmla="*/ 24 w 985"/>
                <a:gd name="T31" fmla="*/ 13 h 647"/>
                <a:gd name="T32" fmla="*/ 23 w 985"/>
                <a:gd name="T33" fmla="*/ 12 h 647"/>
                <a:gd name="T34" fmla="*/ 24 w 985"/>
                <a:gd name="T35" fmla="*/ 11 h 647"/>
                <a:gd name="T36" fmla="*/ 25 w 985"/>
                <a:gd name="T37" fmla="*/ 10 h 647"/>
                <a:gd name="T38" fmla="*/ 26 w 985"/>
                <a:gd name="T39" fmla="*/ 9 h 647"/>
                <a:gd name="T40" fmla="*/ 27 w 985"/>
                <a:gd name="T41" fmla="*/ 8 h 647"/>
                <a:gd name="T42" fmla="*/ 27 w 985"/>
                <a:gd name="T43" fmla="*/ 8 h 647"/>
                <a:gd name="T44" fmla="*/ 27 w 985"/>
                <a:gd name="T45" fmla="*/ 8 h 647"/>
                <a:gd name="T46" fmla="*/ 28 w 985"/>
                <a:gd name="T47" fmla="*/ 7 h 647"/>
                <a:gd name="T48" fmla="*/ 28 w 985"/>
                <a:gd name="T49" fmla="*/ 7 h 647"/>
                <a:gd name="T50" fmla="*/ 29 w 985"/>
                <a:gd name="T51" fmla="*/ 6 h 647"/>
                <a:gd name="T52" fmla="*/ 30 w 985"/>
                <a:gd name="T53" fmla="*/ 6 h 647"/>
                <a:gd name="T54" fmla="*/ 31 w 985"/>
                <a:gd name="T55" fmla="*/ 6 h 647"/>
                <a:gd name="T56" fmla="*/ 32 w 985"/>
                <a:gd name="T57" fmla="*/ 5 h 647"/>
                <a:gd name="T58" fmla="*/ 33 w 985"/>
                <a:gd name="T59" fmla="*/ 4 h 647"/>
                <a:gd name="T60" fmla="*/ 33 w 985"/>
                <a:gd name="T61" fmla="*/ 3 h 647"/>
                <a:gd name="T62" fmla="*/ 32 w 985"/>
                <a:gd name="T63" fmla="*/ 4 h 647"/>
                <a:gd name="T64" fmla="*/ 30 w 985"/>
                <a:gd name="T65" fmla="*/ 5 h 647"/>
                <a:gd name="T66" fmla="*/ 29 w 985"/>
                <a:gd name="T67" fmla="*/ 5 h 647"/>
                <a:gd name="T68" fmla="*/ 27 w 985"/>
                <a:gd name="T69" fmla="*/ 5 h 647"/>
                <a:gd name="T70" fmla="*/ 26 w 985"/>
                <a:gd name="T71" fmla="*/ 5 h 647"/>
                <a:gd name="T72" fmla="*/ 26 w 985"/>
                <a:gd name="T73" fmla="*/ 6 h 647"/>
                <a:gd name="T74" fmla="*/ 24 w 985"/>
                <a:gd name="T75" fmla="*/ 6 h 647"/>
                <a:gd name="T76" fmla="*/ 24 w 985"/>
                <a:gd name="T77" fmla="*/ 5 h 647"/>
                <a:gd name="T78" fmla="*/ 24 w 985"/>
                <a:gd name="T79" fmla="*/ 5 h 647"/>
                <a:gd name="T80" fmla="*/ 24 w 985"/>
                <a:gd name="T81" fmla="*/ 4 h 647"/>
                <a:gd name="T82" fmla="*/ 23 w 985"/>
                <a:gd name="T83" fmla="*/ 4 h 647"/>
                <a:gd name="T84" fmla="*/ 22 w 985"/>
                <a:gd name="T85" fmla="*/ 5 h 647"/>
                <a:gd name="T86" fmla="*/ 21 w 985"/>
                <a:gd name="T87" fmla="*/ 5 h 647"/>
                <a:gd name="T88" fmla="*/ 22 w 985"/>
                <a:gd name="T89" fmla="*/ 4 h 647"/>
                <a:gd name="T90" fmla="*/ 23 w 985"/>
                <a:gd name="T91" fmla="*/ 3 h 647"/>
                <a:gd name="T92" fmla="*/ 24 w 985"/>
                <a:gd name="T93" fmla="*/ 3 h 647"/>
                <a:gd name="T94" fmla="*/ 21 w 985"/>
                <a:gd name="T95" fmla="*/ 3 h 647"/>
                <a:gd name="T96" fmla="*/ 21 w 985"/>
                <a:gd name="T97" fmla="*/ 2 h 647"/>
                <a:gd name="T98" fmla="*/ 17 w 985"/>
                <a:gd name="T99" fmla="*/ 2 h 647"/>
                <a:gd name="T100" fmla="*/ 8 w 985"/>
                <a:gd name="T101" fmla="*/ 1 h 647"/>
                <a:gd name="T102" fmla="*/ 3 w 985"/>
                <a:gd name="T103" fmla="*/ 1 h 647"/>
                <a:gd name="T104" fmla="*/ 3 w 985"/>
                <a:gd name="T105" fmla="*/ 1 h 647"/>
                <a:gd name="T106" fmla="*/ 2 w 985"/>
                <a:gd name="T107" fmla="*/ 2 h 647"/>
                <a:gd name="T108" fmla="*/ 0 w 985"/>
                <a:gd name="T109" fmla="*/ 5 h 647"/>
                <a:gd name="T110" fmla="*/ 0 w 985"/>
                <a:gd name="T111" fmla="*/ 7 h 647"/>
                <a:gd name="T112" fmla="*/ 2 w 985"/>
                <a:gd name="T113" fmla="*/ 8 h 6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85" h="647">
                  <a:moveTo>
                    <a:pt x="60" y="431"/>
                  </a:moveTo>
                  <a:lnTo>
                    <a:pt x="104" y="446"/>
                  </a:lnTo>
                  <a:lnTo>
                    <a:pt x="179" y="461"/>
                  </a:lnTo>
                  <a:lnTo>
                    <a:pt x="224" y="477"/>
                  </a:lnTo>
                  <a:lnTo>
                    <a:pt x="224" y="461"/>
                  </a:lnTo>
                  <a:lnTo>
                    <a:pt x="253" y="461"/>
                  </a:lnTo>
                  <a:lnTo>
                    <a:pt x="283" y="538"/>
                  </a:lnTo>
                  <a:lnTo>
                    <a:pt x="298" y="523"/>
                  </a:lnTo>
                  <a:lnTo>
                    <a:pt x="328" y="523"/>
                  </a:lnTo>
                  <a:lnTo>
                    <a:pt x="343" y="554"/>
                  </a:lnTo>
                  <a:lnTo>
                    <a:pt x="358" y="584"/>
                  </a:lnTo>
                  <a:lnTo>
                    <a:pt x="358" y="615"/>
                  </a:lnTo>
                  <a:lnTo>
                    <a:pt x="388" y="615"/>
                  </a:lnTo>
                  <a:lnTo>
                    <a:pt x="388" y="584"/>
                  </a:lnTo>
                  <a:lnTo>
                    <a:pt x="432" y="569"/>
                  </a:lnTo>
                  <a:lnTo>
                    <a:pt x="432" y="554"/>
                  </a:lnTo>
                  <a:lnTo>
                    <a:pt x="462" y="538"/>
                  </a:lnTo>
                  <a:lnTo>
                    <a:pt x="492" y="554"/>
                  </a:lnTo>
                  <a:lnTo>
                    <a:pt x="507" y="569"/>
                  </a:lnTo>
                  <a:lnTo>
                    <a:pt x="537" y="554"/>
                  </a:lnTo>
                  <a:lnTo>
                    <a:pt x="537" y="569"/>
                  </a:lnTo>
                  <a:lnTo>
                    <a:pt x="537" y="538"/>
                  </a:lnTo>
                  <a:lnTo>
                    <a:pt x="552" y="538"/>
                  </a:lnTo>
                  <a:lnTo>
                    <a:pt x="567" y="538"/>
                  </a:lnTo>
                  <a:lnTo>
                    <a:pt x="611" y="538"/>
                  </a:lnTo>
                  <a:lnTo>
                    <a:pt x="611" y="554"/>
                  </a:lnTo>
                  <a:lnTo>
                    <a:pt x="626" y="538"/>
                  </a:lnTo>
                  <a:lnTo>
                    <a:pt x="656" y="569"/>
                  </a:lnTo>
                  <a:lnTo>
                    <a:pt x="641" y="600"/>
                  </a:lnTo>
                  <a:lnTo>
                    <a:pt x="671" y="646"/>
                  </a:lnTo>
                  <a:lnTo>
                    <a:pt x="686" y="646"/>
                  </a:lnTo>
                  <a:lnTo>
                    <a:pt x="686" y="631"/>
                  </a:lnTo>
                  <a:lnTo>
                    <a:pt x="686" y="600"/>
                  </a:lnTo>
                  <a:lnTo>
                    <a:pt x="671" y="569"/>
                  </a:lnTo>
                  <a:lnTo>
                    <a:pt x="686" y="523"/>
                  </a:lnTo>
                  <a:lnTo>
                    <a:pt x="701" y="508"/>
                  </a:lnTo>
                  <a:lnTo>
                    <a:pt x="716" y="492"/>
                  </a:lnTo>
                  <a:lnTo>
                    <a:pt x="745" y="477"/>
                  </a:lnTo>
                  <a:lnTo>
                    <a:pt x="760" y="461"/>
                  </a:lnTo>
                  <a:lnTo>
                    <a:pt x="775" y="446"/>
                  </a:lnTo>
                  <a:lnTo>
                    <a:pt x="790" y="446"/>
                  </a:lnTo>
                  <a:lnTo>
                    <a:pt x="790" y="415"/>
                  </a:lnTo>
                  <a:lnTo>
                    <a:pt x="790" y="400"/>
                  </a:lnTo>
                  <a:lnTo>
                    <a:pt x="790" y="385"/>
                  </a:lnTo>
                  <a:lnTo>
                    <a:pt x="790" y="354"/>
                  </a:lnTo>
                  <a:lnTo>
                    <a:pt x="790" y="400"/>
                  </a:lnTo>
                  <a:lnTo>
                    <a:pt x="820" y="369"/>
                  </a:lnTo>
                  <a:lnTo>
                    <a:pt x="820" y="354"/>
                  </a:lnTo>
                  <a:lnTo>
                    <a:pt x="820" y="369"/>
                  </a:lnTo>
                  <a:lnTo>
                    <a:pt x="835" y="338"/>
                  </a:lnTo>
                  <a:lnTo>
                    <a:pt x="835" y="323"/>
                  </a:lnTo>
                  <a:lnTo>
                    <a:pt x="850" y="308"/>
                  </a:lnTo>
                  <a:lnTo>
                    <a:pt x="865" y="308"/>
                  </a:lnTo>
                  <a:lnTo>
                    <a:pt x="895" y="292"/>
                  </a:lnTo>
                  <a:lnTo>
                    <a:pt x="909" y="308"/>
                  </a:lnTo>
                  <a:lnTo>
                    <a:pt x="909" y="292"/>
                  </a:lnTo>
                  <a:lnTo>
                    <a:pt x="909" y="261"/>
                  </a:lnTo>
                  <a:lnTo>
                    <a:pt x="939" y="246"/>
                  </a:lnTo>
                  <a:lnTo>
                    <a:pt x="984" y="231"/>
                  </a:lnTo>
                  <a:lnTo>
                    <a:pt x="969" y="200"/>
                  </a:lnTo>
                  <a:lnTo>
                    <a:pt x="969" y="185"/>
                  </a:lnTo>
                  <a:lnTo>
                    <a:pt x="954" y="169"/>
                  </a:lnTo>
                  <a:lnTo>
                    <a:pt x="954" y="185"/>
                  </a:lnTo>
                  <a:lnTo>
                    <a:pt x="939" y="200"/>
                  </a:lnTo>
                  <a:lnTo>
                    <a:pt x="909" y="231"/>
                  </a:lnTo>
                  <a:lnTo>
                    <a:pt x="895" y="215"/>
                  </a:lnTo>
                  <a:lnTo>
                    <a:pt x="880" y="231"/>
                  </a:lnTo>
                  <a:lnTo>
                    <a:pt x="865" y="215"/>
                  </a:lnTo>
                  <a:lnTo>
                    <a:pt x="835" y="231"/>
                  </a:lnTo>
                  <a:lnTo>
                    <a:pt x="805" y="261"/>
                  </a:lnTo>
                  <a:lnTo>
                    <a:pt x="805" y="246"/>
                  </a:lnTo>
                  <a:lnTo>
                    <a:pt x="775" y="246"/>
                  </a:lnTo>
                  <a:lnTo>
                    <a:pt x="775" y="261"/>
                  </a:lnTo>
                  <a:lnTo>
                    <a:pt x="760" y="277"/>
                  </a:lnTo>
                  <a:lnTo>
                    <a:pt x="731" y="292"/>
                  </a:lnTo>
                  <a:lnTo>
                    <a:pt x="701" y="292"/>
                  </a:lnTo>
                  <a:lnTo>
                    <a:pt x="701" y="277"/>
                  </a:lnTo>
                  <a:lnTo>
                    <a:pt x="716" y="246"/>
                  </a:lnTo>
                  <a:lnTo>
                    <a:pt x="716" y="231"/>
                  </a:lnTo>
                  <a:lnTo>
                    <a:pt x="701" y="231"/>
                  </a:lnTo>
                  <a:lnTo>
                    <a:pt x="716" y="200"/>
                  </a:lnTo>
                  <a:lnTo>
                    <a:pt x="716" y="185"/>
                  </a:lnTo>
                  <a:lnTo>
                    <a:pt x="701" y="185"/>
                  </a:lnTo>
                  <a:lnTo>
                    <a:pt x="671" y="200"/>
                  </a:lnTo>
                  <a:lnTo>
                    <a:pt x="656" y="215"/>
                  </a:lnTo>
                  <a:lnTo>
                    <a:pt x="656" y="231"/>
                  </a:lnTo>
                  <a:lnTo>
                    <a:pt x="626" y="277"/>
                  </a:lnTo>
                  <a:lnTo>
                    <a:pt x="626" y="261"/>
                  </a:lnTo>
                  <a:lnTo>
                    <a:pt x="626" y="231"/>
                  </a:lnTo>
                  <a:lnTo>
                    <a:pt x="656" y="200"/>
                  </a:lnTo>
                  <a:lnTo>
                    <a:pt x="641" y="200"/>
                  </a:lnTo>
                  <a:lnTo>
                    <a:pt x="671" y="169"/>
                  </a:lnTo>
                  <a:lnTo>
                    <a:pt x="716" y="169"/>
                  </a:lnTo>
                  <a:lnTo>
                    <a:pt x="716" y="154"/>
                  </a:lnTo>
                  <a:lnTo>
                    <a:pt x="656" y="138"/>
                  </a:lnTo>
                  <a:lnTo>
                    <a:pt x="626" y="138"/>
                  </a:lnTo>
                  <a:lnTo>
                    <a:pt x="581" y="138"/>
                  </a:lnTo>
                  <a:lnTo>
                    <a:pt x="626" y="108"/>
                  </a:lnTo>
                  <a:lnTo>
                    <a:pt x="537" y="77"/>
                  </a:lnTo>
                  <a:lnTo>
                    <a:pt x="507" y="77"/>
                  </a:lnTo>
                  <a:lnTo>
                    <a:pt x="373" y="46"/>
                  </a:lnTo>
                  <a:lnTo>
                    <a:pt x="224" y="31"/>
                  </a:lnTo>
                  <a:lnTo>
                    <a:pt x="119" y="0"/>
                  </a:lnTo>
                  <a:lnTo>
                    <a:pt x="104" y="31"/>
                  </a:lnTo>
                  <a:lnTo>
                    <a:pt x="104" y="46"/>
                  </a:lnTo>
                  <a:lnTo>
                    <a:pt x="104" y="31"/>
                  </a:lnTo>
                  <a:lnTo>
                    <a:pt x="75" y="15"/>
                  </a:lnTo>
                  <a:lnTo>
                    <a:pt x="60" y="77"/>
                  </a:lnTo>
                  <a:lnTo>
                    <a:pt x="30" y="154"/>
                  </a:lnTo>
                  <a:lnTo>
                    <a:pt x="15" y="215"/>
                  </a:lnTo>
                  <a:lnTo>
                    <a:pt x="0" y="231"/>
                  </a:lnTo>
                  <a:lnTo>
                    <a:pt x="15" y="338"/>
                  </a:lnTo>
                  <a:lnTo>
                    <a:pt x="30" y="385"/>
                  </a:lnTo>
                  <a:lnTo>
                    <a:pt x="60" y="400"/>
                  </a:lnTo>
                  <a:lnTo>
                    <a:pt x="60" y="4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89" name="Freeform 14"/>
            <p:cNvSpPr>
              <a:spLocks/>
            </p:cNvSpPr>
            <p:nvPr/>
          </p:nvSpPr>
          <p:spPr bwMode="auto">
            <a:xfrm>
              <a:off x="25" y="1111"/>
              <a:ext cx="270" cy="227"/>
            </a:xfrm>
            <a:custGeom>
              <a:avLst/>
              <a:gdLst>
                <a:gd name="T0" fmla="*/ 17 w 627"/>
                <a:gd name="T1" fmla="*/ 12 h 600"/>
                <a:gd name="T2" fmla="*/ 17 w 627"/>
                <a:gd name="T3" fmla="*/ 12 h 600"/>
                <a:gd name="T4" fmla="*/ 17 w 627"/>
                <a:gd name="T5" fmla="*/ 11 h 600"/>
                <a:gd name="T6" fmla="*/ 17 w 627"/>
                <a:gd name="T7" fmla="*/ 10 h 600"/>
                <a:gd name="T8" fmla="*/ 16 w 627"/>
                <a:gd name="T9" fmla="*/ 9 h 600"/>
                <a:gd name="T10" fmla="*/ 16 w 627"/>
                <a:gd name="T11" fmla="*/ 9 h 600"/>
                <a:gd name="T12" fmla="*/ 15 w 627"/>
                <a:gd name="T13" fmla="*/ 8 h 600"/>
                <a:gd name="T14" fmla="*/ 15 w 627"/>
                <a:gd name="T15" fmla="*/ 8 h 600"/>
                <a:gd name="T16" fmla="*/ 15 w 627"/>
                <a:gd name="T17" fmla="*/ 8 h 600"/>
                <a:gd name="T18" fmla="*/ 22 w 627"/>
                <a:gd name="T19" fmla="*/ 2 h 600"/>
                <a:gd name="T20" fmla="*/ 20 w 627"/>
                <a:gd name="T21" fmla="*/ 1 h 600"/>
                <a:gd name="T22" fmla="*/ 19 w 627"/>
                <a:gd name="T23" fmla="*/ 1 h 600"/>
                <a:gd name="T24" fmla="*/ 17 w 627"/>
                <a:gd name="T25" fmla="*/ 1 h 600"/>
                <a:gd name="T26" fmla="*/ 16 w 627"/>
                <a:gd name="T27" fmla="*/ 1 h 600"/>
                <a:gd name="T28" fmla="*/ 16 w 627"/>
                <a:gd name="T29" fmla="*/ 1 h 600"/>
                <a:gd name="T30" fmla="*/ 14 w 627"/>
                <a:gd name="T31" fmla="*/ 0 h 600"/>
                <a:gd name="T32" fmla="*/ 13 w 627"/>
                <a:gd name="T33" fmla="*/ 0 h 600"/>
                <a:gd name="T34" fmla="*/ 13 w 627"/>
                <a:gd name="T35" fmla="*/ 2 h 600"/>
                <a:gd name="T36" fmla="*/ 12 w 627"/>
                <a:gd name="T37" fmla="*/ 2 h 600"/>
                <a:gd name="T38" fmla="*/ 12 w 627"/>
                <a:gd name="T39" fmla="*/ 2 h 600"/>
                <a:gd name="T40" fmla="*/ 11 w 627"/>
                <a:gd name="T41" fmla="*/ 1 h 600"/>
                <a:gd name="T42" fmla="*/ 9 w 627"/>
                <a:gd name="T43" fmla="*/ 2 h 600"/>
                <a:gd name="T44" fmla="*/ 10 w 627"/>
                <a:gd name="T45" fmla="*/ 2 h 600"/>
                <a:gd name="T46" fmla="*/ 11 w 627"/>
                <a:gd name="T47" fmla="*/ 3 h 600"/>
                <a:gd name="T48" fmla="*/ 9 w 627"/>
                <a:gd name="T49" fmla="*/ 3 h 600"/>
                <a:gd name="T50" fmla="*/ 7 w 627"/>
                <a:gd name="T51" fmla="*/ 3 h 600"/>
                <a:gd name="T52" fmla="*/ 5 w 627"/>
                <a:gd name="T53" fmla="*/ 3 h 600"/>
                <a:gd name="T54" fmla="*/ 5 w 627"/>
                <a:gd name="T55" fmla="*/ 5 h 600"/>
                <a:gd name="T56" fmla="*/ 6 w 627"/>
                <a:gd name="T57" fmla="*/ 5 h 600"/>
                <a:gd name="T58" fmla="*/ 4 w 627"/>
                <a:gd name="T59" fmla="*/ 5 h 600"/>
                <a:gd name="T60" fmla="*/ 3 w 627"/>
                <a:gd name="T61" fmla="*/ 6 h 600"/>
                <a:gd name="T62" fmla="*/ 0 w 627"/>
                <a:gd name="T63" fmla="*/ 6 h 600"/>
                <a:gd name="T64" fmla="*/ 1 w 627"/>
                <a:gd name="T65" fmla="*/ 6 h 600"/>
                <a:gd name="T66" fmla="*/ 4 w 627"/>
                <a:gd name="T67" fmla="*/ 6 h 600"/>
                <a:gd name="T68" fmla="*/ 8 w 627"/>
                <a:gd name="T69" fmla="*/ 6 h 600"/>
                <a:gd name="T70" fmla="*/ 8 w 627"/>
                <a:gd name="T71" fmla="*/ 5 h 600"/>
                <a:gd name="T72" fmla="*/ 11 w 627"/>
                <a:gd name="T73" fmla="*/ 5 h 600"/>
                <a:gd name="T74" fmla="*/ 11 w 627"/>
                <a:gd name="T75" fmla="*/ 6 h 600"/>
                <a:gd name="T76" fmla="*/ 9 w 627"/>
                <a:gd name="T77" fmla="*/ 6 h 600"/>
                <a:gd name="T78" fmla="*/ 9 w 627"/>
                <a:gd name="T79" fmla="*/ 6 h 600"/>
                <a:gd name="T80" fmla="*/ 11 w 627"/>
                <a:gd name="T81" fmla="*/ 6 h 600"/>
                <a:gd name="T82" fmla="*/ 12 w 627"/>
                <a:gd name="T83" fmla="*/ 6 h 600"/>
                <a:gd name="T84" fmla="*/ 13 w 627"/>
                <a:gd name="T85" fmla="*/ 8 h 600"/>
                <a:gd name="T86" fmla="*/ 14 w 627"/>
                <a:gd name="T87" fmla="*/ 8 h 600"/>
                <a:gd name="T88" fmla="*/ 15 w 627"/>
                <a:gd name="T89" fmla="*/ 9 h 600"/>
                <a:gd name="T90" fmla="*/ 16 w 627"/>
                <a:gd name="T91" fmla="*/ 12 h 600"/>
                <a:gd name="T92" fmla="*/ 17 w 627"/>
                <a:gd name="T93" fmla="*/ 12 h 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27" h="600">
                  <a:moveTo>
                    <a:pt x="507" y="599"/>
                  </a:moveTo>
                  <a:lnTo>
                    <a:pt x="507" y="584"/>
                  </a:lnTo>
                  <a:lnTo>
                    <a:pt x="492" y="553"/>
                  </a:lnTo>
                  <a:lnTo>
                    <a:pt x="492" y="491"/>
                  </a:lnTo>
                  <a:lnTo>
                    <a:pt x="477" y="461"/>
                  </a:lnTo>
                  <a:lnTo>
                    <a:pt x="447" y="461"/>
                  </a:lnTo>
                  <a:lnTo>
                    <a:pt x="432" y="415"/>
                  </a:lnTo>
                  <a:lnTo>
                    <a:pt x="417" y="415"/>
                  </a:lnTo>
                  <a:lnTo>
                    <a:pt x="417" y="399"/>
                  </a:lnTo>
                  <a:lnTo>
                    <a:pt x="626" y="92"/>
                  </a:lnTo>
                  <a:lnTo>
                    <a:pt x="581" y="61"/>
                  </a:lnTo>
                  <a:lnTo>
                    <a:pt x="537" y="31"/>
                  </a:lnTo>
                  <a:lnTo>
                    <a:pt x="507" y="46"/>
                  </a:lnTo>
                  <a:lnTo>
                    <a:pt x="477" y="46"/>
                  </a:lnTo>
                  <a:lnTo>
                    <a:pt x="447" y="46"/>
                  </a:lnTo>
                  <a:lnTo>
                    <a:pt x="402" y="0"/>
                  </a:lnTo>
                  <a:lnTo>
                    <a:pt x="388" y="0"/>
                  </a:lnTo>
                  <a:lnTo>
                    <a:pt x="388" y="92"/>
                  </a:lnTo>
                  <a:lnTo>
                    <a:pt x="358" y="108"/>
                  </a:lnTo>
                  <a:lnTo>
                    <a:pt x="343" y="108"/>
                  </a:lnTo>
                  <a:lnTo>
                    <a:pt x="313" y="61"/>
                  </a:lnTo>
                  <a:lnTo>
                    <a:pt x="253" y="77"/>
                  </a:lnTo>
                  <a:lnTo>
                    <a:pt x="283" y="108"/>
                  </a:lnTo>
                  <a:lnTo>
                    <a:pt x="313" y="138"/>
                  </a:lnTo>
                  <a:lnTo>
                    <a:pt x="268" y="169"/>
                  </a:lnTo>
                  <a:lnTo>
                    <a:pt x="209" y="138"/>
                  </a:lnTo>
                  <a:lnTo>
                    <a:pt x="134" y="154"/>
                  </a:lnTo>
                  <a:lnTo>
                    <a:pt x="134" y="215"/>
                  </a:lnTo>
                  <a:lnTo>
                    <a:pt x="164" y="246"/>
                  </a:lnTo>
                  <a:lnTo>
                    <a:pt x="119" y="261"/>
                  </a:lnTo>
                  <a:lnTo>
                    <a:pt x="75" y="276"/>
                  </a:lnTo>
                  <a:lnTo>
                    <a:pt x="0" y="323"/>
                  </a:lnTo>
                  <a:lnTo>
                    <a:pt x="45" y="323"/>
                  </a:lnTo>
                  <a:lnTo>
                    <a:pt x="119" y="323"/>
                  </a:lnTo>
                  <a:lnTo>
                    <a:pt x="224" y="292"/>
                  </a:lnTo>
                  <a:lnTo>
                    <a:pt x="224" y="261"/>
                  </a:lnTo>
                  <a:lnTo>
                    <a:pt x="328" y="261"/>
                  </a:lnTo>
                  <a:lnTo>
                    <a:pt x="328" y="292"/>
                  </a:lnTo>
                  <a:lnTo>
                    <a:pt x="253" y="292"/>
                  </a:lnTo>
                  <a:lnTo>
                    <a:pt x="253" y="307"/>
                  </a:lnTo>
                  <a:lnTo>
                    <a:pt x="313" y="323"/>
                  </a:lnTo>
                  <a:lnTo>
                    <a:pt x="343" y="323"/>
                  </a:lnTo>
                  <a:lnTo>
                    <a:pt x="388" y="369"/>
                  </a:lnTo>
                  <a:lnTo>
                    <a:pt x="402" y="415"/>
                  </a:lnTo>
                  <a:lnTo>
                    <a:pt x="432" y="461"/>
                  </a:lnTo>
                  <a:lnTo>
                    <a:pt x="462" y="599"/>
                  </a:lnTo>
                  <a:lnTo>
                    <a:pt x="507" y="59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90" name="Freeform 15"/>
            <p:cNvSpPr>
              <a:spLocks/>
            </p:cNvSpPr>
            <p:nvPr/>
          </p:nvSpPr>
          <p:spPr bwMode="auto">
            <a:xfrm>
              <a:off x="327" y="1221"/>
              <a:ext cx="39" cy="24"/>
            </a:xfrm>
            <a:custGeom>
              <a:avLst/>
              <a:gdLst>
                <a:gd name="T0" fmla="*/ 0 w 90"/>
                <a:gd name="T1" fmla="*/ 0 h 62"/>
                <a:gd name="T2" fmla="*/ 3 w 90"/>
                <a:gd name="T3" fmla="*/ 0 h 62"/>
                <a:gd name="T4" fmla="*/ 3 w 90"/>
                <a:gd name="T5" fmla="*/ 0 h 62"/>
                <a:gd name="T6" fmla="*/ 3 w 90"/>
                <a:gd name="T7" fmla="*/ 1 h 62"/>
                <a:gd name="T8" fmla="*/ 3 w 90"/>
                <a:gd name="T9" fmla="*/ 1 h 62"/>
                <a:gd name="T10" fmla="*/ 2 w 90"/>
                <a:gd name="T11" fmla="*/ 1 h 62"/>
                <a:gd name="T12" fmla="*/ 2 w 90"/>
                <a:gd name="T13" fmla="*/ 1 h 62"/>
                <a:gd name="T14" fmla="*/ 1 w 90"/>
                <a:gd name="T15" fmla="*/ 1 h 62"/>
                <a:gd name="T16" fmla="*/ 0 w 90"/>
                <a:gd name="T17" fmla="*/ 1 h 62"/>
                <a:gd name="T18" fmla="*/ 0 w 90"/>
                <a:gd name="T19" fmla="*/ 1 h 62"/>
                <a:gd name="T20" fmla="*/ 1 w 90"/>
                <a:gd name="T21" fmla="*/ 1 h 62"/>
                <a:gd name="T22" fmla="*/ 0 w 90"/>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0" h="62">
                  <a:moveTo>
                    <a:pt x="15" y="0"/>
                  </a:moveTo>
                  <a:lnTo>
                    <a:pt x="89" y="0"/>
                  </a:lnTo>
                  <a:lnTo>
                    <a:pt x="74" y="15"/>
                  </a:lnTo>
                  <a:lnTo>
                    <a:pt x="89" y="46"/>
                  </a:lnTo>
                  <a:lnTo>
                    <a:pt x="74" y="61"/>
                  </a:lnTo>
                  <a:lnTo>
                    <a:pt x="59" y="46"/>
                  </a:lnTo>
                  <a:lnTo>
                    <a:pt x="45" y="61"/>
                  </a:lnTo>
                  <a:lnTo>
                    <a:pt x="30" y="46"/>
                  </a:lnTo>
                  <a:lnTo>
                    <a:pt x="15" y="61"/>
                  </a:lnTo>
                  <a:lnTo>
                    <a:pt x="0" y="46"/>
                  </a:lnTo>
                  <a:lnTo>
                    <a:pt x="30" y="31"/>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91" name="Freeform 16"/>
            <p:cNvSpPr>
              <a:spLocks/>
            </p:cNvSpPr>
            <p:nvPr/>
          </p:nvSpPr>
          <p:spPr bwMode="auto">
            <a:xfrm>
              <a:off x="339" y="1268"/>
              <a:ext cx="33" cy="24"/>
            </a:xfrm>
            <a:custGeom>
              <a:avLst/>
              <a:gdLst>
                <a:gd name="T0" fmla="*/ 1 w 77"/>
                <a:gd name="T1" fmla="*/ 0 h 63"/>
                <a:gd name="T2" fmla="*/ 2 w 77"/>
                <a:gd name="T3" fmla="*/ 0 h 63"/>
                <a:gd name="T4" fmla="*/ 2 w 77"/>
                <a:gd name="T5" fmla="*/ 1 h 63"/>
                <a:gd name="T6" fmla="*/ 2 w 77"/>
                <a:gd name="T7" fmla="*/ 0 h 63"/>
                <a:gd name="T8" fmla="*/ 3 w 77"/>
                <a:gd name="T9" fmla="*/ 1 h 63"/>
                <a:gd name="T10" fmla="*/ 2 w 77"/>
                <a:gd name="T11" fmla="*/ 1 h 63"/>
                <a:gd name="T12" fmla="*/ 1 w 77"/>
                <a:gd name="T13" fmla="*/ 1 h 63"/>
                <a:gd name="T14" fmla="*/ 0 w 77"/>
                <a:gd name="T15" fmla="*/ 1 h 63"/>
                <a:gd name="T16" fmla="*/ 0 w 77"/>
                <a:gd name="T17" fmla="*/ 1 h 63"/>
                <a:gd name="T18" fmla="*/ 1 w 77"/>
                <a:gd name="T19" fmla="*/ 1 h 63"/>
                <a:gd name="T20" fmla="*/ 1 w 77"/>
                <a:gd name="T21" fmla="*/ 0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7" h="63">
                  <a:moveTo>
                    <a:pt x="30" y="0"/>
                  </a:moveTo>
                  <a:lnTo>
                    <a:pt x="46" y="16"/>
                  </a:lnTo>
                  <a:lnTo>
                    <a:pt x="46" y="31"/>
                  </a:lnTo>
                  <a:lnTo>
                    <a:pt x="61" y="16"/>
                  </a:lnTo>
                  <a:lnTo>
                    <a:pt x="76" y="47"/>
                  </a:lnTo>
                  <a:lnTo>
                    <a:pt x="46" y="47"/>
                  </a:lnTo>
                  <a:lnTo>
                    <a:pt x="30" y="62"/>
                  </a:lnTo>
                  <a:lnTo>
                    <a:pt x="0" y="47"/>
                  </a:lnTo>
                  <a:lnTo>
                    <a:pt x="15" y="31"/>
                  </a:lnTo>
                  <a:lnTo>
                    <a:pt x="30" y="31"/>
                  </a:lnTo>
                  <a:lnTo>
                    <a:pt x="3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92" name="Freeform 17"/>
            <p:cNvSpPr>
              <a:spLocks/>
            </p:cNvSpPr>
            <p:nvPr/>
          </p:nvSpPr>
          <p:spPr bwMode="auto">
            <a:xfrm>
              <a:off x="384" y="1395"/>
              <a:ext cx="7" cy="19"/>
            </a:xfrm>
            <a:custGeom>
              <a:avLst/>
              <a:gdLst>
                <a:gd name="T0" fmla="*/ 0 w 17"/>
                <a:gd name="T1" fmla="*/ 0 h 47"/>
                <a:gd name="T2" fmla="*/ 0 w 17"/>
                <a:gd name="T3" fmla="*/ 0 h 47"/>
                <a:gd name="T4" fmla="*/ 0 w 17"/>
                <a:gd name="T5" fmla="*/ 1 h 47"/>
                <a:gd name="T6" fmla="*/ 0 w 17"/>
                <a:gd name="T7" fmla="*/ 0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47">
                  <a:moveTo>
                    <a:pt x="0" y="0"/>
                  </a:moveTo>
                  <a:lnTo>
                    <a:pt x="16" y="0"/>
                  </a:lnTo>
                  <a:lnTo>
                    <a:pt x="16" y="4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93" name="Freeform 18"/>
            <p:cNvSpPr>
              <a:spLocks/>
            </p:cNvSpPr>
            <p:nvPr/>
          </p:nvSpPr>
          <p:spPr bwMode="auto">
            <a:xfrm>
              <a:off x="441" y="1785"/>
              <a:ext cx="27" cy="24"/>
            </a:xfrm>
            <a:custGeom>
              <a:avLst/>
              <a:gdLst>
                <a:gd name="T0" fmla="*/ 2 w 61"/>
                <a:gd name="T1" fmla="*/ 1 h 62"/>
                <a:gd name="T2" fmla="*/ 2 w 61"/>
                <a:gd name="T3" fmla="*/ 0 h 62"/>
                <a:gd name="T4" fmla="*/ 0 w 61"/>
                <a:gd name="T5" fmla="*/ 0 h 62"/>
                <a:gd name="T6" fmla="*/ 0 w 61"/>
                <a:gd name="T7" fmla="*/ 0 h 62"/>
                <a:gd name="T8" fmla="*/ 0 w 61"/>
                <a:gd name="T9" fmla="*/ 0 h 62"/>
                <a:gd name="T10" fmla="*/ 0 w 61"/>
                <a:gd name="T11" fmla="*/ 1 h 62"/>
                <a:gd name="T12" fmla="*/ 1 w 61"/>
                <a:gd name="T13" fmla="*/ 1 h 62"/>
                <a:gd name="T14" fmla="*/ 1 w 61"/>
                <a:gd name="T15" fmla="*/ 1 h 62"/>
                <a:gd name="T16" fmla="*/ 2 w 61"/>
                <a:gd name="T17" fmla="*/ 1 h 62"/>
                <a:gd name="T18" fmla="*/ 2 w 61"/>
                <a:gd name="T19" fmla="*/ 1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62">
                  <a:moveTo>
                    <a:pt x="60" y="31"/>
                  </a:moveTo>
                  <a:lnTo>
                    <a:pt x="45" y="0"/>
                  </a:lnTo>
                  <a:lnTo>
                    <a:pt x="15" y="0"/>
                  </a:lnTo>
                  <a:lnTo>
                    <a:pt x="0" y="0"/>
                  </a:lnTo>
                  <a:lnTo>
                    <a:pt x="0" y="15"/>
                  </a:lnTo>
                  <a:lnTo>
                    <a:pt x="15" y="31"/>
                  </a:lnTo>
                  <a:lnTo>
                    <a:pt x="30" y="31"/>
                  </a:lnTo>
                  <a:lnTo>
                    <a:pt x="30" y="46"/>
                  </a:lnTo>
                  <a:lnTo>
                    <a:pt x="45" y="61"/>
                  </a:lnTo>
                  <a:lnTo>
                    <a:pt x="6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94" name="Freeform 19"/>
            <p:cNvSpPr>
              <a:spLocks/>
            </p:cNvSpPr>
            <p:nvPr/>
          </p:nvSpPr>
          <p:spPr bwMode="auto">
            <a:xfrm>
              <a:off x="429" y="1756"/>
              <a:ext cx="33" cy="30"/>
            </a:xfrm>
            <a:custGeom>
              <a:avLst/>
              <a:gdLst>
                <a:gd name="T0" fmla="*/ 1 w 76"/>
                <a:gd name="T1" fmla="*/ 2 h 78"/>
                <a:gd name="T2" fmla="*/ 2 w 76"/>
                <a:gd name="T3" fmla="*/ 2 h 78"/>
                <a:gd name="T4" fmla="*/ 3 w 76"/>
                <a:gd name="T5" fmla="*/ 2 h 78"/>
                <a:gd name="T6" fmla="*/ 3 w 76"/>
                <a:gd name="T7" fmla="*/ 0 h 78"/>
                <a:gd name="T8" fmla="*/ 1 w 76"/>
                <a:gd name="T9" fmla="*/ 0 h 78"/>
                <a:gd name="T10" fmla="*/ 0 w 76"/>
                <a:gd name="T11" fmla="*/ 1 h 78"/>
                <a:gd name="T12" fmla="*/ 0 w 76"/>
                <a:gd name="T13" fmla="*/ 1 h 78"/>
                <a:gd name="T14" fmla="*/ 1 w 76"/>
                <a:gd name="T15" fmla="*/ 2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6" h="78">
                  <a:moveTo>
                    <a:pt x="30" y="77"/>
                  </a:moveTo>
                  <a:lnTo>
                    <a:pt x="45" y="77"/>
                  </a:lnTo>
                  <a:lnTo>
                    <a:pt x="75" y="77"/>
                  </a:lnTo>
                  <a:lnTo>
                    <a:pt x="75" y="0"/>
                  </a:lnTo>
                  <a:lnTo>
                    <a:pt x="30" y="15"/>
                  </a:lnTo>
                  <a:lnTo>
                    <a:pt x="15" y="31"/>
                  </a:lnTo>
                  <a:lnTo>
                    <a:pt x="0" y="31"/>
                  </a:lnTo>
                  <a:lnTo>
                    <a:pt x="30" y="77"/>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395" name="Freeform 20"/>
            <p:cNvSpPr>
              <a:spLocks/>
            </p:cNvSpPr>
            <p:nvPr/>
          </p:nvSpPr>
          <p:spPr bwMode="auto">
            <a:xfrm>
              <a:off x="416" y="1744"/>
              <a:ext cx="46" cy="24"/>
            </a:xfrm>
            <a:custGeom>
              <a:avLst/>
              <a:gdLst>
                <a:gd name="T0" fmla="*/ 4 w 106"/>
                <a:gd name="T1" fmla="*/ 1 h 63"/>
                <a:gd name="T2" fmla="*/ 3 w 106"/>
                <a:gd name="T3" fmla="*/ 0 h 63"/>
                <a:gd name="T4" fmla="*/ 1 w 106"/>
                <a:gd name="T5" fmla="*/ 0 h 63"/>
                <a:gd name="T6" fmla="*/ 0 w 106"/>
                <a:gd name="T7" fmla="*/ 1 h 63"/>
                <a:gd name="T8" fmla="*/ 1 w 106"/>
                <a:gd name="T9" fmla="*/ 1 h 63"/>
                <a:gd name="T10" fmla="*/ 1 w 106"/>
                <a:gd name="T11" fmla="*/ 1 h 63"/>
                <a:gd name="T12" fmla="*/ 2 w 106"/>
                <a:gd name="T13" fmla="*/ 1 h 63"/>
                <a:gd name="T14" fmla="*/ 2 w 106"/>
                <a:gd name="T15" fmla="*/ 1 h 63"/>
                <a:gd name="T16" fmla="*/ 4 w 106"/>
                <a:gd name="T17" fmla="*/ 1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6" h="63">
                  <a:moveTo>
                    <a:pt x="105" y="31"/>
                  </a:moveTo>
                  <a:lnTo>
                    <a:pt x="90" y="16"/>
                  </a:lnTo>
                  <a:lnTo>
                    <a:pt x="30" y="0"/>
                  </a:lnTo>
                  <a:lnTo>
                    <a:pt x="0" y="31"/>
                  </a:lnTo>
                  <a:lnTo>
                    <a:pt x="30" y="47"/>
                  </a:lnTo>
                  <a:lnTo>
                    <a:pt x="30" y="62"/>
                  </a:lnTo>
                  <a:lnTo>
                    <a:pt x="45" y="62"/>
                  </a:lnTo>
                  <a:lnTo>
                    <a:pt x="60" y="47"/>
                  </a:lnTo>
                  <a:lnTo>
                    <a:pt x="105" y="31"/>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96" name="Freeform 21"/>
            <p:cNvSpPr>
              <a:spLocks/>
            </p:cNvSpPr>
            <p:nvPr/>
          </p:nvSpPr>
          <p:spPr bwMode="auto">
            <a:xfrm>
              <a:off x="410" y="1756"/>
              <a:ext cx="19" cy="12"/>
            </a:xfrm>
            <a:custGeom>
              <a:avLst/>
              <a:gdLst>
                <a:gd name="T0" fmla="*/ 1 w 46"/>
                <a:gd name="T1" fmla="*/ 1 h 32"/>
                <a:gd name="T2" fmla="*/ 1 w 46"/>
                <a:gd name="T3" fmla="*/ 0 h 32"/>
                <a:gd name="T4" fmla="*/ 0 w 46"/>
                <a:gd name="T5" fmla="*/ 0 h 32"/>
                <a:gd name="T6" fmla="*/ 0 w 46"/>
                <a:gd name="T7" fmla="*/ 0 h 32"/>
                <a:gd name="T8" fmla="*/ 1 w 46"/>
                <a:gd name="T9" fmla="*/ 1 h 32"/>
                <a:gd name="T10" fmla="*/ 1 w 46"/>
                <a:gd name="T11" fmla="*/ 1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32">
                  <a:moveTo>
                    <a:pt x="45" y="31"/>
                  </a:moveTo>
                  <a:lnTo>
                    <a:pt x="45" y="16"/>
                  </a:lnTo>
                  <a:lnTo>
                    <a:pt x="15" y="0"/>
                  </a:lnTo>
                  <a:lnTo>
                    <a:pt x="0" y="16"/>
                  </a:lnTo>
                  <a:lnTo>
                    <a:pt x="30" y="31"/>
                  </a:lnTo>
                  <a:lnTo>
                    <a:pt x="45" y="31"/>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97" name="Freeform 22"/>
            <p:cNvSpPr>
              <a:spLocks/>
            </p:cNvSpPr>
            <p:nvPr/>
          </p:nvSpPr>
          <p:spPr bwMode="auto">
            <a:xfrm>
              <a:off x="397" y="1727"/>
              <a:ext cx="32" cy="35"/>
            </a:xfrm>
            <a:custGeom>
              <a:avLst/>
              <a:gdLst>
                <a:gd name="T0" fmla="*/ 1 w 75"/>
                <a:gd name="T1" fmla="*/ 2 h 93"/>
                <a:gd name="T2" fmla="*/ 1 w 75"/>
                <a:gd name="T3" fmla="*/ 2 h 93"/>
                <a:gd name="T4" fmla="*/ 3 w 75"/>
                <a:gd name="T5" fmla="*/ 1 h 93"/>
                <a:gd name="T6" fmla="*/ 3 w 75"/>
                <a:gd name="T7" fmla="*/ 1 h 93"/>
                <a:gd name="T8" fmla="*/ 2 w 75"/>
                <a:gd name="T9" fmla="*/ 1 h 93"/>
                <a:gd name="T10" fmla="*/ 2 w 75"/>
                <a:gd name="T11" fmla="*/ 0 h 93"/>
                <a:gd name="T12" fmla="*/ 1 w 75"/>
                <a:gd name="T13" fmla="*/ 0 h 93"/>
                <a:gd name="T14" fmla="*/ 0 w 75"/>
                <a:gd name="T15" fmla="*/ 0 h 93"/>
                <a:gd name="T16" fmla="*/ 1 w 75"/>
                <a:gd name="T17" fmla="*/ 1 h 93"/>
                <a:gd name="T18" fmla="*/ 0 w 75"/>
                <a:gd name="T19" fmla="*/ 1 h 93"/>
                <a:gd name="T20" fmla="*/ 0 w 75"/>
                <a:gd name="T21" fmla="*/ 1 h 93"/>
                <a:gd name="T22" fmla="*/ 0 w 75"/>
                <a:gd name="T23" fmla="*/ 2 h 93"/>
                <a:gd name="T24" fmla="*/ 1 w 75"/>
                <a:gd name="T25" fmla="*/ 2 h 9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5" h="93">
                  <a:moveTo>
                    <a:pt x="30" y="92"/>
                  </a:moveTo>
                  <a:lnTo>
                    <a:pt x="44" y="77"/>
                  </a:lnTo>
                  <a:lnTo>
                    <a:pt x="74" y="46"/>
                  </a:lnTo>
                  <a:lnTo>
                    <a:pt x="74" y="31"/>
                  </a:lnTo>
                  <a:lnTo>
                    <a:pt x="59" y="31"/>
                  </a:lnTo>
                  <a:lnTo>
                    <a:pt x="59" y="0"/>
                  </a:lnTo>
                  <a:lnTo>
                    <a:pt x="30" y="0"/>
                  </a:lnTo>
                  <a:lnTo>
                    <a:pt x="15" y="15"/>
                  </a:lnTo>
                  <a:lnTo>
                    <a:pt x="30" y="31"/>
                  </a:lnTo>
                  <a:lnTo>
                    <a:pt x="15" y="31"/>
                  </a:lnTo>
                  <a:lnTo>
                    <a:pt x="0" y="61"/>
                  </a:lnTo>
                  <a:lnTo>
                    <a:pt x="0" y="77"/>
                  </a:lnTo>
                  <a:lnTo>
                    <a:pt x="30" y="92"/>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398" name="Freeform 23"/>
            <p:cNvSpPr>
              <a:spLocks/>
            </p:cNvSpPr>
            <p:nvPr/>
          </p:nvSpPr>
          <p:spPr bwMode="auto">
            <a:xfrm>
              <a:off x="423" y="1727"/>
              <a:ext cx="7" cy="12"/>
            </a:xfrm>
            <a:custGeom>
              <a:avLst/>
              <a:gdLst>
                <a:gd name="T0" fmla="*/ 0 w 17"/>
                <a:gd name="T1" fmla="*/ 0 h 32"/>
                <a:gd name="T2" fmla="*/ 0 w 17"/>
                <a:gd name="T3" fmla="*/ 1 h 32"/>
                <a:gd name="T4" fmla="*/ 0 w 17"/>
                <a:gd name="T5" fmla="*/ 1 h 32"/>
                <a:gd name="T6" fmla="*/ 0 w 17"/>
                <a:gd name="T7" fmla="*/ 0 h 32"/>
                <a:gd name="T8" fmla="*/ 0 w 17"/>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2">
                  <a:moveTo>
                    <a:pt x="0" y="0"/>
                  </a:moveTo>
                  <a:lnTo>
                    <a:pt x="0" y="31"/>
                  </a:lnTo>
                  <a:lnTo>
                    <a:pt x="16" y="31"/>
                  </a:lnTo>
                  <a:lnTo>
                    <a:pt x="16" y="0"/>
                  </a:lnTo>
                  <a:lnTo>
                    <a:pt x="0" y="0"/>
                  </a:lnTo>
                </a:path>
              </a:pathLst>
            </a:custGeom>
            <a:solidFill>
              <a:srgbClr val="FFFF0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399" name="Freeform 24"/>
            <p:cNvSpPr>
              <a:spLocks/>
            </p:cNvSpPr>
            <p:nvPr/>
          </p:nvSpPr>
          <p:spPr bwMode="auto">
            <a:xfrm>
              <a:off x="230" y="1582"/>
              <a:ext cx="212" cy="175"/>
            </a:xfrm>
            <a:custGeom>
              <a:avLst/>
              <a:gdLst>
                <a:gd name="T0" fmla="*/ 13 w 492"/>
                <a:gd name="T1" fmla="*/ 9 h 462"/>
                <a:gd name="T2" fmla="*/ 13 w 492"/>
                <a:gd name="T3" fmla="*/ 9 h 462"/>
                <a:gd name="T4" fmla="*/ 14 w 492"/>
                <a:gd name="T5" fmla="*/ 8 h 462"/>
                <a:gd name="T6" fmla="*/ 15 w 492"/>
                <a:gd name="T7" fmla="*/ 8 h 462"/>
                <a:gd name="T8" fmla="*/ 14 w 492"/>
                <a:gd name="T9" fmla="*/ 8 h 462"/>
                <a:gd name="T10" fmla="*/ 15 w 492"/>
                <a:gd name="T11" fmla="*/ 8 h 462"/>
                <a:gd name="T12" fmla="*/ 16 w 492"/>
                <a:gd name="T13" fmla="*/ 8 h 462"/>
                <a:gd name="T14" fmla="*/ 16 w 492"/>
                <a:gd name="T15" fmla="*/ 8 h 462"/>
                <a:gd name="T16" fmla="*/ 16 w 492"/>
                <a:gd name="T17" fmla="*/ 7 h 462"/>
                <a:gd name="T18" fmla="*/ 17 w 492"/>
                <a:gd name="T19" fmla="*/ 6 h 462"/>
                <a:gd name="T20" fmla="*/ 15 w 492"/>
                <a:gd name="T21" fmla="*/ 6 h 462"/>
                <a:gd name="T22" fmla="*/ 14 w 492"/>
                <a:gd name="T23" fmla="*/ 8 h 462"/>
                <a:gd name="T24" fmla="*/ 13 w 492"/>
                <a:gd name="T25" fmla="*/ 8 h 462"/>
                <a:gd name="T26" fmla="*/ 12 w 492"/>
                <a:gd name="T27" fmla="*/ 8 h 462"/>
                <a:gd name="T28" fmla="*/ 11 w 492"/>
                <a:gd name="T29" fmla="*/ 7 h 462"/>
                <a:gd name="T30" fmla="*/ 11 w 492"/>
                <a:gd name="T31" fmla="*/ 6 h 462"/>
                <a:gd name="T32" fmla="*/ 10 w 492"/>
                <a:gd name="T33" fmla="*/ 6 h 462"/>
                <a:gd name="T34" fmla="*/ 10 w 492"/>
                <a:gd name="T35" fmla="*/ 5 h 462"/>
                <a:gd name="T36" fmla="*/ 11 w 492"/>
                <a:gd name="T37" fmla="*/ 4 h 462"/>
                <a:gd name="T38" fmla="*/ 11 w 492"/>
                <a:gd name="T39" fmla="*/ 4 h 462"/>
                <a:gd name="T40" fmla="*/ 10 w 492"/>
                <a:gd name="T41" fmla="*/ 4 h 462"/>
                <a:gd name="T42" fmla="*/ 10 w 492"/>
                <a:gd name="T43" fmla="*/ 3 h 462"/>
                <a:gd name="T44" fmla="*/ 10 w 492"/>
                <a:gd name="T45" fmla="*/ 3 h 462"/>
                <a:gd name="T46" fmla="*/ 9 w 492"/>
                <a:gd name="T47" fmla="*/ 2 h 462"/>
                <a:gd name="T48" fmla="*/ 8 w 492"/>
                <a:gd name="T49" fmla="*/ 2 h 462"/>
                <a:gd name="T50" fmla="*/ 8 w 492"/>
                <a:gd name="T51" fmla="*/ 2 h 462"/>
                <a:gd name="T52" fmla="*/ 7 w 492"/>
                <a:gd name="T53" fmla="*/ 1 h 462"/>
                <a:gd name="T54" fmla="*/ 6 w 492"/>
                <a:gd name="T55" fmla="*/ 1 h 462"/>
                <a:gd name="T56" fmla="*/ 6 w 492"/>
                <a:gd name="T57" fmla="*/ 1 h 462"/>
                <a:gd name="T58" fmla="*/ 4 w 492"/>
                <a:gd name="T59" fmla="*/ 1 h 462"/>
                <a:gd name="T60" fmla="*/ 1 w 492"/>
                <a:gd name="T61" fmla="*/ 0 h 462"/>
                <a:gd name="T62" fmla="*/ 0 w 492"/>
                <a:gd name="T63" fmla="*/ 0 h 462"/>
                <a:gd name="T64" fmla="*/ 0 w 492"/>
                <a:gd name="T65" fmla="*/ 2 h 462"/>
                <a:gd name="T66" fmla="*/ 1 w 492"/>
                <a:gd name="T67" fmla="*/ 2 h 462"/>
                <a:gd name="T68" fmla="*/ 1 w 492"/>
                <a:gd name="T69" fmla="*/ 3 h 462"/>
                <a:gd name="T70" fmla="*/ 1 w 492"/>
                <a:gd name="T71" fmla="*/ 3 h 462"/>
                <a:gd name="T72" fmla="*/ 1 w 492"/>
                <a:gd name="T73" fmla="*/ 3 h 462"/>
                <a:gd name="T74" fmla="*/ 2 w 492"/>
                <a:gd name="T75" fmla="*/ 3 h 462"/>
                <a:gd name="T76" fmla="*/ 2 w 492"/>
                <a:gd name="T77" fmla="*/ 4 h 462"/>
                <a:gd name="T78" fmla="*/ 3 w 492"/>
                <a:gd name="T79" fmla="*/ 5 h 462"/>
                <a:gd name="T80" fmla="*/ 3 w 492"/>
                <a:gd name="T81" fmla="*/ 5 h 462"/>
                <a:gd name="T82" fmla="*/ 3 w 492"/>
                <a:gd name="T83" fmla="*/ 5 h 462"/>
                <a:gd name="T84" fmla="*/ 3 w 492"/>
                <a:gd name="T85" fmla="*/ 2 h 462"/>
                <a:gd name="T86" fmla="*/ 1 w 492"/>
                <a:gd name="T87" fmla="*/ 2 h 462"/>
                <a:gd name="T88" fmla="*/ 1 w 492"/>
                <a:gd name="T89" fmla="*/ 1 h 462"/>
                <a:gd name="T90" fmla="*/ 3 w 492"/>
                <a:gd name="T91" fmla="*/ 1 h 462"/>
                <a:gd name="T92" fmla="*/ 3 w 492"/>
                <a:gd name="T93" fmla="*/ 3 h 462"/>
                <a:gd name="T94" fmla="*/ 3 w 492"/>
                <a:gd name="T95" fmla="*/ 3 h 462"/>
                <a:gd name="T96" fmla="*/ 3 w 492"/>
                <a:gd name="T97" fmla="*/ 3 h 462"/>
                <a:gd name="T98" fmla="*/ 5 w 492"/>
                <a:gd name="T99" fmla="*/ 5 h 462"/>
                <a:gd name="T100" fmla="*/ 5 w 492"/>
                <a:gd name="T101" fmla="*/ 5 h 462"/>
                <a:gd name="T102" fmla="*/ 6 w 492"/>
                <a:gd name="T103" fmla="*/ 6 h 462"/>
                <a:gd name="T104" fmla="*/ 6 w 492"/>
                <a:gd name="T105" fmla="*/ 6 h 462"/>
                <a:gd name="T106" fmla="*/ 7 w 492"/>
                <a:gd name="T107" fmla="*/ 7 h 462"/>
                <a:gd name="T108" fmla="*/ 8 w 492"/>
                <a:gd name="T109" fmla="*/ 8 h 462"/>
                <a:gd name="T110" fmla="*/ 11 w 492"/>
                <a:gd name="T111" fmla="*/ 9 h 462"/>
                <a:gd name="T112" fmla="*/ 12 w 492"/>
                <a:gd name="T113" fmla="*/ 9 h 462"/>
                <a:gd name="T114" fmla="*/ 12 w 492"/>
                <a:gd name="T115" fmla="*/ 9 h 462"/>
                <a:gd name="T116" fmla="*/ 13 w 492"/>
                <a:gd name="T117" fmla="*/ 9 h 4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92" h="462">
                  <a:moveTo>
                    <a:pt x="387" y="461"/>
                  </a:moveTo>
                  <a:lnTo>
                    <a:pt x="387" y="446"/>
                  </a:lnTo>
                  <a:lnTo>
                    <a:pt x="402" y="415"/>
                  </a:lnTo>
                  <a:lnTo>
                    <a:pt x="417" y="415"/>
                  </a:lnTo>
                  <a:lnTo>
                    <a:pt x="402" y="400"/>
                  </a:lnTo>
                  <a:lnTo>
                    <a:pt x="417" y="384"/>
                  </a:lnTo>
                  <a:lnTo>
                    <a:pt x="446" y="384"/>
                  </a:lnTo>
                  <a:lnTo>
                    <a:pt x="461" y="384"/>
                  </a:lnTo>
                  <a:lnTo>
                    <a:pt x="476" y="338"/>
                  </a:lnTo>
                  <a:lnTo>
                    <a:pt x="491" y="307"/>
                  </a:lnTo>
                  <a:lnTo>
                    <a:pt x="431" y="307"/>
                  </a:lnTo>
                  <a:lnTo>
                    <a:pt x="402" y="369"/>
                  </a:lnTo>
                  <a:lnTo>
                    <a:pt x="372" y="369"/>
                  </a:lnTo>
                  <a:lnTo>
                    <a:pt x="357" y="384"/>
                  </a:lnTo>
                  <a:lnTo>
                    <a:pt x="327" y="353"/>
                  </a:lnTo>
                  <a:lnTo>
                    <a:pt x="312" y="292"/>
                  </a:lnTo>
                  <a:lnTo>
                    <a:pt x="298" y="277"/>
                  </a:lnTo>
                  <a:lnTo>
                    <a:pt x="298" y="215"/>
                  </a:lnTo>
                  <a:lnTo>
                    <a:pt x="327" y="200"/>
                  </a:lnTo>
                  <a:lnTo>
                    <a:pt x="327" y="184"/>
                  </a:lnTo>
                  <a:lnTo>
                    <a:pt x="298" y="184"/>
                  </a:lnTo>
                  <a:lnTo>
                    <a:pt x="298" y="154"/>
                  </a:lnTo>
                  <a:lnTo>
                    <a:pt x="283" y="123"/>
                  </a:lnTo>
                  <a:lnTo>
                    <a:pt x="268" y="92"/>
                  </a:lnTo>
                  <a:lnTo>
                    <a:pt x="238" y="92"/>
                  </a:lnTo>
                  <a:lnTo>
                    <a:pt x="223" y="108"/>
                  </a:lnTo>
                  <a:lnTo>
                    <a:pt x="193" y="31"/>
                  </a:lnTo>
                  <a:lnTo>
                    <a:pt x="164" y="31"/>
                  </a:lnTo>
                  <a:lnTo>
                    <a:pt x="164" y="46"/>
                  </a:lnTo>
                  <a:lnTo>
                    <a:pt x="119" y="31"/>
                  </a:lnTo>
                  <a:lnTo>
                    <a:pt x="45" y="15"/>
                  </a:lnTo>
                  <a:lnTo>
                    <a:pt x="0" y="0"/>
                  </a:lnTo>
                  <a:lnTo>
                    <a:pt x="15" y="77"/>
                  </a:lnTo>
                  <a:lnTo>
                    <a:pt x="30" y="92"/>
                  </a:lnTo>
                  <a:lnTo>
                    <a:pt x="45" y="123"/>
                  </a:lnTo>
                  <a:lnTo>
                    <a:pt x="30" y="123"/>
                  </a:lnTo>
                  <a:lnTo>
                    <a:pt x="45" y="154"/>
                  </a:lnTo>
                  <a:lnTo>
                    <a:pt x="60" y="169"/>
                  </a:lnTo>
                  <a:lnTo>
                    <a:pt x="60" y="200"/>
                  </a:lnTo>
                  <a:lnTo>
                    <a:pt x="89" y="246"/>
                  </a:lnTo>
                  <a:lnTo>
                    <a:pt x="104" y="246"/>
                  </a:lnTo>
                  <a:lnTo>
                    <a:pt x="89" y="215"/>
                  </a:lnTo>
                  <a:lnTo>
                    <a:pt x="74" y="108"/>
                  </a:lnTo>
                  <a:lnTo>
                    <a:pt x="45" y="77"/>
                  </a:lnTo>
                  <a:lnTo>
                    <a:pt x="45" y="31"/>
                  </a:lnTo>
                  <a:lnTo>
                    <a:pt x="74" y="61"/>
                  </a:lnTo>
                  <a:lnTo>
                    <a:pt x="89" y="123"/>
                  </a:lnTo>
                  <a:lnTo>
                    <a:pt x="89" y="154"/>
                  </a:lnTo>
                  <a:lnTo>
                    <a:pt x="104" y="169"/>
                  </a:lnTo>
                  <a:lnTo>
                    <a:pt x="134" y="215"/>
                  </a:lnTo>
                  <a:lnTo>
                    <a:pt x="149" y="215"/>
                  </a:lnTo>
                  <a:lnTo>
                    <a:pt x="164" y="292"/>
                  </a:lnTo>
                  <a:lnTo>
                    <a:pt x="164" y="323"/>
                  </a:lnTo>
                  <a:lnTo>
                    <a:pt x="193" y="353"/>
                  </a:lnTo>
                  <a:lnTo>
                    <a:pt x="238" y="400"/>
                  </a:lnTo>
                  <a:lnTo>
                    <a:pt x="312" y="430"/>
                  </a:lnTo>
                  <a:lnTo>
                    <a:pt x="342" y="430"/>
                  </a:lnTo>
                  <a:lnTo>
                    <a:pt x="357" y="430"/>
                  </a:lnTo>
                  <a:lnTo>
                    <a:pt x="387" y="461"/>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00" name="Freeform 25"/>
            <p:cNvSpPr>
              <a:spLocks/>
            </p:cNvSpPr>
            <p:nvPr/>
          </p:nvSpPr>
          <p:spPr bwMode="auto">
            <a:xfrm>
              <a:off x="460" y="1686"/>
              <a:ext cx="78" cy="29"/>
            </a:xfrm>
            <a:custGeom>
              <a:avLst/>
              <a:gdLst>
                <a:gd name="T0" fmla="*/ 0 w 180"/>
                <a:gd name="T1" fmla="*/ 0 h 78"/>
                <a:gd name="T2" fmla="*/ 0 w 180"/>
                <a:gd name="T3" fmla="*/ 0 h 78"/>
                <a:gd name="T4" fmla="*/ 0 w 180"/>
                <a:gd name="T5" fmla="*/ 0 h 78"/>
                <a:gd name="T6" fmla="*/ 2 w 180"/>
                <a:gd name="T7" fmla="*/ 0 h 78"/>
                <a:gd name="T8" fmla="*/ 3 w 180"/>
                <a:gd name="T9" fmla="*/ 0 h 78"/>
                <a:gd name="T10" fmla="*/ 3 w 180"/>
                <a:gd name="T11" fmla="*/ 0 h 78"/>
                <a:gd name="T12" fmla="*/ 4 w 180"/>
                <a:gd name="T13" fmla="*/ 1 h 78"/>
                <a:gd name="T14" fmla="*/ 4 w 180"/>
                <a:gd name="T15" fmla="*/ 1 h 78"/>
                <a:gd name="T16" fmla="*/ 4 w 180"/>
                <a:gd name="T17" fmla="*/ 1 h 78"/>
                <a:gd name="T18" fmla="*/ 7 w 180"/>
                <a:gd name="T19" fmla="*/ 1 h 78"/>
                <a:gd name="T20" fmla="*/ 7 w 180"/>
                <a:gd name="T21" fmla="*/ 1 h 78"/>
                <a:gd name="T22" fmla="*/ 6 w 180"/>
                <a:gd name="T23" fmla="*/ 1 h 78"/>
                <a:gd name="T24" fmla="*/ 5 w 180"/>
                <a:gd name="T25" fmla="*/ 1 h 78"/>
                <a:gd name="T26" fmla="*/ 5 w 180"/>
                <a:gd name="T27" fmla="*/ 1 h 78"/>
                <a:gd name="T28" fmla="*/ 5 w 180"/>
                <a:gd name="T29" fmla="*/ 1 h 78"/>
                <a:gd name="T30" fmla="*/ 4 w 180"/>
                <a:gd name="T31" fmla="*/ 0 h 78"/>
                <a:gd name="T32" fmla="*/ 3 w 180"/>
                <a:gd name="T33" fmla="*/ 0 h 78"/>
                <a:gd name="T34" fmla="*/ 2 w 180"/>
                <a:gd name="T35" fmla="*/ 0 h 78"/>
                <a:gd name="T36" fmla="*/ 0 w 180"/>
                <a:gd name="T37" fmla="*/ 0 h 78"/>
                <a:gd name="T38" fmla="*/ 0 w 180"/>
                <a:gd name="T39" fmla="*/ 0 h 7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0" h="78">
                  <a:moveTo>
                    <a:pt x="0" y="31"/>
                  </a:moveTo>
                  <a:lnTo>
                    <a:pt x="15" y="31"/>
                  </a:lnTo>
                  <a:lnTo>
                    <a:pt x="15" y="15"/>
                  </a:lnTo>
                  <a:lnTo>
                    <a:pt x="45" y="15"/>
                  </a:lnTo>
                  <a:lnTo>
                    <a:pt x="75" y="31"/>
                  </a:lnTo>
                  <a:lnTo>
                    <a:pt x="90" y="31"/>
                  </a:lnTo>
                  <a:lnTo>
                    <a:pt x="104" y="46"/>
                  </a:lnTo>
                  <a:lnTo>
                    <a:pt x="119" y="62"/>
                  </a:lnTo>
                  <a:lnTo>
                    <a:pt x="119" y="77"/>
                  </a:lnTo>
                  <a:lnTo>
                    <a:pt x="179" y="77"/>
                  </a:lnTo>
                  <a:lnTo>
                    <a:pt x="179" y="62"/>
                  </a:lnTo>
                  <a:lnTo>
                    <a:pt x="164" y="62"/>
                  </a:lnTo>
                  <a:lnTo>
                    <a:pt x="149" y="62"/>
                  </a:lnTo>
                  <a:lnTo>
                    <a:pt x="149" y="46"/>
                  </a:lnTo>
                  <a:lnTo>
                    <a:pt x="134" y="46"/>
                  </a:lnTo>
                  <a:lnTo>
                    <a:pt x="104" y="15"/>
                  </a:lnTo>
                  <a:lnTo>
                    <a:pt x="90" y="15"/>
                  </a:lnTo>
                  <a:lnTo>
                    <a:pt x="45" y="0"/>
                  </a:lnTo>
                  <a:lnTo>
                    <a:pt x="15" y="0"/>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01" name="Freeform 26"/>
            <p:cNvSpPr>
              <a:spLocks/>
            </p:cNvSpPr>
            <p:nvPr/>
          </p:nvSpPr>
          <p:spPr bwMode="auto">
            <a:xfrm>
              <a:off x="468" y="1698"/>
              <a:ext cx="7" cy="7"/>
            </a:xfrm>
            <a:custGeom>
              <a:avLst/>
              <a:gdLst>
                <a:gd name="T0" fmla="*/ 0 w 17"/>
                <a:gd name="T1" fmla="*/ 0 h 17"/>
                <a:gd name="T2" fmla="*/ 0 w 17"/>
                <a:gd name="T3" fmla="*/ 0 h 17"/>
                <a:gd name="T4" fmla="*/ 0 w 17"/>
                <a:gd name="T5" fmla="*/ 0 h 17"/>
                <a:gd name="T6" fmla="*/ 0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16" y="0"/>
                  </a:moveTo>
                  <a:lnTo>
                    <a:pt x="0" y="0"/>
                  </a:lnTo>
                  <a:lnTo>
                    <a:pt x="0" y="16"/>
                  </a:lnTo>
                  <a:lnTo>
                    <a:pt x="16" y="16"/>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02" name="Freeform 27"/>
            <p:cNvSpPr>
              <a:spLocks/>
            </p:cNvSpPr>
            <p:nvPr/>
          </p:nvSpPr>
          <p:spPr bwMode="auto">
            <a:xfrm>
              <a:off x="506" y="1727"/>
              <a:ext cx="13" cy="6"/>
            </a:xfrm>
            <a:custGeom>
              <a:avLst/>
              <a:gdLst>
                <a:gd name="T0" fmla="*/ 0 w 30"/>
                <a:gd name="T1" fmla="*/ 0 h 17"/>
                <a:gd name="T2" fmla="*/ 0 w 30"/>
                <a:gd name="T3" fmla="*/ 0 h 17"/>
                <a:gd name="T4" fmla="*/ 1 w 30"/>
                <a:gd name="T5" fmla="*/ 0 h 17"/>
                <a:gd name="T6" fmla="*/ 1 w 30"/>
                <a:gd name="T7" fmla="*/ 0 h 17"/>
                <a:gd name="T8" fmla="*/ 0 w 30"/>
                <a:gd name="T9" fmla="*/ 0 h 17"/>
                <a:gd name="T10" fmla="*/ 0 w 30"/>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7">
                  <a:moveTo>
                    <a:pt x="0" y="16"/>
                  </a:moveTo>
                  <a:lnTo>
                    <a:pt x="15" y="16"/>
                  </a:lnTo>
                  <a:lnTo>
                    <a:pt x="29" y="16"/>
                  </a:lnTo>
                  <a:lnTo>
                    <a:pt x="29" y="0"/>
                  </a:lnTo>
                  <a:lnTo>
                    <a:pt x="0"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03" name="Freeform 28"/>
            <p:cNvSpPr>
              <a:spLocks/>
            </p:cNvSpPr>
            <p:nvPr/>
          </p:nvSpPr>
          <p:spPr bwMode="auto">
            <a:xfrm>
              <a:off x="532" y="1715"/>
              <a:ext cx="26" cy="24"/>
            </a:xfrm>
            <a:custGeom>
              <a:avLst/>
              <a:gdLst>
                <a:gd name="T0" fmla="*/ 2 w 61"/>
                <a:gd name="T1" fmla="*/ 1 h 63"/>
                <a:gd name="T2" fmla="*/ 2 w 61"/>
                <a:gd name="T3" fmla="*/ 1 h 63"/>
                <a:gd name="T4" fmla="*/ 2 w 61"/>
                <a:gd name="T5" fmla="*/ 0 h 63"/>
                <a:gd name="T6" fmla="*/ 1 w 61"/>
                <a:gd name="T7" fmla="*/ 0 h 63"/>
                <a:gd name="T8" fmla="*/ 1 w 61"/>
                <a:gd name="T9" fmla="*/ 0 h 63"/>
                <a:gd name="T10" fmla="*/ 1 w 61"/>
                <a:gd name="T11" fmla="*/ 0 h 63"/>
                <a:gd name="T12" fmla="*/ 1 w 61"/>
                <a:gd name="T13" fmla="*/ 1 h 63"/>
                <a:gd name="T14" fmla="*/ 0 w 61"/>
                <a:gd name="T15" fmla="*/ 1 h 63"/>
                <a:gd name="T16" fmla="*/ 0 w 61"/>
                <a:gd name="T17" fmla="*/ 1 h 63"/>
                <a:gd name="T18" fmla="*/ 1 w 61"/>
                <a:gd name="T19" fmla="*/ 1 h 63"/>
                <a:gd name="T20" fmla="*/ 2 w 61"/>
                <a:gd name="T21" fmla="*/ 1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1" h="63">
                  <a:moveTo>
                    <a:pt x="60" y="62"/>
                  </a:moveTo>
                  <a:lnTo>
                    <a:pt x="60" y="31"/>
                  </a:lnTo>
                  <a:lnTo>
                    <a:pt x="60" y="16"/>
                  </a:lnTo>
                  <a:lnTo>
                    <a:pt x="45" y="16"/>
                  </a:lnTo>
                  <a:lnTo>
                    <a:pt x="30" y="0"/>
                  </a:lnTo>
                  <a:lnTo>
                    <a:pt x="30" y="16"/>
                  </a:lnTo>
                  <a:lnTo>
                    <a:pt x="45" y="31"/>
                  </a:lnTo>
                  <a:lnTo>
                    <a:pt x="0" y="31"/>
                  </a:lnTo>
                  <a:lnTo>
                    <a:pt x="15" y="47"/>
                  </a:lnTo>
                  <a:lnTo>
                    <a:pt x="45" y="47"/>
                  </a:lnTo>
                  <a:lnTo>
                    <a:pt x="60" y="62"/>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04" name="Freeform 29"/>
            <p:cNvSpPr>
              <a:spLocks/>
            </p:cNvSpPr>
            <p:nvPr/>
          </p:nvSpPr>
          <p:spPr bwMode="auto">
            <a:xfrm>
              <a:off x="506" y="1674"/>
              <a:ext cx="8" cy="7"/>
            </a:xfrm>
            <a:custGeom>
              <a:avLst/>
              <a:gdLst>
                <a:gd name="T0" fmla="*/ 0 w 17"/>
                <a:gd name="T1" fmla="*/ 0 h 17"/>
                <a:gd name="T2" fmla="*/ 0 w 17"/>
                <a:gd name="T3" fmla="*/ 0 h 17"/>
                <a:gd name="T4" fmla="*/ 1 w 17"/>
                <a:gd name="T5" fmla="*/ 0 h 17"/>
                <a:gd name="T6" fmla="*/ 1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0"/>
                  </a:moveTo>
                  <a:lnTo>
                    <a:pt x="0" y="16"/>
                  </a:lnTo>
                  <a:lnTo>
                    <a:pt x="16" y="16"/>
                  </a:lnTo>
                  <a:lnTo>
                    <a:pt x="16"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05" name="Line 30"/>
            <p:cNvSpPr>
              <a:spLocks noChangeShapeType="1"/>
            </p:cNvSpPr>
            <p:nvPr/>
          </p:nvSpPr>
          <p:spPr bwMode="auto">
            <a:xfrm>
              <a:off x="545" y="1704"/>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06" name="Freeform 31"/>
            <p:cNvSpPr>
              <a:spLocks/>
            </p:cNvSpPr>
            <p:nvPr/>
          </p:nvSpPr>
          <p:spPr bwMode="auto">
            <a:xfrm>
              <a:off x="205" y="1146"/>
              <a:ext cx="513" cy="372"/>
            </a:xfrm>
            <a:custGeom>
              <a:avLst/>
              <a:gdLst>
                <a:gd name="T0" fmla="*/ 26 w 1193"/>
                <a:gd name="T1" fmla="*/ 20 h 985"/>
                <a:gd name="T2" fmla="*/ 24 w 1193"/>
                <a:gd name="T3" fmla="*/ 20 h 985"/>
                <a:gd name="T4" fmla="*/ 25 w 1193"/>
                <a:gd name="T5" fmla="*/ 19 h 985"/>
                <a:gd name="T6" fmla="*/ 26 w 1193"/>
                <a:gd name="T7" fmla="*/ 19 h 985"/>
                <a:gd name="T8" fmla="*/ 24 w 1193"/>
                <a:gd name="T9" fmla="*/ 18 h 985"/>
                <a:gd name="T10" fmla="*/ 24 w 1193"/>
                <a:gd name="T11" fmla="*/ 16 h 985"/>
                <a:gd name="T12" fmla="*/ 21 w 1193"/>
                <a:gd name="T13" fmla="*/ 17 h 985"/>
                <a:gd name="T14" fmla="*/ 12 w 1193"/>
                <a:gd name="T15" fmla="*/ 15 h 985"/>
                <a:gd name="T16" fmla="*/ 3 w 1193"/>
                <a:gd name="T17" fmla="*/ 14 h 985"/>
                <a:gd name="T18" fmla="*/ 2 w 1193"/>
                <a:gd name="T19" fmla="*/ 11 h 985"/>
                <a:gd name="T20" fmla="*/ 3 w 1193"/>
                <a:gd name="T21" fmla="*/ 9 h 985"/>
                <a:gd name="T22" fmla="*/ 1 w 1193"/>
                <a:gd name="T23" fmla="*/ 8 h 985"/>
                <a:gd name="T24" fmla="*/ 0 w 1193"/>
                <a:gd name="T25" fmla="*/ 6 h 985"/>
                <a:gd name="T26" fmla="*/ 12 w 1193"/>
                <a:gd name="T27" fmla="*/ 1 h 985"/>
                <a:gd name="T28" fmla="*/ 14 w 1193"/>
                <a:gd name="T29" fmla="*/ 1 h 985"/>
                <a:gd name="T30" fmla="*/ 15 w 1193"/>
                <a:gd name="T31" fmla="*/ 2 h 985"/>
                <a:gd name="T32" fmla="*/ 19 w 1193"/>
                <a:gd name="T33" fmla="*/ 4 h 985"/>
                <a:gd name="T34" fmla="*/ 22 w 1193"/>
                <a:gd name="T35" fmla="*/ 4 h 985"/>
                <a:gd name="T36" fmla="*/ 22 w 1193"/>
                <a:gd name="T37" fmla="*/ 4 h 985"/>
                <a:gd name="T38" fmla="*/ 24 w 1193"/>
                <a:gd name="T39" fmla="*/ 5 h 985"/>
                <a:gd name="T40" fmla="*/ 26 w 1193"/>
                <a:gd name="T41" fmla="*/ 6 h 985"/>
                <a:gd name="T42" fmla="*/ 27 w 1193"/>
                <a:gd name="T43" fmla="*/ 3 h 985"/>
                <a:gd name="T44" fmla="*/ 29 w 1193"/>
                <a:gd name="T45" fmla="*/ 3 h 985"/>
                <a:gd name="T46" fmla="*/ 29 w 1193"/>
                <a:gd name="T47" fmla="*/ 5 h 985"/>
                <a:gd name="T48" fmla="*/ 29 w 1193"/>
                <a:gd name="T49" fmla="*/ 6 h 985"/>
                <a:gd name="T50" fmla="*/ 32 w 1193"/>
                <a:gd name="T51" fmla="*/ 5 h 985"/>
                <a:gd name="T52" fmla="*/ 31 w 1193"/>
                <a:gd name="T53" fmla="*/ 6 h 985"/>
                <a:gd name="T54" fmla="*/ 28 w 1193"/>
                <a:gd name="T55" fmla="*/ 7 h 985"/>
                <a:gd name="T56" fmla="*/ 26 w 1193"/>
                <a:gd name="T57" fmla="*/ 8 h 985"/>
                <a:gd name="T58" fmla="*/ 23 w 1193"/>
                <a:gd name="T59" fmla="*/ 9 h 985"/>
                <a:gd name="T60" fmla="*/ 23 w 1193"/>
                <a:gd name="T61" fmla="*/ 12 h 985"/>
                <a:gd name="T62" fmla="*/ 26 w 1193"/>
                <a:gd name="T63" fmla="*/ 13 h 985"/>
                <a:gd name="T64" fmla="*/ 27 w 1193"/>
                <a:gd name="T65" fmla="*/ 14 h 985"/>
                <a:gd name="T66" fmla="*/ 28 w 1193"/>
                <a:gd name="T67" fmla="*/ 15 h 985"/>
                <a:gd name="T68" fmla="*/ 29 w 1193"/>
                <a:gd name="T69" fmla="*/ 14 h 985"/>
                <a:gd name="T70" fmla="*/ 31 w 1193"/>
                <a:gd name="T71" fmla="*/ 12 h 985"/>
                <a:gd name="T72" fmla="*/ 31 w 1193"/>
                <a:gd name="T73" fmla="*/ 11 h 985"/>
                <a:gd name="T74" fmla="*/ 34 w 1193"/>
                <a:gd name="T75" fmla="*/ 10 h 985"/>
                <a:gd name="T76" fmla="*/ 34 w 1193"/>
                <a:gd name="T77" fmla="*/ 12 h 985"/>
                <a:gd name="T78" fmla="*/ 38 w 1193"/>
                <a:gd name="T79" fmla="*/ 13 h 985"/>
                <a:gd name="T80" fmla="*/ 40 w 1193"/>
                <a:gd name="T81" fmla="*/ 15 h 985"/>
                <a:gd name="T82" fmla="*/ 40 w 1193"/>
                <a:gd name="T83" fmla="*/ 16 h 985"/>
                <a:gd name="T84" fmla="*/ 38 w 1193"/>
                <a:gd name="T85" fmla="*/ 17 h 985"/>
                <a:gd name="T86" fmla="*/ 37 w 1193"/>
                <a:gd name="T87" fmla="*/ 17 h 985"/>
                <a:gd name="T88" fmla="*/ 34 w 1193"/>
                <a:gd name="T89" fmla="*/ 17 h 985"/>
                <a:gd name="T90" fmla="*/ 31 w 1193"/>
                <a:gd name="T91" fmla="*/ 18 h 985"/>
                <a:gd name="T92" fmla="*/ 34 w 1193"/>
                <a:gd name="T93" fmla="*/ 17 h 985"/>
                <a:gd name="T94" fmla="*/ 34 w 1193"/>
                <a:gd name="T95" fmla="*/ 17 h 985"/>
                <a:gd name="T96" fmla="*/ 34 w 1193"/>
                <a:gd name="T97" fmla="*/ 18 h 985"/>
                <a:gd name="T98" fmla="*/ 34 w 1193"/>
                <a:gd name="T99" fmla="*/ 19 h 985"/>
                <a:gd name="T100" fmla="*/ 34 w 1193"/>
                <a:gd name="T101" fmla="*/ 19 h 985"/>
                <a:gd name="T102" fmla="*/ 34 w 1193"/>
                <a:gd name="T103" fmla="*/ 19 h 985"/>
                <a:gd name="T104" fmla="*/ 33 w 1193"/>
                <a:gd name="T105" fmla="*/ 19 h 985"/>
                <a:gd name="T106" fmla="*/ 32 w 1193"/>
                <a:gd name="T107" fmla="*/ 18 h 985"/>
                <a:gd name="T108" fmla="*/ 30 w 1193"/>
                <a:gd name="T109" fmla="*/ 19 h 985"/>
                <a:gd name="T110" fmla="*/ 28 w 1193"/>
                <a:gd name="T111" fmla="*/ 19 h 985"/>
                <a:gd name="T112" fmla="*/ 26 w 1193"/>
                <a:gd name="T113" fmla="*/ 19 h 9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193" h="985">
                  <a:moveTo>
                    <a:pt x="765" y="939"/>
                  </a:moveTo>
                  <a:lnTo>
                    <a:pt x="765" y="954"/>
                  </a:lnTo>
                  <a:lnTo>
                    <a:pt x="765" y="969"/>
                  </a:lnTo>
                  <a:lnTo>
                    <a:pt x="751" y="969"/>
                  </a:lnTo>
                  <a:lnTo>
                    <a:pt x="736" y="969"/>
                  </a:lnTo>
                  <a:lnTo>
                    <a:pt x="692" y="984"/>
                  </a:lnTo>
                  <a:lnTo>
                    <a:pt x="706" y="954"/>
                  </a:lnTo>
                  <a:lnTo>
                    <a:pt x="721" y="954"/>
                  </a:lnTo>
                  <a:lnTo>
                    <a:pt x="736" y="939"/>
                  </a:lnTo>
                  <a:lnTo>
                    <a:pt x="736" y="908"/>
                  </a:lnTo>
                  <a:lnTo>
                    <a:pt x="736" y="923"/>
                  </a:lnTo>
                  <a:lnTo>
                    <a:pt x="765" y="923"/>
                  </a:lnTo>
                  <a:lnTo>
                    <a:pt x="751" y="893"/>
                  </a:lnTo>
                  <a:lnTo>
                    <a:pt x="736" y="878"/>
                  </a:lnTo>
                  <a:lnTo>
                    <a:pt x="706" y="878"/>
                  </a:lnTo>
                  <a:lnTo>
                    <a:pt x="706" y="833"/>
                  </a:lnTo>
                  <a:lnTo>
                    <a:pt x="692" y="833"/>
                  </a:lnTo>
                  <a:lnTo>
                    <a:pt x="692" y="802"/>
                  </a:lnTo>
                  <a:lnTo>
                    <a:pt x="648" y="802"/>
                  </a:lnTo>
                  <a:lnTo>
                    <a:pt x="633" y="802"/>
                  </a:lnTo>
                  <a:lnTo>
                    <a:pt x="618" y="817"/>
                  </a:lnTo>
                  <a:lnTo>
                    <a:pt x="530" y="787"/>
                  </a:lnTo>
                  <a:lnTo>
                    <a:pt x="500" y="787"/>
                  </a:lnTo>
                  <a:lnTo>
                    <a:pt x="368" y="757"/>
                  </a:lnTo>
                  <a:lnTo>
                    <a:pt x="221" y="742"/>
                  </a:lnTo>
                  <a:lnTo>
                    <a:pt x="118" y="712"/>
                  </a:lnTo>
                  <a:lnTo>
                    <a:pt x="103" y="696"/>
                  </a:lnTo>
                  <a:lnTo>
                    <a:pt x="59" y="651"/>
                  </a:lnTo>
                  <a:lnTo>
                    <a:pt x="74" y="606"/>
                  </a:lnTo>
                  <a:lnTo>
                    <a:pt x="59" y="545"/>
                  </a:lnTo>
                  <a:lnTo>
                    <a:pt x="88" y="500"/>
                  </a:lnTo>
                  <a:lnTo>
                    <a:pt x="88" y="484"/>
                  </a:lnTo>
                  <a:lnTo>
                    <a:pt x="74" y="454"/>
                  </a:lnTo>
                  <a:lnTo>
                    <a:pt x="74" y="394"/>
                  </a:lnTo>
                  <a:lnTo>
                    <a:pt x="59" y="363"/>
                  </a:lnTo>
                  <a:lnTo>
                    <a:pt x="29" y="363"/>
                  </a:lnTo>
                  <a:lnTo>
                    <a:pt x="15" y="318"/>
                  </a:lnTo>
                  <a:lnTo>
                    <a:pt x="0" y="318"/>
                  </a:lnTo>
                  <a:lnTo>
                    <a:pt x="0" y="303"/>
                  </a:lnTo>
                  <a:lnTo>
                    <a:pt x="206" y="0"/>
                  </a:lnTo>
                  <a:lnTo>
                    <a:pt x="280" y="45"/>
                  </a:lnTo>
                  <a:lnTo>
                    <a:pt x="338" y="45"/>
                  </a:lnTo>
                  <a:lnTo>
                    <a:pt x="353" y="45"/>
                  </a:lnTo>
                  <a:lnTo>
                    <a:pt x="368" y="61"/>
                  </a:lnTo>
                  <a:lnTo>
                    <a:pt x="397" y="45"/>
                  </a:lnTo>
                  <a:lnTo>
                    <a:pt x="412" y="76"/>
                  </a:lnTo>
                  <a:lnTo>
                    <a:pt x="427" y="91"/>
                  </a:lnTo>
                  <a:lnTo>
                    <a:pt x="456" y="91"/>
                  </a:lnTo>
                  <a:lnTo>
                    <a:pt x="530" y="167"/>
                  </a:lnTo>
                  <a:lnTo>
                    <a:pt x="515" y="167"/>
                  </a:lnTo>
                  <a:lnTo>
                    <a:pt x="559" y="197"/>
                  </a:lnTo>
                  <a:lnTo>
                    <a:pt x="574" y="242"/>
                  </a:lnTo>
                  <a:lnTo>
                    <a:pt x="589" y="212"/>
                  </a:lnTo>
                  <a:lnTo>
                    <a:pt x="633" y="197"/>
                  </a:lnTo>
                  <a:lnTo>
                    <a:pt x="603" y="182"/>
                  </a:lnTo>
                  <a:lnTo>
                    <a:pt x="648" y="182"/>
                  </a:lnTo>
                  <a:lnTo>
                    <a:pt x="648" y="197"/>
                  </a:lnTo>
                  <a:lnTo>
                    <a:pt x="692" y="242"/>
                  </a:lnTo>
                  <a:lnTo>
                    <a:pt x="692" y="227"/>
                  </a:lnTo>
                  <a:lnTo>
                    <a:pt x="706" y="242"/>
                  </a:lnTo>
                  <a:lnTo>
                    <a:pt x="736" y="227"/>
                  </a:lnTo>
                  <a:lnTo>
                    <a:pt x="736" y="288"/>
                  </a:lnTo>
                  <a:lnTo>
                    <a:pt x="751" y="288"/>
                  </a:lnTo>
                  <a:lnTo>
                    <a:pt x="751" y="257"/>
                  </a:lnTo>
                  <a:lnTo>
                    <a:pt x="795" y="242"/>
                  </a:lnTo>
                  <a:lnTo>
                    <a:pt x="795" y="167"/>
                  </a:lnTo>
                  <a:lnTo>
                    <a:pt x="839" y="121"/>
                  </a:lnTo>
                  <a:lnTo>
                    <a:pt x="854" y="151"/>
                  </a:lnTo>
                  <a:lnTo>
                    <a:pt x="854" y="167"/>
                  </a:lnTo>
                  <a:lnTo>
                    <a:pt x="854" y="197"/>
                  </a:lnTo>
                  <a:lnTo>
                    <a:pt x="839" y="197"/>
                  </a:lnTo>
                  <a:lnTo>
                    <a:pt x="854" y="227"/>
                  </a:lnTo>
                  <a:lnTo>
                    <a:pt x="868" y="227"/>
                  </a:lnTo>
                  <a:lnTo>
                    <a:pt x="868" y="242"/>
                  </a:lnTo>
                  <a:lnTo>
                    <a:pt x="854" y="272"/>
                  </a:lnTo>
                  <a:lnTo>
                    <a:pt x="868" y="288"/>
                  </a:lnTo>
                  <a:lnTo>
                    <a:pt x="912" y="257"/>
                  </a:lnTo>
                  <a:lnTo>
                    <a:pt x="927" y="227"/>
                  </a:lnTo>
                  <a:lnTo>
                    <a:pt x="957" y="257"/>
                  </a:lnTo>
                  <a:lnTo>
                    <a:pt x="927" y="318"/>
                  </a:lnTo>
                  <a:lnTo>
                    <a:pt x="898" y="318"/>
                  </a:lnTo>
                  <a:lnTo>
                    <a:pt x="854" y="318"/>
                  </a:lnTo>
                  <a:lnTo>
                    <a:pt x="868" y="333"/>
                  </a:lnTo>
                  <a:lnTo>
                    <a:pt x="824" y="348"/>
                  </a:lnTo>
                  <a:lnTo>
                    <a:pt x="809" y="378"/>
                  </a:lnTo>
                  <a:lnTo>
                    <a:pt x="765" y="378"/>
                  </a:lnTo>
                  <a:lnTo>
                    <a:pt x="751" y="409"/>
                  </a:lnTo>
                  <a:lnTo>
                    <a:pt x="736" y="409"/>
                  </a:lnTo>
                  <a:lnTo>
                    <a:pt x="706" y="424"/>
                  </a:lnTo>
                  <a:lnTo>
                    <a:pt x="662" y="469"/>
                  </a:lnTo>
                  <a:lnTo>
                    <a:pt x="648" y="515"/>
                  </a:lnTo>
                  <a:lnTo>
                    <a:pt x="662" y="530"/>
                  </a:lnTo>
                  <a:lnTo>
                    <a:pt x="662" y="575"/>
                  </a:lnTo>
                  <a:lnTo>
                    <a:pt x="692" y="575"/>
                  </a:lnTo>
                  <a:lnTo>
                    <a:pt x="751" y="636"/>
                  </a:lnTo>
                  <a:lnTo>
                    <a:pt x="765" y="636"/>
                  </a:lnTo>
                  <a:lnTo>
                    <a:pt x="795" y="666"/>
                  </a:lnTo>
                  <a:lnTo>
                    <a:pt x="780" y="681"/>
                  </a:lnTo>
                  <a:lnTo>
                    <a:pt x="795" y="696"/>
                  </a:lnTo>
                  <a:lnTo>
                    <a:pt x="765" y="712"/>
                  </a:lnTo>
                  <a:lnTo>
                    <a:pt x="795" y="757"/>
                  </a:lnTo>
                  <a:lnTo>
                    <a:pt x="809" y="757"/>
                  </a:lnTo>
                  <a:lnTo>
                    <a:pt x="824" y="757"/>
                  </a:lnTo>
                  <a:lnTo>
                    <a:pt x="839" y="727"/>
                  </a:lnTo>
                  <a:lnTo>
                    <a:pt x="854" y="696"/>
                  </a:lnTo>
                  <a:lnTo>
                    <a:pt x="839" y="681"/>
                  </a:lnTo>
                  <a:lnTo>
                    <a:pt x="883" y="651"/>
                  </a:lnTo>
                  <a:lnTo>
                    <a:pt x="898" y="590"/>
                  </a:lnTo>
                  <a:lnTo>
                    <a:pt x="868" y="575"/>
                  </a:lnTo>
                  <a:lnTo>
                    <a:pt x="883" y="560"/>
                  </a:lnTo>
                  <a:lnTo>
                    <a:pt x="898" y="560"/>
                  </a:lnTo>
                  <a:lnTo>
                    <a:pt x="927" y="454"/>
                  </a:lnTo>
                  <a:lnTo>
                    <a:pt x="957" y="454"/>
                  </a:lnTo>
                  <a:lnTo>
                    <a:pt x="1001" y="484"/>
                  </a:lnTo>
                  <a:lnTo>
                    <a:pt x="1015" y="530"/>
                  </a:lnTo>
                  <a:lnTo>
                    <a:pt x="1030" y="530"/>
                  </a:lnTo>
                  <a:lnTo>
                    <a:pt x="1015" y="590"/>
                  </a:lnTo>
                  <a:lnTo>
                    <a:pt x="1060" y="606"/>
                  </a:lnTo>
                  <a:lnTo>
                    <a:pt x="1104" y="575"/>
                  </a:lnTo>
                  <a:lnTo>
                    <a:pt x="1118" y="651"/>
                  </a:lnTo>
                  <a:lnTo>
                    <a:pt x="1118" y="666"/>
                  </a:lnTo>
                  <a:lnTo>
                    <a:pt x="1118" y="681"/>
                  </a:lnTo>
                  <a:lnTo>
                    <a:pt x="1163" y="712"/>
                  </a:lnTo>
                  <a:lnTo>
                    <a:pt x="1163" y="727"/>
                  </a:lnTo>
                  <a:lnTo>
                    <a:pt x="1192" y="742"/>
                  </a:lnTo>
                  <a:lnTo>
                    <a:pt x="1177" y="787"/>
                  </a:lnTo>
                  <a:lnTo>
                    <a:pt x="1163" y="802"/>
                  </a:lnTo>
                  <a:lnTo>
                    <a:pt x="1133" y="802"/>
                  </a:lnTo>
                  <a:lnTo>
                    <a:pt x="1118" y="833"/>
                  </a:lnTo>
                  <a:lnTo>
                    <a:pt x="1089" y="833"/>
                  </a:lnTo>
                  <a:lnTo>
                    <a:pt x="1074" y="833"/>
                  </a:lnTo>
                  <a:lnTo>
                    <a:pt x="1089" y="833"/>
                  </a:lnTo>
                  <a:lnTo>
                    <a:pt x="1074" y="833"/>
                  </a:lnTo>
                  <a:lnTo>
                    <a:pt x="1030" y="817"/>
                  </a:lnTo>
                  <a:lnTo>
                    <a:pt x="986" y="833"/>
                  </a:lnTo>
                  <a:lnTo>
                    <a:pt x="971" y="833"/>
                  </a:lnTo>
                  <a:lnTo>
                    <a:pt x="927" y="878"/>
                  </a:lnTo>
                  <a:lnTo>
                    <a:pt x="898" y="893"/>
                  </a:lnTo>
                  <a:lnTo>
                    <a:pt x="927" y="878"/>
                  </a:lnTo>
                  <a:lnTo>
                    <a:pt x="971" y="848"/>
                  </a:lnTo>
                  <a:lnTo>
                    <a:pt x="986" y="848"/>
                  </a:lnTo>
                  <a:lnTo>
                    <a:pt x="1015" y="833"/>
                  </a:lnTo>
                  <a:lnTo>
                    <a:pt x="1030" y="848"/>
                  </a:lnTo>
                  <a:lnTo>
                    <a:pt x="1015" y="863"/>
                  </a:lnTo>
                  <a:lnTo>
                    <a:pt x="1001" y="863"/>
                  </a:lnTo>
                  <a:lnTo>
                    <a:pt x="1001" y="878"/>
                  </a:lnTo>
                  <a:lnTo>
                    <a:pt x="1015" y="878"/>
                  </a:lnTo>
                  <a:lnTo>
                    <a:pt x="1001" y="893"/>
                  </a:lnTo>
                  <a:lnTo>
                    <a:pt x="1015" y="908"/>
                  </a:lnTo>
                  <a:lnTo>
                    <a:pt x="1015" y="923"/>
                  </a:lnTo>
                  <a:lnTo>
                    <a:pt x="1060" y="923"/>
                  </a:lnTo>
                  <a:lnTo>
                    <a:pt x="1060" y="939"/>
                  </a:lnTo>
                  <a:lnTo>
                    <a:pt x="1015" y="954"/>
                  </a:lnTo>
                  <a:lnTo>
                    <a:pt x="986" y="984"/>
                  </a:lnTo>
                  <a:lnTo>
                    <a:pt x="986" y="969"/>
                  </a:lnTo>
                  <a:lnTo>
                    <a:pt x="1015" y="939"/>
                  </a:lnTo>
                  <a:lnTo>
                    <a:pt x="1001" y="923"/>
                  </a:lnTo>
                  <a:lnTo>
                    <a:pt x="971" y="939"/>
                  </a:lnTo>
                  <a:lnTo>
                    <a:pt x="957" y="908"/>
                  </a:lnTo>
                  <a:lnTo>
                    <a:pt x="957" y="893"/>
                  </a:lnTo>
                  <a:lnTo>
                    <a:pt x="942" y="878"/>
                  </a:lnTo>
                  <a:lnTo>
                    <a:pt x="942" y="893"/>
                  </a:lnTo>
                  <a:lnTo>
                    <a:pt x="927" y="908"/>
                  </a:lnTo>
                  <a:lnTo>
                    <a:pt x="898" y="939"/>
                  </a:lnTo>
                  <a:lnTo>
                    <a:pt x="883" y="923"/>
                  </a:lnTo>
                  <a:lnTo>
                    <a:pt x="868" y="939"/>
                  </a:lnTo>
                  <a:lnTo>
                    <a:pt x="854" y="923"/>
                  </a:lnTo>
                  <a:lnTo>
                    <a:pt x="824" y="939"/>
                  </a:lnTo>
                  <a:lnTo>
                    <a:pt x="809" y="939"/>
                  </a:lnTo>
                  <a:lnTo>
                    <a:pt x="780" y="939"/>
                  </a:lnTo>
                  <a:lnTo>
                    <a:pt x="765" y="93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07" name="Freeform 32"/>
            <p:cNvSpPr>
              <a:spLocks/>
            </p:cNvSpPr>
            <p:nvPr/>
          </p:nvSpPr>
          <p:spPr bwMode="auto">
            <a:xfrm>
              <a:off x="205" y="1146"/>
              <a:ext cx="519" cy="378"/>
            </a:xfrm>
            <a:custGeom>
              <a:avLst/>
              <a:gdLst>
                <a:gd name="T0" fmla="*/ 26 w 1208"/>
                <a:gd name="T1" fmla="*/ 20 h 1000"/>
                <a:gd name="T2" fmla="*/ 24 w 1208"/>
                <a:gd name="T3" fmla="*/ 20 h 1000"/>
                <a:gd name="T4" fmla="*/ 25 w 1208"/>
                <a:gd name="T5" fmla="*/ 19 h 1000"/>
                <a:gd name="T6" fmla="*/ 26 w 1208"/>
                <a:gd name="T7" fmla="*/ 19 h 1000"/>
                <a:gd name="T8" fmla="*/ 24 w 1208"/>
                <a:gd name="T9" fmla="*/ 18 h 1000"/>
                <a:gd name="T10" fmla="*/ 24 w 1208"/>
                <a:gd name="T11" fmla="*/ 17 h 1000"/>
                <a:gd name="T12" fmla="*/ 21 w 1208"/>
                <a:gd name="T13" fmla="*/ 17 h 1000"/>
                <a:gd name="T14" fmla="*/ 13 w 1208"/>
                <a:gd name="T15" fmla="*/ 16 h 1000"/>
                <a:gd name="T16" fmla="*/ 3 w 1208"/>
                <a:gd name="T17" fmla="*/ 14 h 1000"/>
                <a:gd name="T18" fmla="*/ 2 w 1208"/>
                <a:gd name="T19" fmla="*/ 11 h 1000"/>
                <a:gd name="T20" fmla="*/ 3 w 1208"/>
                <a:gd name="T21" fmla="*/ 9 h 1000"/>
                <a:gd name="T22" fmla="*/ 1 w 1208"/>
                <a:gd name="T23" fmla="*/ 8 h 1000"/>
                <a:gd name="T24" fmla="*/ 0 w 1208"/>
                <a:gd name="T25" fmla="*/ 6 h 1000"/>
                <a:gd name="T26" fmla="*/ 12 w 1208"/>
                <a:gd name="T27" fmla="*/ 1 h 1000"/>
                <a:gd name="T28" fmla="*/ 14 w 1208"/>
                <a:gd name="T29" fmla="*/ 1 h 1000"/>
                <a:gd name="T30" fmla="*/ 16 w 1208"/>
                <a:gd name="T31" fmla="*/ 2 h 1000"/>
                <a:gd name="T32" fmla="*/ 19 w 1208"/>
                <a:gd name="T33" fmla="*/ 4 h 1000"/>
                <a:gd name="T34" fmla="*/ 22 w 1208"/>
                <a:gd name="T35" fmla="*/ 4 h 1000"/>
                <a:gd name="T36" fmla="*/ 22 w 1208"/>
                <a:gd name="T37" fmla="*/ 4 h 1000"/>
                <a:gd name="T38" fmla="*/ 24 w 1208"/>
                <a:gd name="T39" fmla="*/ 5 h 1000"/>
                <a:gd name="T40" fmla="*/ 26 w 1208"/>
                <a:gd name="T41" fmla="*/ 6 h 1000"/>
                <a:gd name="T42" fmla="*/ 27 w 1208"/>
                <a:gd name="T43" fmla="*/ 3 h 1000"/>
                <a:gd name="T44" fmla="*/ 29 w 1208"/>
                <a:gd name="T45" fmla="*/ 3 h 1000"/>
                <a:gd name="T46" fmla="*/ 29 w 1208"/>
                <a:gd name="T47" fmla="*/ 5 h 1000"/>
                <a:gd name="T48" fmla="*/ 29 w 1208"/>
                <a:gd name="T49" fmla="*/ 6 h 1000"/>
                <a:gd name="T50" fmla="*/ 32 w 1208"/>
                <a:gd name="T51" fmla="*/ 5 h 1000"/>
                <a:gd name="T52" fmla="*/ 31 w 1208"/>
                <a:gd name="T53" fmla="*/ 6 h 1000"/>
                <a:gd name="T54" fmla="*/ 28 w 1208"/>
                <a:gd name="T55" fmla="*/ 7 h 1000"/>
                <a:gd name="T56" fmla="*/ 26 w 1208"/>
                <a:gd name="T57" fmla="*/ 8 h 1000"/>
                <a:gd name="T58" fmla="*/ 23 w 1208"/>
                <a:gd name="T59" fmla="*/ 10 h 1000"/>
                <a:gd name="T60" fmla="*/ 23 w 1208"/>
                <a:gd name="T61" fmla="*/ 12 h 1000"/>
                <a:gd name="T62" fmla="*/ 26 w 1208"/>
                <a:gd name="T63" fmla="*/ 13 h 1000"/>
                <a:gd name="T64" fmla="*/ 27 w 1208"/>
                <a:gd name="T65" fmla="*/ 14 h 1000"/>
                <a:gd name="T66" fmla="*/ 28 w 1208"/>
                <a:gd name="T67" fmla="*/ 16 h 1000"/>
                <a:gd name="T68" fmla="*/ 29 w 1208"/>
                <a:gd name="T69" fmla="*/ 14 h 1000"/>
                <a:gd name="T70" fmla="*/ 31 w 1208"/>
                <a:gd name="T71" fmla="*/ 12 h 1000"/>
                <a:gd name="T72" fmla="*/ 31 w 1208"/>
                <a:gd name="T73" fmla="*/ 12 h 1000"/>
                <a:gd name="T74" fmla="*/ 34 w 1208"/>
                <a:gd name="T75" fmla="*/ 10 h 1000"/>
                <a:gd name="T76" fmla="*/ 35 w 1208"/>
                <a:gd name="T77" fmla="*/ 12 h 1000"/>
                <a:gd name="T78" fmla="*/ 39 w 1208"/>
                <a:gd name="T79" fmla="*/ 14 h 1000"/>
                <a:gd name="T80" fmla="*/ 40 w 1208"/>
                <a:gd name="T81" fmla="*/ 15 h 1000"/>
                <a:gd name="T82" fmla="*/ 41 w 1208"/>
                <a:gd name="T83" fmla="*/ 16 h 1000"/>
                <a:gd name="T84" fmla="*/ 39 w 1208"/>
                <a:gd name="T85" fmla="*/ 17 h 1000"/>
                <a:gd name="T86" fmla="*/ 34 w 1208"/>
                <a:gd name="T87" fmla="*/ 17 h 1000"/>
                <a:gd name="T88" fmla="*/ 31 w 1208"/>
                <a:gd name="T89" fmla="*/ 19 h 1000"/>
                <a:gd name="T90" fmla="*/ 34 w 1208"/>
                <a:gd name="T91" fmla="*/ 17 h 1000"/>
                <a:gd name="T92" fmla="*/ 35 w 1208"/>
                <a:gd name="T93" fmla="*/ 18 h 1000"/>
                <a:gd name="T94" fmla="*/ 35 w 1208"/>
                <a:gd name="T95" fmla="*/ 18 h 1000"/>
                <a:gd name="T96" fmla="*/ 35 w 1208"/>
                <a:gd name="T97" fmla="*/ 19 h 1000"/>
                <a:gd name="T98" fmla="*/ 35 w 1208"/>
                <a:gd name="T99" fmla="*/ 20 h 1000"/>
                <a:gd name="T100" fmla="*/ 35 w 1208"/>
                <a:gd name="T101" fmla="*/ 19 h 1000"/>
                <a:gd name="T102" fmla="*/ 33 w 1208"/>
                <a:gd name="T103" fmla="*/ 19 h 1000"/>
                <a:gd name="T104" fmla="*/ 33 w 1208"/>
                <a:gd name="T105" fmla="*/ 19 h 1000"/>
                <a:gd name="T106" fmla="*/ 31 w 1208"/>
                <a:gd name="T107" fmla="*/ 19 h 1000"/>
                <a:gd name="T108" fmla="*/ 28 w 1208"/>
                <a:gd name="T109" fmla="*/ 19 h 1000"/>
                <a:gd name="T110" fmla="*/ 26 w 1208"/>
                <a:gd name="T111" fmla="*/ 19 h 10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208" h="1000">
                  <a:moveTo>
                    <a:pt x="775" y="953"/>
                  </a:moveTo>
                  <a:lnTo>
                    <a:pt x="775" y="968"/>
                  </a:lnTo>
                  <a:lnTo>
                    <a:pt x="775" y="984"/>
                  </a:lnTo>
                  <a:lnTo>
                    <a:pt x="760" y="984"/>
                  </a:lnTo>
                  <a:lnTo>
                    <a:pt x="745" y="984"/>
                  </a:lnTo>
                  <a:lnTo>
                    <a:pt x="700" y="999"/>
                  </a:lnTo>
                  <a:lnTo>
                    <a:pt x="715" y="968"/>
                  </a:lnTo>
                  <a:lnTo>
                    <a:pt x="730" y="968"/>
                  </a:lnTo>
                  <a:lnTo>
                    <a:pt x="745" y="953"/>
                  </a:lnTo>
                  <a:lnTo>
                    <a:pt x="745" y="922"/>
                  </a:lnTo>
                  <a:lnTo>
                    <a:pt x="745" y="938"/>
                  </a:lnTo>
                  <a:lnTo>
                    <a:pt x="775" y="938"/>
                  </a:lnTo>
                  <a:lnTo>
                    <a:pt x="760" y="907"/>
                  </a:lnTo>
                  <a:lnTo>
                    <a:pt x="745" y="891"/>
                  </a:lnTo>
                  <a:lnTo>
                    <a:pt x="715" y="891"/>
                  </a:lnTo>
                  <a:lnTo>
                    <a:pt x="715" y="845"/>
                  </a:lnTo>
                  <a:lnTo>
                    <a:pt x="700" y="845"/>
                  </a:lnTo>
                  <a:lnTo>
                    <a:pt x="700" y="815"/>
                  </a:lnTo>
                  <a:lnTo>
                    <a:pt x="656" y="815"/>
                  </a:lnTo>
                  <a:lnTo>
                    <a:pt x="641" y="815"/>
                  </a:lnTo>
                  <a:lnTo>
                    <a:pt x="626" y="830"/>
                  </a:lnTo>
                  <a:lnTo>
                    <a:pt x="536" y="799"/>
                  </a:lnTo>
                  <a:lnTo>
                    <a:pt x="507" y="799"/>
                  </a:lnTo>
                  <a:lnTo>
                    <a:pt x="373" y="768"/>
                  </a:lnTo>
                  <a:lnTo>
                    <a:pt x="224" y="753"/>
                  </a:lnTo>
                  <a:lnTo>
                    <a:pt x="119" y="722"/>
                  </a:lnTo>
                  <a:lnTo>
                    <a:pt x="104" y="707"/>
                  </a:lnTo>
                  <a:lnTo>
                    <a:pt x="60" y="661"/>
                  </a:lnTo>
                  <a:lnTo>
                    <a:pt x="75" y="615"/>
                  </a:lnTo>
                  <a:lnTo>
                    <a:pt x="60" y="553"/>
                  </a:lnTo>
                  <a:lnTo>
                    <a:pt x="89" y="507"/>
                  </a:lnTo>
                  <a:lnTo>
                    <a:pt x="89" y="492"/>
                  </a:lnTo>
                  <a:lnTo>
                    <a:pt x="75" y="461"/>
                  </a:lnTo>
                  <a:lnTo>
                    <a:pt x="75" y="400"/>
                  </a:lnTo>
                  <a:lnTo>
                    <a:pt x="60" y="369"/>
                  </a:lnTo>
                  <a:lnTo>
                    <a:pt x="30" y="369"/>
                  </a:lnTo>
                  <a:lnTo>
                    <a:pt x="15" y="323"/>
                  </a:lnTo>
                  <a:lnTo>
                    <a:pt x="0" y="323"/>
                  </a:lnTo>
                  <a:lnTo>
                    <a:pt x="0" y="307"/>
                  </a:lnTo>
                  <a:lnTo>
                    <a:pt x="209" y="0"/>
                  </a:lnTo>
                  <a:lnTo>
                    <a:pt x="283" y="46"/>
                  </a:lnTo>
                  <a:lnTo>
                    <a:pt x="343" y="46"/>
                  </a:lnTo>
                  <a:lnTo>
                    <a:pt x="358" y="46"/>
                  </a:lnTo>
                  <a:lnTo>
                    <a:pt x="373" y="61"/>
                  </a:lnTo>
                  <a:lnTo>
                    <a:pt x="402" y="46"/>
                  </a:lnTo>
                  <a:lnTo>
                    <a:pt x="417" y="77"/>
                  </a:lnTo>
                  <a:lnTo>
                    <a:pt x="432" y="92"/>
                  </a:lnTo>
                  <a:lnTo>
                    <a:pt x="462" y="92"/>
                  </a:lnTo>
                  <a:lnTo>
                    <a:pt x="536" y="169"/>
                  </a:lnTo>
                  <a:lnTo>
                    <a:pt x="522" y="169"/>
                  </a:lnTo>
                  <a:lnTo>
                    <a:pt x="566" y="200"/>
                  </a:lnTo>
                  <a:lnTo>
                    <a:pt x="581" y="246"/>
                  </a:lnTo>
                  <a:lnTo>
                    <a:pt x="596" y="215"/>
                  </a:lnTo>
                  <a:lnTo>
                    <a:pt x="641" y="200"/>
                  </a:lnTo>
                  <a:lnTo>
                    <a:pt x="611" y="184"/>
                  </a:lnTo>
                  <a:lnTo>
                    <a:pt x="656" y="184"/>
                  </a:lnTo>
                  <a:lnTo>
                    <a:pt x="656" y="200"/>
                  </a:lnTo>
                  <a:lnTo>
                    <a:pt x="700" y="246"/>
                  </a:lnTo>
                  <a:lnTo>
                    <a:pt x="700" y="231"/>
                  </a:lnTo>
                  <a:lnTo>
                    <a:pt x="715" y="246"/>
                  </a:lnTo>
                  <a:lnTo>
                    <a:pt x="745" y="231"/>
                  </a:lnTo>
                  <a:lnTo>
                    <a:pt x="745" y="292"/>
                  </a:lnTo>
                  <a:lnTo>
                    <a:pt x="760" y="292"/>
                  </a:lnTo>
                  <a:lnTo>
                    <a:pt x="760" y="261"/>
                  </a:lnTo>
                  <a:lnTo>
                    <a:pt x="805" y="246"/>
                  </a:lnTo>
                  <a:lnTo>
                    <a:pt x="805" y="169"/>
                  </a:lnTo>
                  <a:lnTo>
                    <a:pt x="849" y="123"/>
                  </a:lnTo>
                  <a:lnTo>
                    <a:pt x="864" y="154"/>
                  </a:lnTo>
                  <a:lnTo>
                    <a:pt x="864" y="169"/>
                  </a:lnTo>
                  <a:lnTo>
                    <a:pt x="864" y="200"/>
                  </a:lnTo>
                  <a:lnTo>
                    <a:pt x="849" y="200"/>
                  </a:lnTo>
                  <a:lnTo>
                    <a:pt x="864" y="231"/>
                  </a:lnTo>
                  <a:lnTo>
                    <a:pt x="879" y="231"/>
                  </a:lnTo>
                  <a:lnTo>
                    <a:pt x="879" y="246"/>
                  </a:lnTo>
                  <a:lnTo>
                    <a:pt x="864" y="277"/>
                  </a:lnTo>
                  <a:lnTo>
                    <a:pt x="879" y="292"/>
                  </a:lnTo>
                  <a:lnTo>
                    <a:pt x="924" y="261"/>
                  </a:lnTo>
                  <a:lnTo>
                    <a:pt x="939" y="231"/>
                  </a:lnTo>
                  <a:lnTo>
                    <a:pt x="969" y="261"/>
                  </a:lnTo>
                  <a:lnTo>
                    <a:pt x="939" y="323"/>
                  </a:lnTo>
                  <a:lnTo>
                    <a:pt x="909" y="323"/>
                  </a:lnTo>
                  <a:lnTo>
                    <a:pt x="864" y="323"/>
                  </a:lnTo>
                  <a:lnTo>
                    <a:pt x="879" y="338"/>
                  </a:lnTo>
                  <a:lnTo>
                    <a:pt x="834" y="353"/>
                  </a:lnTo>
                  <a:lnTo>
                    <a:pt x="820" y="384"/>
                  </a:lnTo>
                  <a:lnTo>
                    <a:pt x="775" y="384"/>
                  </a:lnTo>
                  <a:lnTo>
                    <a:pt x="760" y="415"/>
                  </a:lnTo>
                  <a:lnTo>
                    <a:pt x="745" y="415"/>
                  </a:lnTo>
                  <a:lnTo>
                    <a:pt x="715" y="430"/>
                  </a:lnTo>
                  <a:lnTo>
                    <a:pt x="671" y="476"/>
                  </a:lnTo>
                  <a:lnTo>
                    <a:pt x="656" y="523"/>
                  </a:lnTo>
                  <a:lnTo>
                    <a:pt x="671" y="538"/>
                  </a:lnTo>
                  <a:lnTo>
                    <a:pt x="671" y="584"/>
                  </a:lnTo>
                  <a:lnTo>
                    <a:pt x="700" y="584"/>
                  </a:lnTo>
                  <a:lnTo>
                    <a:pt x="760" y="646"/>
                  </a:lnTo>
                  <a:lnTo>
                    <a:pt x="775" y="646"/>
                  </a:lnTo>
                  <a:lnTo>
                    <a:pt x="805" y="676"/>
                  </a:lnTo>
                  <a:lnTo>
                    <a:pt x="790" y="692"/>
                  </a:lnTo>
                  <a:lnTo>
                    <a:pt x="805" y="707"/>
                  </a:lnTo>
                  <a:lnTo>
                    <a:pt x="775" y="722"/>
                  </a:lnTo>
                  <a:lnTo>
                    <a:pt x="805" y="768"/>
                  </a:lnTo>
                  <a:lnTo>
                    <a:pt x="820" y="768"/>
                  </a:lnTo>
                  <a:lnTo>
                    <a:pt x="834" y="768"/>
                  </a:lnTo>
                  <a:lnTo>
                    <a:pt x="849" y="738"/>
                  </a:lnTo>
                  <a:lnTo>
                    <a:pt x="864" y="707"/>
                  </a:lnTo>
                  <a:lnTo>
                    <a:pt x="849" y="692"/>
                  </a:lnTo>
                  <a:lnTo>
                    <a:pt x="894" y="661"/>
                  </a:lnTo>
                  <a:lnTo>
                    <a:pt x="909" y="599"/>
                  </a:lnTo>
                  <a:lnTo>
                    <a:pt x="879" y="584"/>
                  </a:lnTo>
                  <a:lnTo>
                    <a:pt x="894" y="569"/>
                  </a:lnTo>
                  <a:lnTo>
                    <a:pt x="909" y="569"/>
                  </a:lnTo>
                  <a:lnTo>
                    <a:pt x="939" y="461"/>
                  </a:lnTo>
                  <a:lnTo>
                    <a:pt x="969" y="461"/>
                  </a:lnTo>
                  <a:lnTo>
                    <a:pt x="1013" y="492"/>
                  </a:lnTo>
                  <a:lnTo>
                    <a:pt x="1028" y="538"/>
                  </a:lnTo>
                  <a:lnTo>
                    <a:pt x="1043" y="538"/>
                  </a:lnTo>
                  <a:lnTo>
                    <a:pt x="1028" y="599"/>
                  </a:lnTo>
                  <a:lnTo>
                    <a:pt x="1073" y="615"/>
                  </a:lnTo>
                  <a:lnTo>
                    <a:pt x="1118" y="584"/>
                  </a:lnTo>
                  <a:lnTo>
                    <a:pt x="1132" y="661"/>
                  </a:lnTo>
                  <a:lnTo>
                    <a:pt x="1132" y="676"/>
                  </a:lnTo>
                  <a:lnTo>
                    <a:pt x="1132" y="692"/>
                  </a:lnTo>
                  <a:lnTo>
                    <a:pt x="1177" y="722"/>
                  </a:lnTo>
                  <a:lnTo>
                    <a:pt x="1177" y="738"/>
                  </a:lnTo>
                  <a:lnTo>
                    <a:pt x="1207" y="753"/>
                  </a:lnTo>
                  <a:lnTo>
                    <a:pt x="1192" y="799"/>
                  </a:lnTo>
                  <a:lnTo>
                    <a:pt x="1177" y="815"/>
                  </a:lnTo>
                  <a:lnTo>
                    <a:pt x="1147" y="815"/>
                  </a:lnTo>
                  <a:lnTo>
                    <a:pt x="1132" y="845"/>
                  </a:lnTo>
                  <a:lnTo>
                    <a:pt x="1088" y="845"/>
                  </a:lnTo>
                  <a:lnTo>
                    <a:pt x="1043" y="830"/>
                  </a:lnTo>
                  <a:lnTo>
                    <a:pt x="998" y="845"/>
                  </a:lnTo>
                  <a:lnTo>
                    <a:pt x="983" y="845"/>
                  </a:lnTo>
                  <a:lnTo>
                    <a:pt x="939" y="891"/>
                  </a:lnTo>
                  <a:lnTo>
                    <a:pt x="909" y="907"/>
                  </a:lnTo>
                  <a:lnTo>
                    <a:pt x="939" y="891"/>
                  </a:lnTo>
                  <a:lnTo>
                    <a:pt x="983" y="861"/>
                  </a:lnTo>
                  <a:lnTo>
                    <a:pt x="998" y="861"/>
                  </a:lnTo>
                  <a:lnTo>
                    <a:pt x="1028" y="845"/>
                  </a:lnTo>
                  <a:lnTo>
                    <a:pt x="1043" y="861"/>
                  </a:lnTo>
                  <a:lnTo>
                    <a:pt x="1028" y="876"/>
                  </a:lnTo>
                  <a:lnTo>
                    <a:pt x="1013" y="876"/>
                  </a:lnTo>
                  <a:lnTo>
                    <a:pt x="1013" y="891"/>
                  </a:lnTo>
                  <a:lnTo>
                    <a:pt x="1028" y="891"/>
                  </a:lnTo>
                  <a:lnTo>
                    <a:pt x="1013" y="907"/>
                  </a:lnTo>
                  <a:lnTo>
                    <a:pt x="1028" y="922"/>
                  </a:lnTo>
                  <a:lnTo>
                    <a:pt x="1028" y="938"/>
                  </a:lnTo>
                  <a:lnTo>
                    <a:pt x="1073" y="938"/>
                  </a:lnTo>
                  <a:lnTo>
                    <a:pt x="1073" y="953"/>
                  </a:lnTo>
                  <a:lnTo>
                    <a:pt x="1028" y="968"/>
                  </a:lnTo>
                  <a:lnTo>
                    <a:pt x="998" y="999"/>
                  </a:lnTo>
                  <a:lnTo>
                    <a:pt x="998" y="984"/>
                  </a:lnTo>
                  <a:lnTo>
                    <a:pt x="1028" y="953"/>
                  </a:lnTo>
                  <a:lnTo>
                    <a:pt x="1013" y="938"/>
                  </a:lnTo>
                  <a:lnTo>
                    <a:pt x="983" y="953"/>
                  </a:lnTo>
                  <a:lnTo>
                    <a:pt x="969" y="922"/>
                  </a:lnTo>
                  <a:lnTo>
                    <a:pt x="969" y="907"/>
                  </a:lnTo>
                  <a:lnTo>
                    <a:pt x="954" y="891"/>
                  </a:lnTo>
                  <a:lnTo>
                    <a:pt x="954" y="907"/>
                  </a:lnTo>
                  <a:lnTo>
                    <a:pt x="939" y="922"/>
                  </a:lnTo>
                  <a:lnTo>
                    <a:pt x="909" y="953"/>
                  </a:lnTo>
                  <a:lnTo>
                    <a:pt x="894" y="938"/>
                  </a:lnTo>
                  <a:lnTo>
                    <a:pt x="879" y="953"/>
                  </a:lnTo>
                  <a:lnTo>
                    <a:pt x="864" y="938"/>
                  </a:lnTo>
                  <a:lnTo>
                    <a:pt x="834" y="953"/>
                  </a:lnTo>
                  <a:lnTo>
                    <a:pt x="820" y="953"/>
                  </a:lnTo>
                  <a:lnTo>
                    <a:pt x="790" y="953"/>
                  </a:lnTo>
                  <a:lnTo>
                    <a:pt x="775" y="953"/>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08" name="Line 33"/>
            <p:cNvSpPr>
              <a:spLocks noChangeShapeType="1"/>
            </p:cNvSpPr>
            <p:nvPr/>
          </p:nvSpPr>
          <p:spPr bwMode="auto">
            <a:xfrm flipH="1">
              <a:off x="672" y="1466"/>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09" name="Freeform 34"/>
            <p:cNvSpPr>
              <a:spLocks/>
            </p:cNvSpPr>
            <p:nvPr/>
          </p:nvSpPr>
          <p:spPr bwMode="auto">
            <a:xfrm>
              <a:off x="597" y="1192"/>
              <a:ext cx="140" cy="152"/>
            </a:xfrm>
            <a:custGeom>
              <a:avLst/>
              <a:gdLst>
                <a:gd name="T0" fmla="*/ 7 w 328"/>
                <a:gd name="T1" fmla="*/ 1 h 401"/>
                <a:gd name="T2" fmla="*/ 7 w 328"/>
                <a:gd name="T3" fmla="*/ 2 h 401"/>
                <a:gd name="T4" fmla="*/ 9 w 328"/>
                <a:gd name="T5" fmla="*/ 3 h 401"/>
                <a:gd name="T6" fmla="*/ 9 w 328"/>
                <a:gd name="T7" fmla="*/ 3 h 401"/>
                <a:gd name="T8" fmla="*/ 9 w 328"/>
                <a:gd name="T9" fmla="*/ 4 h 401"/>
                <a:gd name="T10" fmla="*/ 10 w 328"/>
                <a:gd name="T11" fmla="*/ 5 h 401"/>
                <a:gd name="T12" fmla="*/ 11 w 328"/>
                <a:gd name="T13" fmla="*/ 6 h 401"/>
                <a:gd name="T14" fmla="*/ 9 w 328"/>
                <a:gd name="T15" fmla="*/ 6 h 401"/>
                <a:gd name="T16" fmla="*/ 9 w 328"/>
                <a:gd name="T17" fmla="*/ 6 h 401"/>
                <a:gd name="T18" fmla="*/ 8 w 328"/>
                <a:gd name="T19" fmla="*/ 5 h 401"/>
                <a:gd name="T20" fmla="*/ 8 w 328"/>
                <a:gd name="T21" fmla="*/ 6 h 401"/>
                <a:gd name="T22" fmla="*/ 8 w 328"/>
                <a:gd name="T23" fmla="*/ 7 h 401"/>
                <a:gd name="T24" fmla="*/ 8 w 328"/>
                <a:gd name="T25" fmla="*/ 8 h 401"/>
                <a:gd name="T26" fmla="*/ 6 w 328"/>
                <a:gd name="T27" fmla="*/ 7 h 401"/>
                <a:gd name="T28" fmla="*/ 7 w 328"/>
                <a:gd name="T29" fmla="*/ 8 h 401"/>
                <a:gd name="T30" fmla="*/ 6 w 328"/>
                <a:gd name="T31" fmla="*/ 8 h 401"/>
                <a:gd name="T32" fmla="*/ 4 w 328"/>
                <a:gd name="T33" fmla="*/ 7 h 401"/>
                <a:gd name="T34" fmla="*/ 4 w 328"/>
                <a:gd name="T35" fmla="*/ 6 h 401"/>
                <a:gd name="T36" fmla="*/ 3 w 328"/>
                <a:gd name="T37" fmla="*/ 6 h 401"/>
                <a:gd name="T38" fmla="*/ 3 w 328"/>
                <a:gd name="T39" fmla="*/ 6 h 401"/>
                <a:gd name="T40" fmla="*/ 2 w 328"/>
                <a:gd name="T41" fmla="*/ 6 h 401"/>
                <a:gd name="T42" fmla="*/ 2 w 328"/>
                <a:gd name="T43" fmla="*/ 6 h 401"/>
                <a:gd name="T44" fmla="*/ 3 w 328"/>
                <a:gd name="T45" fmla="*/ 5 h 401"/>
                <a:gd name="T46" fmla="*/ 3 w 328"/>
                <a:gd name="T47" fmla="*/ 5 h 401"/>
                <a:gd name="T48" fmla="*/ 4 w 328"/>
                <a:gd name="T49" fmla="*/ 5 h 401"/>
                <a:gd name="T50" fmla="*/ 6 w 328"/>
                <a:gd name="T51" fmla="*/ 4 h 401"/>
                <a:gd name="T52" fmla="*/ 6 w 328"/>
                <a:gd name="T53" fmla="*/ 4 h 401"/>
                <a:gd name="T54" fmla="*/ 3 w 328"/>
                <a:gd name="T55" fmla="*/ 2 h 401"/>
                <a:gd name="T56" fmla="*/ 3 w 328"/>
                <a:gd name="T57" fmla="*/ 3 h 401"/>
                <a:gd name="T58" fmla="*/ 3 w 328"/>
                <a:gd name="T59" fmla="*/ 2 h 401"/>
                <a:gd name="T60" fmla="*/ 1 w 328"/>
                <a:gd name="T61" fmla="*/ 2 h 401"/>
                <a:gd name="T62" fmla="*/ 0 w 328"/>
                <a:gd name="T63" fmla="*/ 2 h 401"/>
                <a:gd name="T64" fmla="*/ 0 w 328"/>
                <a:gd name="T65" fmla="*/ 0 h 401"/>
                <a:gd name="T66" fmla="*/ 2 w 328"/>
                <a:gd name="T67" fmla="*/ 0 h 401"/>
                <a:gd name="T68" fmla="*/ 3 w 328"/>
                <a:gd name="T69" fmla="*/ 1 h 401"/>
                <a:gd name="T70" fmla="*/ 3 w 328"/>
                <a:gd name="T71" fmla="*/ 0 h 401"/>
                <a:gd name="T72" fmla="*/ 5 w 328"/>
                <a:gd name="T73" fmla="*/ 0 h 401"/>
                <a:gd name="T74" fmla="*/ 7 w 328"/>
                <a:gd name="T75" fmla="*/ 1 h 40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8" h="401">
                  <a:moveTo>
                    <a:pt x="208" y="46"/>
                  </a:moveTo>
                  <a:lnTo>
                    <a:pt x="208" y="77"/>
                  </a:lnTo>
                  <a:lnTo>
                    <a:pt x="282" y="138"/>
                  </a:lnTo>
                  <a:lnTo>
                    <a:pt x="253" y="154"/>
                  </a:lnTo>
                  <a:lnTo>
                    <a:pt x="253" y="200"/>
                  </a:lnTo>
                  <a:lnTo>
                    <a:pt x="297" y="231"/>
                  </a:lnTo>
                  <a:lnTo>
                    <a:pt x="327" y="277"/>
                  </a:lnTo>
                  <a:lnTo>
                    <a:pt x="268" y="308"/>
                  </a:lnTo>
                  <a:lnTo>
                    <a:pt x="253" y="277"/>
                  </a:lnTo>
                  <a:lnTo>
                    <a:pt x="223" y="246"/>
                  </a:lnTo>
                  <a:lnTo>
                    <a:pt x="223" y="292"/>
                  </a:lnTo>
                  <a:lnTo>
                    <a:pt x="238" y="338"/>
                  </a:lnTo>
                  <a:lnTo>
                    <a:pt x="223" y="369"/>
                  </a:lnTo>
                  <a:lnTo>
                    <a:pt x="178" y="338"/>
                  </a:lnTo>
                  <a:lnTo>
                    <a:pt x="208" y="400"/>
                  </a:lnTo>
                  <a:lnTo>
                    <a:pt x="164" y="369"/>
                  </a:lnTo>
                  <a:lnTo>
                    <a:pt x="134" y="338"/>
                  </a:lnTo>
                  <a:lnTo>
                    <a:pt x="134" y="308"/>
                  </a:lnTo>
                  <a:lnTo>
                    <a:pt x="104" y="292"/>
                  </a:lnTo>
                  <a:lnTo>
                    <a:pt x="89" y="308"/>
                  </a:lnTo>
                  <a:lnTo>
                    <a:pt x="59" y="292"/>
                  </a:lnTo>
                  <a:lnTo>
                    <a:pt x="59" y="277"/>
                  </a:lnTo>
                  <a:lnTo>
                    <a:pt x="74" y="246"/>
                  </a:lnTo>
                  <a:lnTo>
                    <a:pt x="104" y="262"/>
                  </a:lnTo>
                  <a:lnTo>
                    <a:pt x="119" y="262"/>
                  </a:lnTo>
                  <a:lnTo>
                    <a:pt x="164" y="200"/>
                  </a:lnTo>
                  <a:lnTo>
                    <a:pt x="164" y="185"/>
                  </a:lnTo>
                  <a:lnTo>
                    <a:pt x="104" y="108"/>
                  </a:lnTo>
                  <a:lnTo>
                    <a:pt x="104" y="123"/>
                  </a:lnTo>
                  <a:lnTo>
                    <a:pt x="89" y="108"/>
                  </a:lnTo>
                  <a:lnTo>
                    <a:pt x="30" y="92"/>
                  </a:lnTo>
                  <a:lnTo>
                    <a:pt x="15" y="77"/>
                  </a:lnTo>
                  <a:lnTo>
                    <a:pt x="0" y="15"/>
                  </a:lnTo>
                  <a:lnTo>
                    <a:pt x="59" y="0"/>
                  </a:lnTo>
                  <a:lnTo>
                    <a:pt x="74" y="31"/>
                  </a:lnTo>
                  <a:lnTo>
                    <a:pt x="104" y="15"/>
                  </a:lnTo>
                  <a:lnTo>
                    <a:pt x="149" y="0"/>
                  </a:lnTo>
                  <a:lnTo>
                    <a:pt x="208"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0" name="Freeform 35"/>
            <p:cNvSpPr>
              <a:spLocks/>
            </p:cNvSpPr>
            <p:nvPr/>
          </p:nvSpPr>
          <p:spPr bwMode="auto">
            <a:xfrm>
              <a:off x="685" y="1094"/>
              <a:ext cx="136" cy="76"/>
            </a:xfrm>
            <a:custGeom>
              <a:avLst/>
              <a:gdLst>
                <a:gd name="T0" fmla="*/ 1 w 315"/>
                <a:gd name="T1" fmla="*/ 3 h 200"/>
                <a:gd name="T2" fmla="*/ 0 w 315"/>
                <a:gd name="T3" fmla="*/ 3 h 200"/>
                <a:gd name="T4" fmla="*/ 0 w 315"/>
                <a:gd name="T5" fmla="*/ 4 h 200"/>
                <a:gd name="T6" fmla="*/ 1 w 315"/>
                <a:gd name="T7" fmla="*/ 4 h 200"/>
                <a:gd name="T8" fmla="*/ 2 w 315"/>
                <a:gd name="T9" fmla="*/ 4 h 200"/>
                <a:gd name="T10" fmla="*/ 3 w 315"/>
                <a:gd name="T11" fmla="*/ 3 h 200"/>
                <a:gd name="T12" fmla="*/ 5 w 315"/>
                <a:gd name="T13" fmla="*/ 3 h 200"/>
                <a:gd name="T14" fmla="*/ 5 w 315"/>
                <a:gd name="T15" fmla="*/ 3 h 200"/>
                <a:gd name="T16" fmla="*/ 6 w 315"/>
                <a:gd name="T17" fmla="*/ 2 h 200"/>
                <a:gd name="T18" fmla="*/ 6 w 315"/>
                <a:gd name="T19" fmla="*/ 3 h 200"/>
                <a:gd name="T20" fmla="*/ 10 w 315"/>
                <a:gd name="T21" fmla="*/ 2 h 200"/>
                <a:gd name="T22" fmla="*/ 11 w 315"/>
                <a:gd name="T23" fmla="*/ 0 h 200"/>
                <a:gd name="T24" fmla="*/ 3 w 315"/>
                <a:gd name="T25" fmla="*/ 0 h 200"/>
                <a:gd name="T26" fmla="*/ 3 w 315"/>
                <a:gd name="T27" fmla="*/ 1 h 200"/>
                <a:gd name="T28" fmla="*/ 3 w 315"/>
                <a:gd name="T29" fmla="*/ 1 h 200"/>
                <a:gd name="T30" fmla="*/ 5 w 315"/>
                <a:gd name="T31" fmla="*/ 1 h 200"/>
                <a:gd name="T32" fmla="*/ 5 w 315"/>
                <a:gd name="T33" fmla="*/ 2 h 200"/>
                <a:gd name="T34" fmla="*/ 3 w 315"/>
                <a:gd name="T35" fmla="*/ 2 h 200"/>
                <a:gd name="T36" fmla="*/ 2 w 315"/>
                <a:gd name="T37" fmla="*/ 1 h 200"/>
                <a:gd name="T38" fmla="*/ 1 w 315"/>
                <a:gd name="T39" fmla="*/ 2 h 200"/>
                <a:gd name="T40" fmla="*/ 2 w 315"/>
                <a:gd name="T41" fmla="*/ 3 h 200"/>
                <a:gd name="T42" fmla="*/ 1 w 315"/>
                <a:gd name="T43" fmla="*/ 3 h 200"/>
                <a:gd name="T44" fmla="*/ 1 w 315"/>
                <a:gd name="T45" fmla="*/ 3 h 200"/>
                <a:gd name="T46" fmla="*/ 1 w 315"/>
                <a:gd name="T47" fmla="*/ 3 h 2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15" h="200">
                  <a:moveTo>
                    <a:pt x="30" y="153"/>
                  </a:moveTo>
                  <a:lnTo>
                    <a:pt x="0" y="168"/>
                  </a:lnTo>
                  <a:lnTo>
                    <a:pt x="15" y="184"/>
                  </a:lnTo>
                  <a:lnTo>
                    <a:pt x="45" y="184"/>
                  </a:lnTo>
                  <a:lnTo>
                    <a:pt x="60" y="199"/>
                  </a:lnTo>
                  <a:lnTo>
                    <a:pt x="105" y="153"/>
                  </a:lnTo>
                  <a:lnTo>
                    <a:pt x="135" y="153"/>
                  </a:lnTo>
                  <a:lnTo>
                    <a:pt x="135" y="138"/>
                  </a:lnTo>
                  <a:lnTo>
                    <a:pt x="164" y="122"/>
                  </a:lnTo>
                  <a:lnTo>
                    <a:pt x="179" y="138"/>
                  </a:lnTo>
                  <a:lnTo>
                    <a:pt x="284" y="77"/>
                  </a:lnTo>
                  <a:lnTo>
                    <a:pt x="314" y="15"/>
                  </a:lnTo>
                  <a:lnTo>
                    <a:pt x="75" y="0"/>
                  </a:lnTo>
                  <a:lnTo>
                    <a:pt x="75" y="31"/>
                  </a:lnTo>
                  <a:lnTo>
                    <a:pt x="105" y="46"/>
                  </a:lnTo>
                  <a:lnTo>
                    <a:pt x="150" y="46"/>
                  </a:lnTo>
                  <a:lnTo>
                    <a:pt x="135" y="77"/>
                  </a:lnTo>
                  <a:lnTo>
                    <a:pt x="90" y="77"/>
                  </a:lnTo>
                  <a:lnTo>
                    <a:pt x="60" y="61"/>
                  </a:lnTo>
                  <a:lnTo>
                    <a:pt x="30" y="122"/>
                  </a:lnTo>
                  <a:lnTo>
                    <a:pt x="60" y="138"/>
                  </a:lnTo>
                  <a:lnTo>
                    <a:pt x="45" y="138"/>
                  </a:lnTo>
                  <a:lnTo>
                    <a:pt x="45" y="153"/>
                  </a:lnTo>
                  <a:lnTo>
                    <a:pt x="30" y="153"/>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1" name="Freeform 36"/>
            <p:cNvSpPr>
              <a:spLocks/>
            </p:cNvSpPr>
            <p:nvPr/>
          </p:nvSpPr>
          <p:spPr bwMode="auto">
            <a:xfrm>
              <a:off x="441" y="1152"/>
              <a:ext cx="71" cy="65"/>
            </a:xfrm>
            <a:custGeom>
              <a:avLst/>
              <a:gdLst>
                <a:gd name="T0" fmla="*/ 1 w 165"/>
                <a:gd name="T1" fmla="*/ 0 h 171"/>
                <a:gd name="T2" fmla="*/ 3 w 165"/>
                <a:gd name="T3" fmla="*/ 0 h 171"/>
                <a:gd name="T4" fmla="*/ 3 w 165"/>
                <a:gd name="T5" fmla="*/ 0 h 171"/>
                <a:gd name="T6" fmla="*/ 3 w 165"/>
                <a:gd name="T7" fmla="*/ 0 h 171"/>
                <a:gd name="T8" fmla="*/ 5 w 165"/>
                <a:gd name="T9" fmla="*/ 1 h 171"/>
                <a:gd name="T10" fmla="*/ 6 w 165"/>
                <a:gd name="T11" fmla="*/ 1 h 171"/>
                <a:gd name="T12" fmla="*/ 6 w 165"/>
                <a:gd name="T13" fmla="*/ 1 h 171"/>
                <a:gd name="T14" fmla="*/ 6 w 165"/>
                <a:gd name="T15" fmla="*/ 3 h 171"/>
                <a:gd name="T16" fmla="*/ 3 w 165"/>
                <a:gd name="T17" fmla="*/ 4 h 171"/>
                <a:gd name="T18" fmla="*/ 2 w 165"/>
                <a:gd name="T19" fmla="*/ 3 h 171"/>
                <a:gd name="T20" fmla="*/ 0 w 165"/>
                <a:gd name="T21" fmla="*/ 2 h 171"/>
                <a:gd name="T22" fmla="*/ 0 w 165"/>
                <a:gd name="T23" fmla="*/ 2 h 171"/>
                <a:gd name="T24" fmla="*/ 2 w 165"/>
                <a:gd name="T25" fmla="*/ 2 h 171"/>
                <a:gd name="T26" fmla="*/ 2 w 165"/>
                <a:gd name="T27" fmla="*/ 1 h 171"/>
                <a:gd name="T28" fmla="*/ 1 w 165"/>
                <a:gd name="T29" fmla="*/ 1 h 171"/>
                <a:gd name="T30" fmla="*/ 1 w 165"/>
                <a:gd name="T31" fmla="*/ 1 h 171"/>
                <a:gd name="T32" fmla="*/ 1 w 165"/>
                <a:gd name="T33" fmla="*/ 1 h 171"/>
                <a:gd name="T34" fmla="*/ 1 w 165"/>
                <a:gd name="T35" fmla="*/ 0 h 17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5" h="171">
                  <a:moveTo>
                    <a:pt x="45" y="0"/>
                  </a:moveTo>
                  <a:lnTo>
                    <a:pt x="89" y="0"/>
                  </a:lnTo>
                  <a:lnTo>
                    <a:pt x="89" y="15"/>
                  </a:lnTo>
                  <a:lnTo>
                    <a:pt x="104" y="0"/>
                  </a:lnTo>
                  <a:lnTo>
                    <a:pt x="134" y="31"/>
                  </a:lnTo>
                  <a:lnTo>
                    <a:pt x="164" y="31"/>
                  </a:lnTo>
                  <a:lnTo>
                    <a:pt x="164" y="62"/>
                  </a:lnTo>
                  <a:lnTo>
                    <a:pt x="164" y="155"/>
                  </a:lnTo>
                  <a:lnTo>
                    <a:pt x="104" y="170"/>
                  </a:lnTo>
                  <a:lnTo>
                    <a:pt x="60" y="124"/>
                  </a:lnTo>
                  <a:lnTo>
                    <a:pt x="15" y="108"/>
                  </a:lnTo>
                  <a:lnTo>
                    <a:pt x="0" y="77"/>
                  </a:lnTo>
                  <a:lnTo>
                    <a:pt x="60" y="93"/>
                  </a:lnTo>
                  <a:lnTo>
                    <a:pt x="60" y="62"/>
                  </a:lnTo>
                  <a:lnTo>
                    <a:pt x="30" y="46"/>
                  </a:lnTo>
                  <a:lnTo>
                    <a:pt x="30" y="31"/>
                  </a:lnTo>
                  <a:lnTo>
                    <a:pt x="45" y="31"/>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2" name="Freeform 37"/>
            <p:cNvSpPr>
              <a:spLocks/>
            </p:cNvSpPr>
            <p:nvPr/>
          </p:nvSpPr>
          <p:spPr bwMode="auto">
            <a:xfrm>
              <a:off x="628" y="1146"/>
              <a:ext cx="90" cy="52"/>
            </a:xfrm>
            <a:custGeom>
              <a:avLst/>
              <a:gdLst>
                <a:gd name="T0" fmla="*/ 0 w 209"/>
                <a:gd name="T1" fmla="*/ 0 h 139"/>
                <a:gd name="T2" fmla="*/ 0 w 209"/>
                <a:gd name="T3" fmla="*/ 0 h 139"/>
                <a:gd name="T4" fmla="*/ 1 w 209"/>
                <a:gd name="T5" fmla="*/ 1 h 139"/>
                <a:gd name="T6" fmla="*/ 1 w 209"/>
                <a:gd name="T7" fmla="*/ 1 h 139"/>
                <a:gd name="T8" fmla="*/ 4 w 209"/>
                <a:gd name="T9" fmla="*/ 2 h 139"/>
                <a:gd name="T10" fmla="*/ 5 w 209"/>
                <a:gd name="T11" fmla="*/ 2 h 139"/>
                <a:gd name="T12" fmla="*/ 7 w 209"/>
                <a:gd name="T13" fmla="*/ 3 h 139"/>
                <a:gd name="T14" fmla="*/ 7 w 209"/>
                <a:gd name="T15" fmla="*/ 2 h 139"/>
                <a:gd name="T16" fmla="*/ 5 w 209"/>
                <a:gd name="T17" fmla="*/ 1 h 139"/>
                <a:gd name="T18" fmla="*/ 5 w 209"/>
                <a:gd name="T19" fmla="*/ 1 h 139"/>
                <a:gd name="T20" fmla="*/ 1 w 209"/>
                <a:gd name="T21" fmla="*/ 0 h 139"/>
                <a:gd name="T22" fmla="*/ 1 w 209"/>
                <a:gd name="T23" fmla="*/ 0 h 139"/>
                <a:gd name="T24" fmla="*/ 0 w 209"/>
                <a:gd name="T25" fmla="*/ 0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9" h="139">
                  <a:moveTo>
                    <a:pt x="0" y="0"/>
                  </a:moveTo>
                  <a:lnTo>
                    <a:pt x="0" y="31"/>
                  </a:lnTo>
                  <a:lnTo>
                    <a:pt x="45" y="46"/>
                  </a:lnTo>
                  <a:lnTo>
                    <a:pt x="45" y="77"/>
                  </a:lnTo>
                  <a:lnTo>
                    <a:pt x="119" y="107"/>
                  </a:lnTo>
                  <a:lnTo>
                    <a:pt x="134" y="92"/>
                  </a:lnTo>
                  <a:lnTo>
                    <a:pt x="193" y="138"/>
                  </a:lnTo>
                  <a:lnTo>
                    <a:pt x="208" y="92"/>
                  </a:lnTo>
                  <a:lnTo>
                    <a:pt x="149" y="61"/>
                  </a:lnTo>
                  <a:lnTo>
                    <a:pt x="134" y="77"/>
                  </a:lnTo>
                  <a:lnTo>
                    <a:pt x="45" y="31"/>
                  </a:lnTo>
                  <a:lnTo>
                    <a:pt x="45"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3" name="Freeform 38"/>
            <p:cNvSpPr>
              <a:spLocks/>
            </p:cNvSpPr>
            <p:nvPr/>
          </p:nvSpPr>
          <p:spPr bwMode="auto">
            <a:xfrm>
              <a:off x="397" y="1134"/>
              <a:ext cx="52" cy="36"/>
            </a:xfrm>
            <a:custGeom>
              <a:avLst/>
              <a:gdLst>
                <a:gd name="T0" fmla="*/ 0 w 121"/>
                <a:gd name="T1" fmla="*/ 2 h 93"/>
                <a:gd name="T2" fmla="*/ 1 w 121"/>
                <a:gd name="T3" fmla="*/ 2 h 93"/>
                <a:gd name="T4" fmla="*/ 3 w 121"/>
                <a:gd name="T5" fmla="*/ 1 h 93"/>
                <a:gd name="T6" fmla="*/ 4 w 121"/>
                <a:gd name="T7" fmla="*/ 1 h 93"/>
                <a:gd name="T8" fmla="*/ 3 w 121"/>
                <a:gd name="T9" fmla="*/ 0 h 93"/>
                <a:gd name="T10" fmla="*/ 2 w 121"/>
                <a:gd name="T11" fmla="*/ 0 h 93"/>
                <a:gd name="T12" fmla="*/ 0 w 121"/>
                <a:gd name="T13" fmla="*/ 1 h 93"/>
                <a:gd name="T14" fmla="*/ 0 w 121"/>
                <a:gd name="T15" fmla="*/ 2 h 9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1" h="93">
                  <a:moveTo>
                    <a:pt x="0" y="92"/>
                  </a:moveTo>
                  <a:lnTo>
                    <a:pt x="45" y="92"/>
                  </a:lnTo>
                  <a:lnTo>
                    <a:pt x="75" y="31"/>
                  </a:lnTo>
                  <a:lnTo>
                    <a:pt x="120" y="31"/>
                  </a:lnTo>
                  <a:lnTo>
                    <a:pt x="105" y="0"/>
                  </a:lnTo>
                  <a:lnTo>
                    <a:pt x="60" y="0"/>
                  </a:lnTo>
                  <a:lnTo>
                    <a:pt x="15" y="31"/>
                  </a:lnTo>
                  <a:lnTo>
                    <a:pt x="0" y="9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4" name="Freeform 39"/>
            <p:cNvSpPr>
              <a:spLocks/>
            </p:cNvSpPr>
            <p:nvPr/>
          </p:nvSpPr>
          <p:spPr bwMode="auto">
            <a:xfrm>
              <a:off x="487" y="1117"/>
              <a:ext cx="64" cy="35"/>
            </a:xfrm>
            <a:custGeom>
              <a:avLst/>
              <a:gdLst>
                <a:gd name="T0" fmla="*/ 1 w 150"/>
                <a:gd name="T1" fmla="*/ 0 h 93"/>
                <a:gd name="T2" fmla="*/ 3 w 150"/>
                <a:gd name="T3" fmla="*/ 1 h 93"/>
                <a:gd name="T4" fmla="*/ 4 w 150"/>
                <a:gd name="T5" fmla="*/ 0 h 93"/>
                <a:gd name="T6" fmla="*/ 4 w 150"/>
                <a:gd name="T7" fmla="*/ 1 h 93"/>
                <a:gd name="T8" fmla="*/ 5 w 150"/>
                <a:gd name="T9" fmla="*/ 1 h 93"/>
                <a:gd name="T10" fmla="*/ 5 w 150"/>
                <a:gd name="T11" fmla="*/ 1 h 93"/>
                <a:gd name="T12" fmla="*/ 3 w 150"/>
                <a:gd name="T13" fmla="*/ 1 h 93"/>
                <a:gd name="T14" fmla="*/ 1 w 150"/>
                <a:gd name="T15" fmla="*/ 2 h 93"/>
                <a:gd name="T16" fmla="*/ 0 w 150"/>
                <a:gd name="T17" fmla="*/ 1 h 93"/>
                <a:gd name="T18" fmla="*/ 1 w 150"/>
                <a:gd name="T19" fmla="*/ 1 h 93"/>
                <a:gd name="T20" fmla="*/ 0 w 150"/>
                <a:gd name="T21" fmla="*/ 1 h 93"/>
                <a:gd name="T22" fmla="*/ 1 w 150"/>
                <a:gd name="T23" fmla="*/ 0 h 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0" h="93">
                  <a:moveTo>
                    <a:pt x="30" y="15"/>
                  </a:moveTo>
                  <a:lnTo>
                    <a:pt x="75" y="31"/>
                  </a:lnTo>
                  <a:lnTo>
                    <a:pt x="134" y="0"/>
                  </a:lnTo>
                  <a:lnTo>
                    <a:pt x="134" y="31"/>
                  </a:lnTo>
                  <a:lnTo>
                    <a:pt x="149" y="31"/>
                  </a:lnTo>
                  <a:lnTo>
                    <a:pt x="149" y="61"/>
                  </a:lnTo>
                  <a:lnTo>
                    <a:pt x="75" y="61"/>
                  </a:lnTo>
                  <a:lnTo>
                    <a:pt x="45" y="92"/>
                  </a:lnTo>
                  <a:lnTo>
                    <a:pt x="0" y="61"/>
                  </a:lnTo>
                  <a:lnTo>
                    <a:pt x="30" y="46"/>
                  </a:lnTo>
                  <a:lnTo>
                    <a:pt x="0" y="31"/>
                  </a:lnTo>
                  <a:lnTo>
                    <a:pt x="3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5" name="Freeform 40"/>
            <p:cNvSpPr>
              <a:spLocks/>
            </p:cNvSpPr>
            <p:nvPr/>
          </p:nvSpPr>
          <p:spPr bwMode="auto">
            <a:xfrm>
              <a:off x="685" y="1453"/>
              <a:ext cx="52" cy="48"/>
            </a:xfrm>
            <a:custGeom>
              <a:avLst/>
              <a:gdLst>
                <a:gd name="T0" fmla="*/ 3 w 120"/>
                <a:gd name="T1" fmla="*/ 0 h 125"/>
                <a:gd name="T2" fmla="*/ 3 w 120"/>
                <a:gd name="T3" fmla="*/ 0 h 125"/>
                <a:gd name="T4" fmla="*/ 2 w 120"/>
                <a:gd name="T5" fmla="*/ 1 h 125"/>
                <a:gd name="T6" fmla="*/ 3 w 120"/>
                <a:gd name="T7" fmla="*/ 1 h 125"/>
                <a:gd name="T8" fmla="*/ 4 w 120"/>
                <a:gd name="T9" fmla="*/ 1 h 125"/>
                <a:gd name="T10" fmla="*/ 4 w 120"/>
                <a:gd name="T11" fmla="*/ 2 h 125"/>
                <a:gd name="T12" fmla="*/ 4 w 120"/>
                <a:gd name="T13" fmla="*/ 2 h 125"/>
                <a:gd name="T14" fmla="*/ 4 w 120"/>
                <a:gd name="T15" fmla="*/ 3 h 125"/>
                <a:gd name="T16" fmla="*/ 3 w 120"/>
                <a:gd name="T17" fmla="*/ 2 h 125"/>
                <a:gd name="T18" fmla="*/ 3 w 120"/>
                <a:gd name="T19" fmla="*/ 2 h 125"/>
                <a:gd name="T20" fmla="*/ 2 w 120"/>
                <a:gd name="T21" fmla="*/ 3 h 125"/>
                <a:gd name="T22" fmla="*/ 3 w 120"/>
                <a:gd name="T23" fmla="*/ 2 h 125"/>
                <a:gd name="T24" fmla="*/ 2 w 120"/>
                <a:gd name="T25" fmla="*/ 2 h 125"/>
                <a:gd name="T26" fmla="*/ 2 w 120"/>
                <a:gd name="T27" fmla="*/ 2 h 125"/>
                <a:gd name="T28" fmla="*/ 0 w 120"/>
                <a:gd name="T29" fmla="*/ 2 h 125"/>
                <a:gd name="T30" fmla="*/ 0 w 120"/>
                <a:gd name="T31" fmla="*/ 2 h 125"/>
                <a:gd name="T32" fmla="*/ 2 w 120"/>
                <a:gd name="T33" fmla="*/ 1 h 125"/>
                <a:gd name="T34" fmla="*/ 3 w 120"/>
                <a:gd name="T35" fmla="*/ 0 h 125"/>
                <a:gd name="T36" fmla="*/ 3 w 120"/>
                <a:gd name="T37" fmla="*/ 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0" h="125">
                  <a:moveTo>
                    <a:pt x="89" y="0"/>
                  </a:moveTo>
                  <a:lnTo>
                    <a:pt x="89" y="16"/>
                  </a:lnTo>
                  <a:lnTo>
                    <a:pt x="60" y="47"/>
                  </a:lnTo>
                  <a:lnTo>
                    <a:pt x="74" y="62"/>
                  </a:lnTo>
                  <a:lnTo>
                    <a:pt x="104" y="62"/>
                  </a:lnTo>
                  <a:lnTo>
                    <a:pt x="104" y="93"/>
                  </a:lnTo>
                  <a:lnTo>
                    <a:pt x="119" y="109"/>
                  </a:lnTo>
                  <a:lnTo>
                    <a:pt x="104" y="124"/>
                  </a:lnTo>
                  <a:lnTo>
                    <a:pt x="89" y="109"/>
                  </a:lnTo>
                  <a:lnTo>
                    <a:pt x="89" y="93"/>
                  </a:lnTo>
                  <a:lnTo>
                    <a:pt x="60" y="124"/>
                  </a:lnTo>
                  <a:lnTo>
                    <a:pt x="74" y="93"/>
                  </a:lnTo>
                  <a:lnTo>
                    <a:pt x="45" y="109"/>
                  </a:lnTo>
                  <a:lnTo>
                    <a:pt x="60" y="93"/>
                  </a:lnTo>
                  <a:lnTo>
                    <a:pt x="0" y="93"/>
                  </a:lnTo>
                  <a:lnTo>
                    <a:pt x="0" y="78"/>
                  </a:lnTo>
                  <a:lnTo>
                    <a:pt x="45" y="47"/>
                  </a:lnTo>
                  <a:lnTo>
                    <a:pt x="74" y="0"/>
                  </a:lnTo>
                  <a:lnTo>
                    <a:pt x="8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6" name="Freeform 41"/>
            <p:cNvSpPr>
              <a:spLocks/>
            </p:cNvSpPr>
            <p:nvPr/>
          </p:nvSpPr>
          <p:spPr bwMode="auto">
            <a:xfrm>
              <a:off x="660" y="1105"/>
              <a:ext cx="31" cy="47"/>
            </a:xfrm>
            <a:custGeom>
              <a:avLst/>
              <a:gdLst>
                <a:gd name="T0" fmla="*/ 1 w 75"/>
                <a:gd name="T1" fmla="*/ 0 h 123"/>
                <a:gd name="T2" fmla="*/ 2 w 75"/>
                <a:gd name="T3" fmla="*/ 2 h 123"/>
                <a:gd name="T4" fmla="*/ 2 w 75"/>
                <a:gd name="T5" fmla="*/ 3 h 123"/>
                <a:gd name="T6" fmla="*/ 0 w 75"/>
                <a:gd name="T7" fmla="*/ 2 h 123"/>
                <a:gd name="T8" fmla="*/ 0 w 75"/>
                <a:gd name="T9" fmla="*/ 1 h 123"/>
                <a:gd name="T10" fmla="*/ 1 w 75"/>
                <a:gd name="T11" fmla="*/ 0 h 1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5" h="123">
                  <a:moveTo>
                    <a:pt x="30" y="0"/>
                  </a:moveTo>
                  <a:lnTo>
                    <a:pt x="74" y="76"/>
                  </a:lnTo>
                  <a:lnTo>
                    <a:pt x="59" y="122"/>
                  </a:lnTo>
                  <a:lnTo>
                    <a:pt x="0" y="107"/>
                  </a:lnTo>
                  <a:lnTo>
                    <a:pt x="15" y="46"/>
                  </a:lnTo>
                  <a:lnTo>
                    <a:pt x="3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7" name="Freeform 42"/>
            <p:cNvSpPr>
              <a:spLocks/>
            </p:cNvSpPr>
            <p:nvPr/>
          </p:nvSpPr>
          <p:spPr bwMode="auto">
            <a:xfrm>
              <a:off x="576" y="1168"/>
              <a:ext cx="40" cy="30"/>
            </a:xfrm>
            <a:custGeom>
              <a:avLst/>
              <a:gdLst>
                <a:gd name="T0" fmla="*/ 0 w 90"/>
                <a:gd name="T1" fmla="*/ 1 h 78"/>
                <a:gd name="T2" fmla="*/ 0 w 90"/>
                <a:gd name="T3" fmla="*/ 0 h 78"/>
                <a:gd name="T4" fmla="*/ 4 w 90"/>
                <a:gd name="T5" fmla="*/ 0 h 78"/>
                <a:gd name="T6" fmla="*/ 3 w 90"/>
                <a:gd name="T7" fmla="*/ 1 h 78"/>
                <a:gd name="T8" fmla="*/ 1 w 90"/>
                <a:gd name="T9" fmla="*/ 1 h 78"/>
                <a:gd name="T10" fmla="*/ 0 w 90"/>
                <a:gd name="T11" fmla="*/ 2 h 78"/>
                <a:gd name="T12" fmla="*/ 0 w 90"/>
                <a:gd name="T13" fmla="*/ 1 h 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0" h="78">
                  <a:moveTo>
                    <a:pt x="0" y="46"/>
                  </a:moveTo>
                  <a:lnTo>
                    <a:pt x="15" y="0"/>
                  </a:lnTo>
                  <a:lnTo>
                    <a:pt x="89" y="0"/>
                  </a:lnTo>
                  <a:lnTo>
                    <a:pt x="74" y="46"/>
                  </a:lnTo>
                  <a:lnTo>
                    <a:pt x="30" y="46"/>
                  </a:lnTo>
                  <a:lnTo>
                    <a:pt x="15" y="77"/>
                  </a:lnTo>
                  <a:lnTo>
                    <a:pt x="0"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8" name="Freeform 43"/>
            <p:cNvSpPr>
              <a:spLocks/>
            </p:cNvSpPr>
            <p:nvPr/>
          </p:nvSpPr>
          <p:spPr bwMode="auto">
            <a:xfrm>
              <a:off x="460" y="1105"/>
              <a:ext cx="41" cy="24"/>
            </a:xfrm>
            <a:custGeom>
              <a:avLst/>
              <a:gdLst>
                <a:gd name="T0" fmla="*/ 0 w 91"/>
                <a:gd name="T1" fmla="*/ 1 h 62"/>
                <a:gd name="T2" fmla="*/ 0 w 91"/>
                <a:gd name="T3" fmla="*/ 1 h 62"/>
                <a:gd name="T4" fmla="*/ 4 w 91"/>
                <a:gd name="T5" fmla="*/ 1 h 62"/>
                <a:gd name="T6" fmla="*/ 4 w 91"/>
                <a:gd name="T7" fmla="*/ 0 h 62"/>
                <a:gd name="T8" fmla="*/ 1 w 91"/>
                <a:gd name="T9" fmla="*/ 0 h 62"/>
                <a:gd name="T10" fmla="*/ 0 w 91"/>
                <a:gd name="T11" fmla="*/ 1 h 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1" h="62">
                  <a:moveTo>
                    <a:pt x="0" y="31"/>
                  </a:moveTo>
                  <a:lnTo>
                    <a:pt x="15" y="61"/>
                  </a:lnTo>
                  <a:lnTo>
                    <a:pt x="90" y="31"/>
                  </a:lnTo>
                  <a:lnTo>
                    <a:pt x="90" y="0"/>
                  </a:lnTo>
                  <a:lnTo>
                    <a:pt x="30" y="0"/>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19" name="Freeform 44"/>
            <p:cNvSpPr>
              <a:spLocks/>
            </p:cNvSpPr>
            <p:nvPr/>
          </p:nvSpPr>
          <p:spPr bwMode="auto">
            <a:xfrm>
              <a:off x="564" y="1128"/>
              <a:ext cx="38" cy="30"/>
            </a:xfrm>
            <a:custGeom>
              <a:avLst/>
              <a:gdLst>
                <a:gd name="T0" fmla="*/ 0 w 91"/>
                <a:gd name="T1" fmla="*/ 0 h 78"/>
                <a:gd name="T2" fmla="*/ 0 w 91"/>
                <a:gd name="T3" fmla="*/ 1 h 78"/>
                <a:gd name="T4" fmla="*/ 1 w 91"/>
                <a:gd name="T5" fmla="*/ 2 h 78"/>
                <a:gd name="T6" fmla="*/ 3 w 91"/>
                <a:gd name="T7" fmla="*/ 1 h 78"/>
                <a:gd name="T8" fmla="*/ 2 w 91"/>
                <a:gd name="T9" fmla="*/ 0 h 78"/>
                <a:gd name="T10" fmla="*/ 1 w 91"/>
                <a:gd name="T11" fmla="*/ 1 h 78"/>
                <a:gd name="T12" fmla="*/ 0 w 91"/>
                <a:gd name="T13" fmla="*/ 0 h 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 h="78">
                  <a:moveTo>
                    <a:pt x="0" y="0"/>
                  </a:moveTo>
                  <a:lnTo>
                    <a:pt x="0" y="46"/>
                  </a:lnTo>
                  <a:lnTo>
                    <a:pt x="45" y="77"/>
                  </a:lnTo>
                  <a:lnTo>
                    <a:pt x="90" y="31"/>
                  </a:lnTo>
                  <a:lnTo>
                    <a:pt x="75" y="0"/>
                  </a:lnTo>
                  <a:lnTo>
                    <a:pt x="45"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20" name="Freeform 45"/>
            <p:cNvSpPr>
              <a:spLocks/>
            </p:cNvSpPr>
            <p:nvPr/>
          </p:nvSpPr>
          <p:spPr bwMode="auto">
            <a:xfrm>
              <a:off x="564" y="1280"/>
              <a:ext cx="38" cy="29"/>
            </a:xfrm>
            <a:custGeom>
              <a:avLst/>
              <a:gdLst>
                <a:gd name="T0" fmla="*/ 1 w 91"/>
                <a:gd name="T1" fmla="*/ 0 h 78"/>
                <a:gd name="T2" fmla="*/ 2 w 91"/>
                <a:gd name="T3" fmla="*/ 0 h 78"/>
                <a:gd name="T4" fmla="*/ 2 w 91"/>
                <a:gd name="T5" fmla="*/ 1 h 78"/>
                <a:gd name="T6" fmla="*/ 2 w 91"/>
                <a:gd name="T7" fmla="*/ 1 h 78"/>
                <a:gd name="T8" fmla="*/ 3 w 91"/>
                <a:gd name="T9" fmla="*/ 1 h 78"/>
                <a:gd name="T10" fmla="*/ 2 w 91"/>
                <a:gd name="T11" fmla="*/ 1 h 78"/>
                <a:gd name="T12" fmla="*/ 2 w 91"/>
                <a:gd name="T13" fmla="*/ 1 h 78"/>
                <a:gd name="T14" fmla="*/ 2 w 91"/>
                <a:gd name="T15" fmla="*/ 1 h 78"/>
                <a:gd name="T16" fmla="*/ 1 w 91"/>
                <a:gd name="T17" fmla="*/ 1 h 78"/>
                <a:gd name="T18" fmla="*/ 1 w 91"/>
                <a:gd name="T19" fmla="*/ 1 h 78"/>
                <a:gd name="T20" fmla="*/ 0 w 91"/>
                <a:gd name="T21" fmla="*/ 1 h 78"/>
                <a:gd name="T22" fmla="*/ 0 w 91"/>
                <a:gd name="T23" fmla="*/ 1 h 78"/>
                <a:gd name="T24" fmla="*/ 1 w 91"/>
                <a:gd name="T25" fmla="*/ 1 h 78"/>
                <a:gd name="T26" fmla="*/ 1 w 91"/>
                <a:gd name="T27" fmla="*/ 0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1" h="78">
                  <a:moveTo>
                    <a:pt x="45" y="0"/>
                  </a:moveTo>
                  <a:lnTo>
                    <a:pt x="60" y="0"/>
                  </a:lnTo>
                  <a:lnTo>
                    <a:pt x="75" y="46"/>
                  </a:lnTo>
                  <a:lnTo>
                    <a:pt x="75" y="62"/>
                  </a:lnTo>
                  <a:lnTo>
                    <a:pt x="90" y="62"/>
                  </a:lnTo>
                  <a:lnTo>
                    <a:pt x="75" y="77"/>
                  </a:lnTo>
                  <a:lnTo>
                    <a:pt x="60" y="77"/>
                  </a:lnTo>
                  <a:lnTo>
                    <a:pt x="75" y="46"/>
                  </a:lnTo>
                  <a:lnTo>
                    <a:pt x="45" y="46"/>
                  </a:lnTo>
                  <a:lnTo>
                    <a:pt x="30" y="62"/>
                  </a:lnTo>
                  <a:lnTo>
                    <a:pt x="15" y="62"/>
                  </a:lnTo>
                  <a:lnTo>
                    <a:pt x="0" y="46"/>
                  </a:lnTo>
                  <a:lnTo>
                    <a:pt x="30" y="46"/>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21" name="Freeform 46"/>
            <p:cNvSpPr>
              <a:spLocks/>
            </p:cNvSpPr>
            <p:nvPr/>
          </p:nvSpPr>
          <p:spPr bwMode="auto">
            <a:xfrm>
              <a:off x="538" y="1164"/>
              <a:ext cx="20" cy="34"/>
            </a:xfrm>
            <a:custGeom>
              <a:avLst/>
              <a:gdLst>
                <a:gd name="T0" fmla="*/ 0 w 46"/>
                <a:gd name="T1" fmla="*/ 0 h 93"/>
                <a:gd name="T2" fmla="*/ 2 w 46"/>
                <a:gd name="T3" fmla="*/ 0 h 93"/>
                <a:gd name="T4" fmla="*/ 2 w 46"/>
                <a:gd name="T5" fmla="*/ 1 h 93"/>
                <a:gd name="T6" fmla="*/ 0 w 46"/>
                <a:gd name="T7" fmla="*/ 1 h 93"/>
                <a:gd name="T8" fmla="*/ 0 w 46"/>
                <a:gd name="T9" fmla="*/ 0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93">
                  <a:moveTo>
                    <a:pt x="0" y="31"/>
                  </a:moveTo>
                  <a:lnTo>
                    <a:pt x="45" y="0"/>
                  </a:lnTo>
                  <a:lnTo>
                    <a:pt x="45" y="61"/>
                  </a:lnTo>
                  <a:lnTo>
                    <a:pt x="0" y="92"/>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22" name="Freeform 47"/>
            <p:cNvSpPr>
              <a:spLocks/>
            </p:cNvSpPr>
            <p:nvPr/>
          </p:nvSpPr>
          <p:spPr bwMode="auto">
            <a:xfrm>
              <a:off x="519" y="1094"/>
              <a:ext cx="19" cy="11"/>
            </a:xfrm>
            <a:custGeom>
              <a:avLst/>
              <a:gdLst>
                <a:gd name="T0" fmla="*/ 0 w 46"/>
                <a:gd name="T1" fmla="*/ 0 h 32"/>
                <a:gd name="T2" fmla="*/ 0 w 46"/>
                <a:gd name="T3" fmla="*/ 0 h 32"/>
                <a:gd name="T4" fmla="*/ 1 w 46"/>
                <a:gd name="T5" fmla="*/ 0 h 32"/>
                <a:gd name="T6" fmla="*/ 1 w 46"/>
                <a:gd name="T7" fmla="*/ 0 h 32"/>
                <a:gd name="T8" fmla="*/ 1 w 46"/>
                <a:gd name="T9" fmla="*/ 0 h 32"/>
                <a:gd name="T10" fmla="*/ 0 w 46"/>
                <a:gd name="T11" fmla="*/ 0 h 32"/>
                <a:gd name="T12" fmla="*/ 0 w 46"/>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32">
                  <a:moveTo>
                    <a:pt x="0" y="16"/>
                  </a:moveTo>
                  <a:lnTo>
                    <a:pt x="0" y="31"/>
                  </a:lnTo>
                  <a:lnTo>
                    <a:pt x="45" y="31"/>
                  </a:lnTo>
                  <a:lnTo>
                    <a:pt x="45" y="0"/>
                  </a:lnTo>
                  <a:lnTo>
                    <a:pt x="30" y="16"/>
                  </a:lnTo>
                  <a:lnTo>
                    <a:pt x="15" y="16"/>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23" name="Freeform 48"/>
            <p:cNvSpPr>
              <a:spLocks/>
            </p:cNvSpPr>
            <p:nvPr/>
          </p:nvSpPr>
          <p:spPr bwMode="auto">
            <a:xfrm>
              <a:off x="224" y="1395"/>
              <a:ext cx="20" cy="24"/>
            </a:xfrm>
            <a:custGeom>
              <a:avLst/>
              <a:gdLst>
                <a:gd name="T0" fmla="*/ 0 w 45"/>
                <a:gd name="T1" fmla="*/ 0 h 62"/>
                <a:gd name="T2" fmla="*/ 1 w 45"/>
                <a:gd name="T3" fmla="*/ 1 h 62"/>
                <a:gd name="T4" fmla="*/ 2 w 45"/>
                <a:gd name="T5" fmla="*/ 1 h 62"/>
                <a:gd name="T6" fmla="*/ 1 w 45"/>
                <a:gd name="T7" fmla="*/ 1 h 62"/>
                <a:gd name="T8" fmla="*/ 0 w 45"/>
                <a:gd name="T9" fmla="*/ 0 h 62"/>
                <a:gd name="T10" fmla="*/ 0 w 45"/>
                <a:gd name="T11" fmla="*/ 0 h 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5" h="62">
                  <a:moveTo>
                    <a:pt x="0" y="0"/>
                  </a:moveTo>
                  <a:lnTo>
                    <a:pt x="29" y="31"/>
                  </a:lnTo>
                  <a:lnTo>
                    <a:pt x="44" y="61"/>
                  </a:lnTo>
                  <a:lnTo>
                    <a:pt x="29" y="61"/>
                  </a:lnTo>
                  <a:lnTo>
                    <a:pt x="0" y="15"/>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24" name="Freeform 49"/>
            <p:cNvSpPr>
              <a:spLocks/>
            </p:cNvSpPr>
            <p:nvPr/>
          </p:nvSpPr>
          <p:spPr bwMode="auto">
            <a:xfrm>
              <a:off x="564" y="1094"/>
              <a:ext cx="13" cy="23"/>
            </a:xfrm>
            <a:custGeom>
              <a:avLst/>
              <a:gdLst>
                <a:gd name="T0" fmla="*/ 0 w 32"/>
                <a:gd name="T1" fmla="*/ 0 h 62"/>
                <a:gd name="T2" fmla="*/ 0 w 32"/>
                <a:gd name="T3" fmla="*/ 1 h 62"/>
                <a:gd name="T4" fmla="*/ 1 w 32"/>
                <a:gd name="T5" fmla="*/ 0 h 62"/>
                <a:gd name="T6" fmla="*/ 1 w 32"/>
                <a:gd name="T7" fmla="*/ 0 h 62"/>
                <a:gd name="T8" fmla="*/ 0 w 32"/>
                <a:gd name="T9" fmla="*/ 0 h 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62">
                  <a:moveTo>
                    <a:pt x="0" y="15"/>
                  </a:moveTo>
                  <a:lnTo>
                    <a:pt x="16" y="61"/>
                  </a:lnTo>
                  <a:lnTo>
                    <a:pt x="31" y="31"/>
                  </a:lnTo>
                  <a:lnTo>
                    <a:pt x="31" y="0"/>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25" name="Freeform 50"/>
            <p:cNvSpPr>
              <a:spLocks/>
            </p:cNvSpPr>
            <p:nvPr/>
          </p:nvSpPr>
          <p:spPr bwMode="auto">
            <a:xfrm>
              <a:off x="576" y="1315"/>
              <a:ext cx="13" cy="12"/>
            </a:xfrm>
            <a:custGeom>
              <a:avLst/>
              <a:gdLst>
                <a:gd name="T0" fmla="*/ 1 w 30"/>
                <a:gd name="T1" fmla="*/ 0 h 32"/>
                <a:gd name="T2" fmla="*/ 0 w 30"/>
                <a:gd name="T3" fmla="*/ 1 h 32"/>
                <a:gd name="T4" fmla="*/ 0 w 30"/>
                <a:gd name="T5" fmla="*/ 0 h 32"/>
                <a:gd name="T6" fmla="*/ 0 w 30"/>
                <a:gd name="T7" fmla="*/ 0 h 32"/>
                <a:gd name="T8" fmla="*/ 1 w 3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2">
                  <a:moveTo>
                    <a:pt x="29" y="0"/>
                  </a:moveTo>
                  <a:lnTo>
                    <a:pt x="0" y="31"/>
                  </a:lnTo>
                  <a:lnTo>
                    <a:pt x="0" y="16"/>
                  </a:lnTo>
                  <a:lnTo>
                    <a:pt x="15" y="0"/>
                  </a:lnTo>
                  <a:lnTo>
                    <a:pt x="2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26" name="Freeform 51"/>
            <p:cNvSpPr>
              <a:spLocks/>
            </p:cNvSpPr>
            <p:nvPr/>
          </p:nvSpPr>
          <p:spPr bwMode="auto">
            <a:xfrm>
              <a:off x="673" y="1488"/>
              <a:ext cx="7" cy="13"/>
            </a:xfrm>
            <a:custGeom>
              <a:avLst/>
              <a:gdLst>
                <a:gd name="T0" fmla="*/ 0 w 17"/>
                <a:gd name="T1" fmla="*/ 0 h 32"/>
                <a:gd name="T2" fmla="*/ 0 w 17"/>
                <a:gd name="T3" fmla="*/ 0 h 32"/>
                <a:gd name="T4" fmla="*/ 0 w 17"/>
                <a:gd name="T5" fmla="*/ 1 h 32"/>
                <a:gd name="T6" fmla="*/ 0 w 17"/>
                <a:gd name="T7" fmla="*/ 1 h 32"/>
                <a:gd name="T8" fmla="*/ 0 w 17"/>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2">
                  <a:moveTo>
                    <a:pt x="0" y="0"/>
                  </a:moveTo>
                  <a:lnTo>
                    <a:pt x="16" y="16"/>
                  </a:lnTo>
                  <a:lnTo>
                    <a:pt x="16" y="31"/>
                  </a:lnTo>
                  <a:lnTo>
                    <a:pt x="0"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27" name="Freeform 52"/>
            <p:cNvSpPr>
              <a:spLocks/>
            </p:cNvSpPr>
            <p:nvPr/>
          </p:nvSpPr>
          <p:spPr bwMode="auto">
            <a:xfrm>
              <a:off x="673" y="1268"/>
              <a:ext cx="13" cy="17"/>
            </a:xfrm>
            <a:custGeom>
              <a:avLst/>
              <a:gdLst>
                <a:gd name="T0" fmla="*/ 0 w 31"/>
                <a:gd name="T1" fmla="*/ 0 h 47"/>
                <a:gd name="T2" fmla="*/ 0 w 31"/>
                <a:gd name="T3" fmla="*/ 0 h 47"/>
                <a:gd name="T4" fmla="*/ 0 w 31"/>
                <a:gd name="T5" fmla="*/ 1 h 47"/>
                <a:gd name="T6" fmla="*/ 1 w 31"/>
                <a:gd name="T7" fmla="*/ 0 h 47"/>
                <a:gd name="T8" fmla="*/ 0 w 31"/>
                <a:gd name="T9" fmla="*/ 0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47">
                  <a:moveTo>
                    <a:pt x="15" y="0"/>
                  </a:moveTo>
                  <a:lnTo>
                    <a:pt x="0" y="31"/>
                  </a:lnTo>
                  <a:lnTo>
                    <a:pt x="0" y="46"/>
                  </a:lnTo>
                  <a:lnTo>
                    <a:pt x="30" y="31"/>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28" name="Freeform 53"/>
            <p:cNvSpPr>
              <a:spLocks/>
            </p:cNvSpPr>
            <p:nvPr/>
          </p:nvSpPr>
          <p:spPr bwMode="auto">
            <a:xfrm>
              <a:off x="660" y="1825"/>
              <a:ext cx="31" cy="30"/>
            </a:xfrm>
            <a:custGeom>
              <a:avLst/>
              <a:gdLst>
                <a:gd name="T0" fmla="*/ 0 w 75"/>
                <a:gd name="T1" fmla="*/ 0 h 78"/>
                <a:gd name="T2" fmla="*/ 0 w 75"/>
                <a:gd name="T3" fmla="*/ 0 h 78"/>
                <a:gd name="T4" fmla="*/ 0 w 75"/>
                <a:gd name="T5" fmla="*/ 1 h 78"/>
                <a:gd name="T6" fmla="*/ 0 w 75"/>
                <a:gd name="T7" fmla="*/ 1 h 78"/>
                <a:gd name="T8" fmla="*/ 1 w 75"/>
                <a:gd name="T9" fmla="*/ 2 h 78"/>
                <a:gd name="T10" fmla="*/ 1 w 75"/>
                <a:gd name="T11" fmla="*/ 1 h 78"/>
                <a:gd name="T12" fmla="*/ 2 w 75"/>
                <a:gd name="T13" fmla="*/ 2 h 78"/>
                <a:gd name="T14" fmla="*/ 2 w 75"/>
                <a:gd name="T15" fmla="*/ 1 h 78"/>
                <a:gd name="T16" fmla="*/ 2 w 75"/>
                <a:gd name="T17" fmla="*/ 1 h 78"/>
                <a:gd name="T18" fmla="*/ 2 w 75"/>
                <a:gd name="T19" fmla="*/ 0 h 78"/>
                <a:gd name="T20" fmla="*/ 0 w 75"/>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5" h="78">
                  <a:moveTo>
                    <a:pt x="15" y="0"/>
                  </a:moveTo>
                  <a:lnTo>
                    <a:pt x="15" y="15"/>
                  </a:lnTo>
                  <a:lnTo>
                    <a:pt x="0" y="31"/>
                  </a:lnTo>
                  <a:lnTo>
                    <a:pt x="0" y="62"/>
                  </a:lnTo>
                  <a:lnTo>
                    <a:pt x="30" y="77"/>
                  </a:lnTo>
                  <a:lnTo>
                    <a:pt x="30" y="62"/>
                  </a:lnTo>
                  <a:lnTo>
                    <a:pt x="74" y="77"/>
                  </a:lnTo>
                  <a:lnTo>
                    <a:pt x="74" y="46"/>
                  </a:lnTo>
                  <a:lnTo>
                    <a:pt x="59" y="31"/>
                  </a:lnTo>
                  <a:lnTo>
                    <a:pt x="74" y="15"/>
                  </a:lnTo>
                  <a:lnTo>
                    <a:pt x="15"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29" name="Freeform 54"/>
            <p:cNvSpPr>
              <a:spLocks/>
            </p:cNvSpPr>
            <p:nvPr/>
          </p:nvSpPr>
          <p:spPr bwMode="auto">
            <a:xfrm>
              <a:off x="493" y="1774"/>
              <a:ext cx="96" cy="128"/>
            </a:xfrm>
            <a:custGeom>
              <a:avLst/>
              <a:gdLst>
                <a:gd name="T0" fmla="*/ 0 w 224"/>
                <a:gd name="T1" fmla="*/ 4 h 339"/>
                <a:gd name="T2" fmla="*/ 0 w 224"/>
                <a:gd name="T3" fmla="*/ 5 h 339"/>
                <a:gd name="T4" fmla="*/ 2 w 224"/>
                <a:gd name="T5" fmla="*/ 5 h 339"/>
                <a:gd name="T6" fmla="*/ 3 w 224"/>
                <a:gd name="T7" fmla="*/ 5 h 339"/>
                <a:gd name="T8" fmla="*/ 3 w 224"/>
                <a:gd name="T9" fmla="*/ 5 h 339"/>
                <a:gd name="T10" fmla="*/ 3 w 224"/>
                <a:gd name="T11" fmla="*/ 6 h 339"/>
                <a:gd name="T12" fmla="*/ 4 w 224"/>
                <a:gd name="T13" fmla="*/ 6 h 339"/>
                <a:gd name="T14" fmla="*/ 4 w 224"/>
                <a:gd name="T15" fmla="*/ 6 h 339"/>
                <a:gd name="T16" fmla="*/ 6 w 224"/>
                <a:gd name="T17" fmla="*/ 6 h 339"/>
                <a:gd name="T18" fmla="*/ 6 w 224"/>
                <a:gd name="T19" fmla="*/ 7 h 339"/>
                <a:gd name="T20" fmla="*/ 6 w 224"/>
                <a:gd name="T21" fmla="*/ 6 h 339"/>
                <a:gd name="T22" fmla="*/ 6 w 224"/>
                <a:gd name="T23" fmla="*/ 6 h 339"/>
                <a:gd name="T24" fmla="*/ 6 w 224"/>
                <a:gd name="T25" fmla="*/ 5 h 339"/>
                <a:gd name="T26" fmla="*/ 6 w 224"/>
                <a:gd name="T27" fmla="*/ 5 h 339"/>
                <a:gd name="T28" fmla="*/ 6 w 224"/>
                <a:gd name="T29" fmla="*/ 5 h 339"/>
                <a:gd name="T30" fmla="*/ 6 w 224"/>
                <a:gd name="T31" fmla="*/ 5 h 339"/>
                <a:gd name="T32" fmla="*/ 6 w 224"/>
                <a:gd name="T33" fmla="*/ 5 h 339"/>
                <a:gd name="T34" fmla="*/ 6 w 224"/>
                <a:gd name="T35" fmla="*/ 5 h 339"/>
                <a:gd name="T36" fmla="*/ 7 w 224"/>
                <a:gd name="T37" fmla="*/ 5 h 339"/>
                <a:gd name="T38" fmla="*/ 8 w 224"/>
                <a:gd name="T39" fmla="*/ 5 h 339"/>
                <a:gd name="T40" fmla="*/ 7 w 224"/>
                <a:gd name="T41" fmla="*/ 4 h 339"/>
                <a:gd name="T42" fmla="*/ 7 w 224"/>
                <a:gd name="T43" fmla="*/ 3 h 339"/>
                <a:gd name="T44" fmla="*/ 6 w 224"/>
                <a:gd name="T45" fmla="*/ 3 h 339"/>
                <a:gd name="T46" fmla="*/ 4 w 224"/>
                <a:gd name="T47" fmla="*/ 2 h 339"/>
                <a:gd name="T48" fmla="*/ 4 w 224"/>
                <a:gd name="T49" fmla="*/ 2 h 339"/>
                <a:gd name="T50" fmla="*/ 3 w 224"/>
                <a:gd name="T51" fmla="*/ 2 h 339"/>
                <a:gd name="T52" fmla="*/ 4 w 224"/>
                <a:gd name="T53" fmla="*/ 1 h 339"/>
                <a:gd name="T54" fmla="*/ 5 w 224"/>
                <a:gd name="T55" fmla="*/ 0 h 339"/>
                <a:gd name="T56" fmla="*/ 5 w 224"/>
                <a:gd name="T57" fmla="*/ 0 h 339"/>
                <a:gd name="T58" fmla="*/ 4 w 224"/>
                <a:gd name="T59" fmla="*/ 0 h 339"/>
                <a:gd name="T60" fmla="*/ 4 w 224"/>
                <a:gd name="T61" fmla="*/ 0 h 339"/>
                <a:gd name="T62" fmla="*/ 3 w 224"/>
                <a:gd name="T63" fmla="*/ 1 h 339"/>
                <a:gd name="T64" fmla="*/ 3 w 224"/>
                <a:gd name="T65" fmla="*/ 1 h 339"/>
                <a:gd name="T66" fmla="*/ 1 w 224"/>
                <a:gd name="T67" fmla="*/ 2 h 339"/>
                <a:gd name="T68" fmla="*/ 1 w 224"/>
                <a:gd name="T69" fmla="*/ 2 h 339"/>
                <a:gd name="T70" fmla="*/ 1 w 224"/>
                <a:gd name="T71" fmla="*/ 2 h 339"/>
                <a:gd name="T72" fmla="*/ 1 w 224"/>
                <a:gd name="T73" fmla="*/ 2 h 339"/>
                <a:gd name="T74" fmla="*/ 1 w 224"/>
                <a:gd name="T75" fmla="*/ 4 h 339"/>
                <a:gd name="T76" fmla="*/ 0 w 224"/>
                <a:gd name="T77" fmla="*/ 4 h 3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24" h="339">
                  <a:moveTo>
                    <a:pt x="15" y="200"/>
                  </a:moveTo>
                  <a:lnTo>
                    <a:pt x="0" y="230"/>
                  </a:lnTo>
                  <a:lnTo>
                    <a:pt x="59" y="246"/>
                  </a:lnTo>
                  <a:lnTo>
                    <a:pt x="74" y="261"/>
                  </a:lnTo>
                  <a:lnTo>
                    <a:pt x="89" y="261"/>
                  </a:lnTo>
                  <a:lnTo>
                    <a:pt x="104" y="292"/>
                  </a:lnTo>
                  <a:lnTo>
                    <a:pt x="119" y="292"/>
                  </a:lnTo>
                  <a:lnTo>
                    <a:pt x="134" y="292"/>
                  </a:lnTo>
                  <a:lnTo>
                    <a:pt x="164" y="307"/>
                  </a:lnTo>
                  <a:lnTo>
                    <a:pt x="178" y="338"/>
                  </a:lnTo>
                  <a:lnTo>
                    <a:pt x="178" y="292"/>
                  </a:lnTo>
                  <a:lnTo>
                    <a:pt x="178" y="277"/>
                  </a:lnTo>
                  <a:lnTo>
                    <a:pt x="178" y="261"/>
                  </a:lnTo>
                  <a:lnTo>
                    <a:pt x="193" y="246"/>
                  </a:lnTo>
                  <a:lnTo>
                    <a:pt x="164" y="246"/>
                  </a:lnTo>
                  <a:lnTo>
                    <a:pt x="164" y="230"/>
                  </a:lnTo>
                  <a:lnTo>
                    <a:pt x="193" y="230"/>
                  </a:lnTo>
                  <a:lnTo>
                    <a:pt x="193" y="215"/>
                  </a:lnTo>
                  <a:lnTo>
                    <a:pt x="208" y="215"/>
                  </a:lnTo>
                  <a:lnTo>
                    <a:pt x="223" y="230"/>
                  </a:lnTo>
                  <a:lnTo>
                    <a:pt x="208" y="184"/>
                  </a:lnTo>
                  <a:lnTo>
                    <a:pt x="208" y="138"/>
                  </a:lnTo>
                  <a:lnTo>
                    <a:pt x="178" y="138"/>
                  </a:lnTo>
                  <a:lnTo>
                    <a:pt x="119" y="108"/>
                  </a:lnTo>
                  <a:lnTo>
                    <a:pt x="119" y="77"/>
                  </a:lnTo>
                  <a:lnTo>
                    <a:pt x="104" y="77"/>
                  </a:lnTo>
                  <a:lnTo>
                    <a:pt x="119" y="31"/>
                  </a:lnTo>
                  <a:lnTo>
                    <a:pt x="149" y="15"/>
                  </a:lnTo>
                  <a:lnTo>
                    <a:pt x="149" y="0"/>
                  </a:lnTo>
                  <a:lnTo>
                    <a:pt x="134" y="0"/>
                  </a:lnTo>
                  <a:lnTo>
                    <a:pt x="119" y="15"/>
                  </a:lnTo>
                  <a:lnTo>
                    <a:pt x="74" y="31"/>
                  </a:lnTo>
                  <a:lnTo>
                    <a:pt x="74" y="61"/>
                  </a:lnTo>
                  <a:lnTo>
                    <a:pt x="45" y="77"/>
                  </a:lnTo>
                  <a:lnTo>
                    <a:pt x="30" y="92"/>
                  </a:lnTo>
                  <a:lnTo>
                    <a:pt x="30" y="108"/>
                  </a:lnTo>
                  <a:lnTo>
                    <a:pt x="30" y="123"/>
                  </a:lnTo>
                  <a:lnTo>
                    <a:pt x="30" y="184"/>
                  </a:lnTo>
                  <a:lnTo>
                    <a:pt x="15" y="20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30" name="Freeform 55"/>
            <p:cNvSpPr>
              <a:spLocks/>
            </p:cNvSpPr>
            <p:nvPr/>
          </p:nvSpPr>
          <p:spPr bwMode="auto">
            <a:xfrm>
              <a:off x="538" y="1774"/>
              <a:ext cx="109" cy="87"/>
            </a:xfrm>
            <a:custGeom>
              <a:avLst/>
              <a:gdLst>
                <a:gd name="T0" fmla="*/ 7 w 255"/>
                <a:gd name="T1" fmla="*/ 1 h 231"/>
                <a:gd name="T2" fmla="*/ 6 w 255"/>
                <a:gd name="T3" fmla="*/ 1 h 231"/>
                <a:gd name="T4" fmla="*/ 6 w 255"/>
                <a:gd name="T5" fmla="*/ 1 h 231"/>
                <a:gd name="T6" fmla="*/ 4 w 255"/>
                <a:gd name="T7" fmla="*/ 1 h 231"/>
                <a:gd name="T8" fmla="*/ 3 w 255"/>
                <a:gd name="T9" fmla="*/ 1 h 231"/>
                <a:gd name="T10" fmla="*/ 3 w 255"/>
                <a:gd name="T11" fmla="*/ 0 h 231"/>
                <a:gd name="T12" fmla="*/ 3 w 255"/>
                <a:gd name="T13" fmla="*/ 0 h 231"/>
                <a:gd name="T14" fmla="*/ 3 w 255"/>
                <a:gd name="T15" fmla="*/ 0 h 231"/>
                <a:gd name="T16" fmla="*/ 1 w 255"/>
                <a:gd name="T17" fmla="*/ 1 h 231"/>
                <a:gd name="T18" fmla="*/ 1 w 255"/>
                <a:gd name="T19" fmla="*/ 1 h 231"/>
                <a:gd name="T20" fmla="*/ 1 w 255"/>
                <a:gd name="T21" fmla="*/ 2 h 231"/>
                <a:gd name="T22" fmla="*/ 1 w 255"/>
                <a:gd name="T23" fmla="*/ 1 h 231"/>
                <a:gd name="T24" fmla="*/ 1 w 255"/>
                <a:gd name="T25" fmla="*/ 1 h 231"/>
                <a:gd name="T26" fmla="*/ 1 w 255"/>
                <a:gd name="T27" fmla="*/ 1 h 231"/>
                <a:gd name="T28" fmla="*/ 1 w 255"/>
                <a:gd name="T29" fmla="*/ 0 h 231"/>
                <a:gd name="T30" fmla="*/ 0 w 255"/>
                <a:gd name="T31" fmla="*/ 1 h 231"/>
                <a:gd name="T32" fmla="*/ 0 w 255"/>
                <a:gd name="T33" fmla="*/ 2 h 231"/>
                <a:gd name="T34" fmla="*/ 0 w 255"/>
                <a:gd name="T35" fmla="*/ 2 h 231"/>
                <a:gd name="T36" fmla="*/ 0 w 255"/>
                <a:gd name="T37" fmla="*/ 2 h 231"/>
                <a:gd name="T38" fmla="*/ 3 w 255"/>
                <a:gd name="T39" fmla="*/ 3 h 231"/>
                <a:gd name="T40" fmla="*/ 3 w 255"/>
                <a:gd name="T41" fmla="*/ 3 h 231"/>
                <a:gd name="T42" fmla="*/ 3 w 255"/>
                <a:gd name="T43" fmla="*/ 4 h 231"/>
                <a:gd name="T44" fmla="*/ 4 w 255"/>
                <a:gd name="T45" fmla="*/ 5 h 231"/>
                <a:gd name="T46" fmla="*/ 4 w 255"/>
                <a:gd name="T47" fmla="*/ 5 h 231"/>
                <a:gd name="T48" fmla="*/ 6 w 255"/>
                <a:gd name="T49" fmla="*/ 5 h 231"/>
                <a:gd name="T50" fmla="*/ 6 w 255"/>
                <a:gd name="T51" fmla="*/ 4 h 231"/>
                <a:gd name="T52" fmla="*/ 5 w 255"/>
                <a:gd name="T53" fmla="*/ 4 h 231"/>
                <a:gd name="T54" fmla="*/ 6 w 255"/>
                <a:gd name="T55" fmla="*/ 3 h 231"/>
                <a:gd name="T56" fmla="*/ 6 w 255"/>
                <a:gd name="T57" fmla="*/ 4 h 231"/>
                <a:gd name="T58" fmla="*/ 8 w 255"/>
                <a:gd name="T59" fmla="*/ 3 h 231"/>
                <a:gd name="T60" fmla="*/ 8 w 255"/>
                <a:gd name="T61" fmla="*/ 3 h 231"/>
                <a:gd name="T62" fmla="*/ 8 w 255"/>
                <a:gd name="T63" fmla="*/ 3 h 231"/>
                <a:gd name="T64" fmla="*/ 8 w 255"/>
                <a:gd name="T65" fmla="*/ 2 h 231"/>
                <a:gd name="T66" fmla="*/ 8 w 255"/>
                <a:gd name="T67" fmla="*/ 2 h 231"/>
                <a:gd name="T68" fmla="*/ 9 w 255"/>
                <a:gd name="T69" fmla="*/ 2 h 231"/>
                <a:gd name="T70" fmla="*/ 7 w 255"/>
                <a:gd name="T71" fmla="*/ 1 h 231"/>
                <a:gd name="T72" fmla="*/ 6 w 255"/>
                <a:gd name="T73" fmla="*/ 1 h 231"/>
                <a:gd name="T74" fmla="*/ 7 w 255"/>
                <a:gd name="T75" fmla="*/ 1 h 23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55" h="231">
                  <a:moveTo>
                    <a:pt x="209" y="31"/>
                  </a:moveTo>
                  <a:lnTo>
                    <a:pt x="179" y="46"/>
                  </a:lnTo>
                  <a:lnTo>
                    <a:pt x="164" y="46"/>
                  </a:lnTo>
                  <a:lnTo>
                    <a:pt x="134" y="31"/>
                  </a:lnTo>
                  <a:lnTo>
                    <a:pt x="105" y="31"/>
                  </a:lnTo>
                  <a:lnTo>
                    <a:pt x="90" y="15"/>
                  </a:lnTo>
                  <a:lnTo>
                    <a:pt x="75" y="0"/>
                  </a:lnTo>
                  <a:lnTo>
                    <a:pt x="75" y="15"/>
                  </a:lnTo>
                  <a:lnTo>
                    <a:pt x="45" y="31"/>
                  </a:lnTo>
                  <a:lnTo>
                    <a:pt x="45" y="61"/>
                  </a:lnTo>
                  <a:lnTo>
                    <a:pt x="45" y="77"/>
                  </a:lnTo>
                  <a:lnTo>
                    <a:pt x="45" y="61"/>
                  </a:lnTo>
                  <a:lnTo>
                    <a:pt x="30" y="61"/>
                  </a:lnTo>
                  <a:lnTo>
                    <a:pt x="45" y="31"/>
                  </a:lnTo>
                  <a:lnTo>
                    <a:pt x="45" y="15"/>
                  </a:lnTo>
                  <a:lnTo>
                    <a:pt x="15" y="31"/>
                  </a:lnTo>
                  <a:lnTo>
                    <a:pt x="0" y="77"/>
                  </a:lnTo>
                  <a:lnTo>
                    <a:pt x="15" y="77"/>
                  </a:lnTo>
                  <a:lnTo>
                    <a:pt x="15" y="107"/>
                  </a:lnTo>
                  <a:lnTo>
                    <a:pt x="75" y="138"/>
                  </a:lnTo>
                  <a:lnTo>
                    <a:pt x="105" y="138"/>
                  </a:lnTo>
                  <a:lnTo>
                    <a:pt x="105" y="184"/>
                  </a:lnTo>
                  <a:lnTo>
                    <a:pt x="120" y="230"/>
                  </a:lnTo>
                  <a:lnTo>
                    <a:pt x="134" y="230"/>
                  </a:lnTo>
                  <a:lnTo>
                    <a:pt x="164" y="230"/>
                  </a:lnTo>
                  <a:lnTo>
                    <a:pt x="179" y="199"/>
                  </a:lnTo>
                  <a:lnTo>
                    <a:pt x="149" y="184"/>
                  </a:lnTo>
                  <a:lnTo>
                    <a:pt x="164" y="169"/>
                  </a:lnTo>
                  <a:lnTo>
                    <a:pt x="194" y="184"/>
                  </a:lnTo>
                  <a:lnTo>
                    <a:pt x="224" y="169"/>
                  </a:lnTo>
                  <a:lnTo>
                    <a:pt x="239" y="153"/>
                  </a:lnTo>
                  <a:lnTo>
                    <a:pt x="224" y="138"/>
                  </a:lnTo>
                  <a:lnTo>
                    <a:pt x="239" y="107"/>
                  </a:lnTo>
                  <a:lnTo>
                    <a:pt x="224" y="107"/>
                  </a:lnTo>
                  <a:lnTo>
                    <a:pt x="254" y="92"/>
                  </a:lnTo>
                  <a:lnTo>
                    <a:pt x="209" y="61"/>
                  </a:lnTo>
                  <a:lnTo>
                    <a:pt x="194" y="46"/>
                  </a:lnTo>
                  <a:lnTo>
                    <a:pt x="209" y="31"/>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31" name="Freeform 56"/>
            <p:cNvSpPr>
              <a:spLocks/>
            </p:cNvSpPr>
            <p:nvPr/>
          </p:nvSpPr>
          <p:spPr bwMode="auto">
            <a:xfrm>
              <a:off x="634" y="1809"/>
              <a:ext cx="39" cy="52"/>
            </a:xfrm>
            <a:custGeom>
              <a:avLst/>
              <a:gdLst>
                <a:gd name="T0" fmla="*/ 1 w 91"/>
                <a:gd name="T1" fmla="*/ 0 h 139"/>
                <a:gd name="T2" fmla="*/ 1 w 91"/>
                <a:gd name="T3" fmla="*/ 0 h 139"/>
                <a:gd name="T4" fmla="*/ 1 w 91"/>
                <a:gd name="T5" fmla="*/ 0 h 139"/>
                <a:gd name="T6" fmla="*/ 0 w 91"/>
                <a:gd name="T7" fmla="*/ 0 h 139"/>
                <a:gd name="T8" fmla="*/ 0 w 91"/>
                <a:gd name="T9" fmla="*/ 0 h 139"/>
                <a:gd name="T10" fmla="*/ 0 w 91"/>
                <a:gd name="T11" fmla="*/ 1 h 139"/>
                <a:gd name="T12" fmla="*/ 0 w 91"/>
                <a:gd name="T13" fmla="*/ 1 h 139"/>
                <a:gd name="T14" fmla="*/ 1 w 91"/>
                <a:gd name="T15" fmla="*/ 2 h 139"/>
                <a:gd name="T16" fmla="*/ 1 w 91"/>
                <a:gd name="T17" fmla="*/ 2 h 139"/>
                <a:gd name="T18" fmla="*/ 1 w 91"/>
                <a:gd name="T19" fmla="*/ 3 h 139"/>
                <a:gd name="T20" fmla="*/ 3 w 91"/>
                <a:gd name="T21" fmla="*/ 2 h 139"/>
                <a:gd name="T22" fmla="*/ 3 w 91"/>
                <a:gd name="T23" fmla="*/ 2 h 139"/>
                <a:gd name="T24" fmla="*/ 2 w 91"/>
                <a:gd name="T25" fmla="*/ 2 h 139"/>
                <a:gd name="T26" fmla="*/ 2 w 91"/>
                <a:gd name="T27" fmla="*/ 1 h 139"/>
                <a:gd name="T28" fmla="*/ 3 w 91"/>
                <a:gd name="T29" fmla="*/ 1 h 139"/>
                <a:gd name="T30" fmla="*/ 3 w 91"/>
                <a:gd name="T31" fmla="*/ 1 h 139"/>
                <a:gd name="T32" fmla="*/ 2 w 91"/>
                <a:gd name="T33" fmla="*/ 0 h 139"/>
                <a:gd name="T34" fmla="*/ 1 w 91"/>
                <a:gd name="T35" fmla="*/ 0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139">
                  <a:moveTo>
                    <a:pt x="45" y="15"/>
                  </a:moveTo>
                  <a:lnTo>
                    <a:pt x="45" y="0"/>
                  </a:lnTo>
                  <a:lnTo>
                    <a:pt x="30" y="0"/>
                  </a:lnTo>
                  <a:lnTo>
                    <a:pt x="0" y="15"/>
                  </a:lnTo>
                  <a:lnTo>
                    <a:pt x="15" y="15"/>
                  </a:lnTo>
                  <a:lnTo>
                    <a:pt x="0" y="46"/>
                  </a:lnTo>
                  <a:lnTo>
                    <a:pt x="15" y="61"/>
                  </a:lnTo>
                  <a:lnTo>
                    <a:pt x="30" y="107"/>
                  </a:lnTo>
                  <a:lnTo>
                    <a:pt x="30" y="123"/>
                  </a:lnTo>
                  <a:lnTo>
                    <a:pt x="45" y="138"/>
                  </a:lnTo>
                  <a:lnTo>
                    <a:pt x="75" y="123"/>
                  </a:lnTo>
                  <a:lnTo>
                    <a:pt x="90" y="123"/>
                  </a:lnTo>
                  <a:lnTo>
                    <a:pt x="60" y="107"/>
                  </a:lnTo>
                  <a:lnTo>
                    <a:pt x="60" y="77"/>
                  </a:lnTo>
                  <a:lnTo>
                    <a:pt x="75" y="61"/>
                  </a:lnTo>
                  <a:lnTo>
                    <a:pt x="75" y="46"/>
                  </a:lnTo>
                  <a:lnTo>
                    <a:pt x="60" y="31"/>
                  </a:lnTo>
                  <a:lnTo>
                    <a:pt x="45" y="15"/>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32" name="Freeform 57"/>
            <p:cNvSpPr>
              <a:spLocks/>
            </p:cNvSpPr>
            <p:nvPr/>
          </p:nvSpPr>
          <p:spPr bwMode="auto">
            <a:xfrm>
              <a:off x="460" y="1797"/>
              <a:ext cx="52" cy="18"/>
            </a:xfrm>
            <a:custGeom>
              <a:avLst/>
              <a:gdLst>
                <a:gd name="T0" fmla="*/ 2 w 120"/>
                <a:gd name="T1" fmla="*/ 0 h 47"/>
                <a:gd name="T2" fmla="*/ 3 w 120"/>
                <a:gd name="T3" fmla="*/ 1 h 47"/>
                <a:gd name="T4" fmla="*/ 4 w 120"/>
                <a:gd name="T5" fmla="*/ 1 h 47"/>
                <a:gd name="T6" fmla="*/ 4 w 120"/>
                <a:gd name="T7" fmla="*/ 1 h 47"/>
                <a:gd name="T8" fmla="*/ 4 w 120"/>
                <a:gd name="T9" fmla="*/ 0 h 47"/>
                <a:gd name="T10" fmla="*/ 3 w 120"/>
                <a:gd name="T11" fmla="*/ 0 h 47"/>
                <a:gd name="T12" fmla="*/ 3 w 120"/>
                <a:gd name="T13" fmla="*/ 0 h 47"/>
                <a:gd name="T14" fmla="*/ 2 w 120"/>
                <a:gd name="T15" fmla="*/ 0 h 47"/>
                <a:gd name="T16" fmla="*/ 1 w 120"/>
                <a:gd name="T17" fmla="*/ 0 h 47"/>
                <a:gd name="T18" fmla="*/ 0 w 120"/>
                <a:gd name="T19" fmla="*/ 0 h 47"/>
                <a:gd name="T20" fmla="*/ 0 w 120"/>
                <a:gd name="T21" fmla="*/ 1 h 47"/>
                <a:gd name="T22" fmla="*/ 1 w 120"/>
                <a:gd name="T23" fmla="*/ 1 h 47"/>
                <a:gd name="T24" fmla="*/ 2 w 120"/>
                <a:gd name="T25" fmla="*/ 1 h 47"/>
                <a:gd name="T26" fmla="*/ 2 w 120"/>
                <a:gd name="T27" fmla="*/ 1 h 47"/>
                <a:gd name="T28" fmla="*/ 2 w 120"/>
                <a:gd name="T29" fmla="*/ 1 h 47"/>
                <a:gd name="T30" fmla="*/ 2 w 120"/>
                <a:gd name="T31" fmla="*/ 0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0" h="47">
                  <a:moveTo>
                    <a:pt x="60" y="15"/>
                  </a:moveTo>
                  <a:lnTo>
                    <a:pt x="89" y="31"/>
                  </a:lnTo>
                  <a:lnTo>
                    <a:pt x="104" y="46"/>
                  </a:lnTo>
                  <a:lnTo>
                    <a:pt x="104" y="31"/>
                  </a:lnTo>
                  <a:lnTo>
                    <a:pt x="119" y="15"/>
                  </a:lnTo>
                  <a:lnTo>
                    <a:pt x="89" y="0"/>
                  </a:lnTo>
                  <a:lnTo>
                    <a:pt x="74" y="0"/>
                  </a:lnTo>
                  <a:lnTo>
                    <a:pt x="60" y="0"/>
                  </a:lnTo>
                  <a:lnTo>
                    <a:pt x="30" y="0"/>
                  </a:lnTo>
                  <a:lnTo>
                    <a:pt x="15" y="0"/>
                  </a:lnTo>
                  <a:lnTo>
                    <a:pt x="0" y="31"/>
                  </a:lnTo>
                  <a:lnTo>
                    <a:pt x="30" y="31"/>
                  </a:lnTo>
                  <a:lnTo>
                    <a:pt x="45" y="46"/>
                  </a:lnTo>
                  <a:lnTo>
                    <a:pt x="60" y="46"/>
                  </a:lnTo>
                  <a:lnTo>
                    <a:pt x="60" y="31"/>
                  </a:lnTo>
                  <a:lnTo>
                    <a:pt x="6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33" name="Line 58"/>
            <p:cNvSpPr>
              <a:spLocks noChangeShapeType="1"/>
            </p:cNvSpPr>
            <p:nvPr/>
          </p:nvSpPr>
          <p:spPr bwMode="auto">
            <a:xfrm>
              <a:off x="634" y="1774"/>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434" name="Line 59"/>
            <p:cNvSpPr>
              <a:spLocks noChangeShapeType="1"/>
            </p:cNvSpPr>
            <p:nvPr/>
          </p:nvSpPr>
          <p:spPr bwMode="auto">
            <a:xfrm>
              <a:off x="621" y="1744"/>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435" name="Line 60"/>
            <p:cNvSpPr>
              <a:spLocks noChangeShapeType="1"/>
            </p:cNvSpPr>
            <p:nvPr/>
          </p:nvSpPr>
          <p:spPr bwMode="auto">
            <a:xfrm>
              <a:off x="621" y="1727"/>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436" name="Freeform 61"/>
            <p:cNvSpPr>
              <a:spLocks/>
            </p:cNvSpPr>
            <p:nvPr/>
          </p:nvSpPr>
          <p:spPr bwMode="auto">
            <a:xfrm>
              <a:off x="558" y="1721"/>
              <a:ext cx="25" cy="18"/>
            </a:xfrm>
            <a:custGeom>
              <a:avLst/>
              <a:gdLst>
                <a:gd name="T0" fmla="*/ 0 w 60"/>
                <a:gd name="T1" fmla="*/ 0 h 47"/>
                <a:gd name="T2" fmla="*/ 0 w 60"/>
                <a:gd name="T3" fmla="*/ 0 h 47"/>
                <a:gd name="T4" fmla="*/ 0 w 60"/>
                <a:gd name="T5" fmla="*/ 1 h 47"/>
                <a:gd name="T6" fmla="*/ 0 w 60"/>
                <a:gd name="T7" fmla="*/ 1 h 47"/>
                <a:gd name="T8" fmla="*/ 1 w 60"/>
                <a:gd name="T9" fmla="*/ 1 h 47"/>
                <a:gd name="T10" fmla="*/ 2 w 60"/>
                <a:gd name="T11" fmla="*/ 0 h 47"/>
                <a:gd name="T12" fmla="*/ 1 w 60"/>
                <a:gd name="T13" fmla="*/ 0 h 47"/>
                <a:gd name="T14" fmla="*/ 1 w 60"/>
                <a:gd name="T15" fmla="*/ 0 h 47"/>
                <a:gd name="T16" fmla="*/ 1 w 60"/>
                <a:gd name="T17" fmla="*/ 0 h 47"/>
                <a:gd name="T18" fmla="*/ 0 w 60"/>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47">
                  <a:moveTo>
                    <a:pt x="0" y="0"/>
                  </a:moveTo>
                  <a:lnTo>
                    <a:pt x="0" y="15"/>
                  </a:lnTo>
                  <a:lnTo>
                    <a:pt x="0" y="46"/>
                  </a:lnTo>
                  <a:lnTo>
                    <a:pt x="15" y="31"/>
                  </a:lnTo>
                  <a:lnTo>
                    <a:pt x="44" y="31"/>
                  </a:lnTo>
                  <a:lnTo>
                    <a:pt x="59" y="15"/>
                  </a:lnTo>
                  <a:lnTo>
                    <a:pt x="44" y="15"/>
                  </a:lnTo>
                  <a:lnTo>
                    <a:pt x="44" y="0"/>
                  </a:lnTo>
                  <a:lnTo>
                    <a:pt x="30" y="0"/>
                  </a:lnTo>
                  <a:lnTo>
                    <a:pt x="0"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37" name="Freeform 62"/>
            <p:cNvSpPr>
              <a:spLocks/>
            </p:cNvSpPr>
            <p:nvPr/>
          </p:nvSpPr>
          <p:spPr bwMode="auto">
            <a:xfrm>
              <a:off x="634" y="1785"/>
              <a:ext cx="7" cy="7"/>
            </a:xfrm>
            <a:custGeom>
              <a:avLst/>
              <a:gdLst>
                <a:gd name="T0" fmla="*/ 0 w 17"/>
                <a:gd name="T1" fmla="*/ 0 h 17"/>
                <a:gd name="T2" fmla="*/ 0 w 17"/>
                <a:gd name="T3" fmla="*/ 0 h 17"/>
                <a:gd name="T4" fmla="*/ 0 w 17"/>
                <a:gd name="T5" fmla="*/ 0 h 17"/>
                <a:gd name="T6" fmla="*/ 0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16"/>
                  </a:moveTo>
                  <a:lnTo>
                    <a:pt x="16" y="16"/>
                  </a:lnTo>
                  <a:lnTo>
                    <a:pt x="16" y="0"/>
                  </a:lnTo>
                  <a:lnTo>
                    <a:pt x="0"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38" name="Freeform 63"/>
            <p:cNvSpPr>
              <a:spLocks/>
            </p:cNvSpPr>
            <p:nvPr/>
          </p:nvSpPr>
          <p:spPr bwMode="auto">
            <a:xfrm>
              <a:off x="589" y="1727"/>
              <a:ext cx="8" cy="6"/>
            </a:xfrm>
            <a:custGeom>
              <a:avLst/>
              <a:gdLst>
                <a:gd name="T0" fmla="*/ 1 w 17"/>
                <a:gd name="T1" fmla="*/ 0 h 17"/>
                <a:gd name="T2" fmla="*/ 0 w 17"/>
                <a:gd name="T3" fmla="*/ 0 h 17"/>
                <a:gd name="T4" fmla="*/ 0 w 17"/>
                <a:gd name="T5" fmla="*/ 0 h 17"/>
                <a:gd name="T6" fmla="*/ 1 w 17"/>
                <a:gd name="T7" fmla="*/ 0 h 17"/>
                <a:gd name="T8" fmla="*/ 1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16" y="0"/>
                  </a:moveTo>
                  <a:lnTo>
                    <a:pt x="0" y="0"/>
                  </a:lnTo>
                  <a:lnTo>
                    <a:pt x="0" y="16"/>
                  </a:lnTo>
                  <a:lnTo>
                    <a:pt x="16" y="16"/>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39" name="Freeform 64"/>
            <p:cNvSpPr>
              <a:spLocks/>
            </p:cNvSpPr>
            <p:nvPr/>
          </p:nvSpPr>
          <p:spPr bwMode="auto">
            <a:xfrm>
              <a:off x="634" y="1756"/>
              <a:ext cx="7"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0" y="16"/>
                  </a:lnTo>
                  <a:lnTo>
                    <a:pt x="0" y="0"/>
                  </a:lnTo>
                </a:path>
              </a:pathLst>
            </a:custGeom>
            <a:solidFill>
              <a:srgbClr val="00FF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40" name="Line 65"/>
            <p:cNvSpPr>
              <a:spLocks noChangeShapeType="1"/>
            </p:cNvSpPr>
            <p:nvPr/>
          </p:nvSpPr>
          <p:spPr bwMode="auto">
            <a:xfrm flipH="1">
              <a:off x="628" y="1756"/>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441" name="Line 66"/>
            <p:cNvSpPr>
              <a:spLocks noChangeShapeType="1"/>
            </p:cNvSpPr>
            <p:nvPr/>
          </p:nvSpPr>
          <p:spPr bwMode="auto">
            <a:xfrm>
              <a:off x="628" y="1751"/>
              <a:ext cx="0" cy="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442" name="Freeform 67"/>
            <p:cNvSpPr>
              <a:spLocks/>
            </p:cNvSpPr>
            <p:nvPr/>
          </p:nvSpPr>
          <p:spPr bwMode="auto">
            <a:xfrm>
              <a:off x="615" y="1733"/>
              <a:ext cx="7"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0" y="16"/>
                  </a:lnTo>
                  <a:lnTo>
                    <a:pt x="0" y="0"/>
                  </a:lnTo>
                </a:path>
              </a:pathLst>
            </a:custGeom>
            <a:solidFill>
              <a:srgbClr val="00FF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43" name="Line 68"/>
            <p:cNvSpPr>
              <a:spLocks noChangeShapeType="1"/>
            </p:cNvSpPr>
            <p:nvPr/>
          </p:nvSpPr>
          <p:spPr bwMode="auto">
            <a:xfrm>
              <a:off x="602" y="1733"/>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444" name="Freeform 69"/>
            <p:cNvSpPr>
              <a:spLocks/>
            </p:cNvSpPr>
            <p:nvPr/>
          </p:nvSpPr>
          <p:spPr bwMode="auto">
            <a:xfrm>
              <a:off x="621" y="1739"/>
              <a:ext cx="7"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0"/>
                  </a:lnTo>
                  <a:lnTo>
                    <a:pt x="0" y="16"/>
                  </a:lnTo>
                  <a:lnTo>
                    <a:pt x="0" y="0"/>
                  </a:lnTo>
                </a:path>
              </a:pathLst>
            </a:custGeom>
            <a:solidFill>
              <a:srgbClr val="00FF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45" name="Freeform 70"/>
            <p:cNvSpPr>
              <a:spLocks/>
            </p:cNvSpPr>
            <p:nvPr/>
          </p:nvSpPr>
          <p:spPr bwMode="auto">
            <a:xfrm>
              <a:off x="691" y="2285"/>
              <a:ext cx="13" cy="12"/>
            </a:xfrm>
            <a:custGeom>
              <a:avLst/>
              <a:gdLst>
                <a:gd name="T0" fmla="*/ 0 w 31"/>
                <a:gd name="T1" fmla="*/ 0 h 32"/>
                <a:gd name="T2" fmla="*/ 0 w 31"/>
                <a:gd name="T3" fmla="*/ 1 h 32"/>
                <a:gd name="T4" fmla="*/ 0 w 31"/>
                <a:gd name="T5" fmla="*/ 1 h 32"/>
                <a:gd name="T6" fmla="*/ 0 w 31"/>
                <a:gd name="T7" fmla="*/ 0 h 32"/>
                <a:gd name="T8" fmla="*/ 1 w 31"/>
                <a:gd name="T9" fmla="*/ 0 h 32"/>
                <a:gd name="T10" fmla="*/ 0 w 31"/>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32">
                  <a:moveTo>
                    <a:pt x="15" y="0"/>
                  </a:moveTo>
                  <a:lnTo>
                    <a:pt x="0" y="31"/>
                  </a:lnTo>
                  <a:lnTo>
                    <a:pt x="15" y="31"/>
                  </a:lnTo>
                  <a:lnTo>
                    <a:pt x="15" y="16"/>
                  </a:lnTo>
                  <a:lnTo>
                    <a:pt x="30" y="16"/>
                  </a:lnTo>
                  <a:lnTo>
                    <a:pt x="15"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46" name="Freeform 71"/>
            <p:cNvSpPr>
              <a:spLocks/>
            </p:cNvSpPr>
            <p:nvPr/>
          </p:nvSpPr>
          <p:spPr bwMode="auto">
            <a:xfrm>
              <a:off x="685" y="2285"/>
              <a:ext cx="8" cy="6"/>
            </a:xfrm>
            <a:custGeom>
              <a:avLst/>
              <a:gdLst>
                <a:gd name="T0" fmla="*/ 1 w 18"/>
                <a:gd name="T1" fmla="*/ 0 h 17"/>
                <a:gd name="T2" fmla="*/ 0 w 18"/>
                <a:gd name="T3" fmla="*/ 0 h 17"/>
                <a:gd name="T4" fmla="*/ 0 w 18"/>
                <a:gd name="T5" fmla="*/ 0 h 17"/>
                <a:gd name="T6" fmla="*/ 1 w 18"/>
                <a:gd name="T7" fmla="*/ 0 h 17"/>
                <a:gd name="T8" fmla="*/ 1 w 18"/>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7">
                  <a:moveTo>
                    <a:pt x="17" y="0"/>
                  </a:moveTo>
                  <a:lnTo>
                    <a:pt x="0" y="0"/>
                  </a:lnTo>
                  <a:lnTo>
                    <a:pt x="0" y="16"/>
                  </a:lnTo>
                  <a:lnTo>
                    <a:pt x="17" y="16"/>
                  </a:lnTo>
                  <a:lnTo>
                    <a:pt x="17"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47" name="Freeform 72"/>
            <p:cNvSpPr>
              <a:spLocks/>
            </p:cNvSpPr>
            <p:nvPr/>
          </p:nvSpPr>
          <p:spPr bwMode="auto">
            <a:xfrm>
              <a:off x="582" y="2035"/>
              <a:ext cx="122" cy="268"/>
            </a:xfrm>
            <a:custGeom>
              <a:avLst/>
              <a:gdLst>
                <a:gd name="T0" fmla="*/ 5 w 284"/>
                <a:gd name="T1" fmla="*/ 12 h 708"/>
                <a:gd name="T2" fmla="*/ 4 w 284"/>
                <a:gd name="T3" fmla="*/ 12 h 708"/>
                <a:gd name="T4" fmla="*/ 3 w 284"/>
                <a:gd name="T5" fmla="*/ 11 h 708"/>
                <a:gd name="T6" fmla="*/ 4 w 284"/>
                <a:gd name="T7" fmla="*/ 11 h 708"/>
                <a:gd name="T8" fmla="*/ 5 w 284"/>
                <a:gd name="T9" fmla="*/ 11 h 708"/>
                <a:gd name="T10" fmla="*/ 5 w 284"/>
                <a:gd name="T11" fmla="*/ 10 h 708"/>
                <a:gd name="T12" fmla="*/ 6 w 284"/>
                <a:gd name="T13" fmla="*/ 10 h 708"/>
                <a:gd name="T14" fmla="*/ 6 w 284"/>
                <a:gd name="T15" fmla="*/ 9 h 708"/>
                <a:gd name="T16" fmla="*/ 5 w 284"/>
                <a:gd name="T17" fmla="*/ 9 h 708"/>
                <a:gd name="T18" fmla="*/ 5 w 284"/>
                <a:gd name="T19" fmla="*/ 9 h 708"/>
                <a:gd name="T20" fmla="*/ 5 w 284"/>
                <a:gd name="T21" fmla="*/ 9 h 708"/>
                <a:gd name="T22" fmla="*/ 5 w 284"/>
                <a:gd name="T23" fmla="*/ 9 h 708"/>
                <a:gd name="T24" fmla="*/ 6 w 284"/>
                <a:gd name="T25" fmla="*/ 8 h 708"/>
                <a:gd name="T26" fmla="*/ 6 w 284"/>
                <a:gd name="T27" fmla="*/ 8 h 708"/>
                <a:gd name="T28" fmla="*/ 6 w 284"/>
                <a:gd name="T29" fmla="*/ 8 h 708"/>
                <a:gd name="T30" fmla="*/ 7 w 284"/>
                <a:gd name="T31" fmla="*/ 8 h 708"/>
                <a:gd name="T32" fmla="*/ 8 w 284"/>
                <a:gd name="T33" fmla="*/ 8 h 708"/>
                <a:gd name="T34" fmla="*/ 9 w 284"/>
                <a:gd name="T35" fmla="*/ 6 h 708"/>
                <a:gd name="T36" fmla="*/ 8 w 284"/>
                <a:gd name="T37" fmla="*/ 6 h 708"/>
                <a:gd name="T38" fmla="*/ 8 w 284"/>
                <a:gd name="T39" fmla="*/ 6 h 708"/>
                <a:gd name="T40" fmla="*/ 8 w 284"/>
                <a:gd name="T41" fmla="*/ 6 h 708"/>
                <a:gd name="T42" fmla="*/ 8 w 284"/>
                <a:gd name="T43" fmla="*/ 4 h 708"/>
                <a:gd name="T44" fmla="*/ 8 w 284"/>
                <a:gd name="T45" fmla="*/ 3 h 708"/>
                <a:gd name="T46" fmla="*/ 9 w 284"/>
                <a:gd name="T47" fmla="*/ 2 h 708"/>
                <a:gd name="T48" fmla="*/ 9 w 284"/>
                <a:gd name="T49" fmla="*/ 2 h 708"/>
                <a:gd name="T50" fmla="*/ 9 w 284"/>
                <a:gd name="T51" fmla="*/ 2 h 708"/>
                <a:gd name="T52" fmla="*/ 9 w 284"/>
                <a:gd name="T53" fmla="*/ 2 h 708"/>
                <a:gd name="T54" fmla="*/ 8 w 284"/>
                <a:gd name="T55" fmla="*/ 3 h 708"/>
                <a:gd name="T56" fmla="*/ 6 w 284"/>
                <a:gd name="T57" fmla="*/ 2 h 708"/>
                <a:gd name="T58" fmla="*/ 7 w 284"/>
                <a:gd name="T59" fmla="*/ 2 h 708"/>
                <a:gd name="T60" fmla="*/ 5 w 284"/>
                <a:gd name="T61" fmla="*/ 1 h 708"/>
                <a:gd name="T62" fmla="*/ 5 w 284"/>
                <a:gd name="T63" fmla="*/ 1 h 708"/>
                <a:gd name="T64" fmla="*/ 3 w 284"/>
                <a:gd name="T65" fmla="*/ 0 h 708"/>
                <a:gd name="T66" fmla="*/ 3 w 284"/>
                <a:gd name="T67" fmla="*/ 1 h 708"/>
                <a:gd name="T68" fmla="*/ 3 w 284"/>
                <a:gd name="T69" fmla="*/ 0 h 708"/>
                <a:gd name="T70" fmla="*/ 2 w 284"/>
                <a:gd name="T71" fmla="*/ 0 h 708"/>
                <a:gd name="T72" fmla="*/ 1 w 284"/>
                <a:gd name="T73" fmla="*/ 0 h 708"/>
                <a:gd name="T74" fmla="*/ 1 w 284"/>
                <a:gd name="T75" fmla="*/ 1 h 708"/>
                <a:gd name="T76" fmla="*/ 1 w 284"/>
                <a:gd name="T77" fmla="*/ 1 h 708"/>
                <a:gd name="T78" fmla="*/ 0 w 284"/>
                <a:gd name="T79" fmla="*/ 2 h 708"/>
                <a:gd name="T80" fmla="*/ 1 w 284"/>
                <a:gd name="T81" fmla="*/ 2 h 708"/>
                <a:gd name="T82" fmla="*/ 0 w 284"/>
                <a:gd name="T83" fmla="*/ 3 h 708"/>
                <a:gd name="T84" fmla="*/ 0 w 284"/>
                <a:gd name="T85" fmla="*/ 4 h 708"/>
                <a:gd name="T86" fmla="*/ 0 w 284"/>
                <a:gd name="T87" fmla="*/ 5 h 708"/>
                <a:gd name="T88" fmla="*/ 0 w 284"/>
                <a:gd name="T89" fmla="*/ 6 h 708"/>
                <a:gd name="T90" fmla="*/ 0 w 284"/>
                <a:gd name="T91" fmla="*/ 6 h 708"/>
                <a:gd name="T92" fmla="*/ 0 w 284"/>
                <a:gd name="T93" fmla="*/ 6 h 708"/>
                <a:gd name="T94" fmla="*/ 0 w 284"/>
                <a:gd name="T95" fmla="*/ 8 h 708"/>
                <a:gd name="T96" fmla="*/ 0 w 284"/>
                <a:gd name="T97" fmla="*/ 8 h 708"/>
                <a:gd name="T98" fmla="*/ 1 w 284"/>
                <a:gd name="T99" fmla="*/ 11 h 708"/>
                <a:gd name="T100" fmla="*/ 1 w 284"/>
                <a:gd name="T101" fmla="*/ 11 h 708"/>
                <a:gd name="T102" fmla="*/ 1 w 284"/>
                <a:gd name="T103" fmla="*/ 11 h 708"/>
                <a:gd name="T104" fmla="*/ 1 w 284"/>
                <a:gd name="T105" fmla="*/ 14 h 708"/>
                <a:gd name="T106" fmla="*/ 2 w 284"/>
                <a:gd name="T107" fmla="*/ 14 h 708"/>
                <a:gd name="T108" fmla="*/ 3 w 284"/>
                <a:gd name="T109" fmla="*/ 14 h 708"/>
                <a:gd name="T110" fmla="*/ 4 w 284"/>
                <a:gd name="T111" fmla="*/ 14 h 708"/>
                <a:gd name="T112" fmla="*/ 4 w 284"/>
                <a:gd name="T113" fmla="*/ 14 h 708"/>
                <a:gd name="T114" fmla="*/ 3 w 284"/>
                <a:gd name="T115" fmla="*/ 14 h 708"/>
                <a:gd name="T116" fmla="*/ 4 w 284"/>
                <a:gd name="T117" fmla="*/ 13 h 708"/>
                <a:gd name="T118" fmla="*/ 4 w 284"/>
                <a:gd name="T119" fmla="*/ 13 h 708"/>
                <a:gd name="T120" fmla="*/ 5 w 284"/>
                <a:gd name="T121" fmla="*/ 12 h 708"/>
                <a:gd name="T122" fmla="*/ 5 w 284"/>
                <a:gd name="T123" fmla="*/ 12 h 70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4" h="708">
                  <a:moveTo>
                    <a:pt x="134" y="569"/>
                  </a:moveTo>
                  <a:lnTo>
                    <a:pt x="119" y="569"/>
                  </a:lnTo>
                  <a:lnTo>
                    <a:pt x="104" y="538"/>
                  </a:lnTo>
                  <a:lnTo>
                    <a:pt x="119" y="523"/>
                  </a:lnTo>
                  <a:lnTo>
                    <a:pt x="134" y="523"/>
                  </a:lnTo>
                  <a:lnTo>
                    <a:pt x="134" y="476"/>
                  </a:lnTo>
                  <a:lnTo>
                    <a:pt x="164" y="476"/>
                  </a:lnTo>
                  <a:lnTo>
                    <a:pt x="164" y="461"/>
                  </a:lnTo>
                  <a:lnTo>
                    <a:pt x="134" y="461"/>
                  </a:lnTo>
                  <a:lnTo>
                    <a:pt x="134" y="446"/>
                  </a:lnTo>
                  <a:lnTo>
                    <a:pt x="134" y="430"/>
                  </a:lnTo>
                  <a:lnTo>
                    <a:pt x="149" y="430"/>
                  </a:lnTo>
                  <a:lnTo>
                    <a:pt x="164" y="415"/>
                  </a:lnTo>
                  <a:lnTo>
                    <a:pt x="164" y="400"/>
                  </a:lnTo>
                  <a:lnTo>
                    <a:pt x="164" y="384"/>
                  </a:lnTo>
                  <a:lnTo>
                    <a:pt x="209" y="384"/>
                  </a:lnTo>
                  <a:lnTo>
                    <a:pt x="238" y="369"/>
                  </a:lnTo>
                  <a:lnTo>
                    <a:pt x="253" y="323"/>
                  </a:lnTo>
                  <a:lnTo>
                    <a:pt x="238" y="307"/>
                  </a:lnTo>
                  <a:lnTo>
                    <a:pt x="238" y="292"/>
                  </a:lnTo>
                  <a:lnTo>
                    <a:pt x="223" y="277"/>
                  </a:lnTo>
                  <a:lnTo>
                    <a:pt x="223" y="184"/>
                  </a:lnTo>
                  <a:lnTo>
                    <a:pt x="223" y="169"/>
                  </a:lnTo>
                  <a:lnTo>
                    <a:pt x="283" y="108"/>
                  </a:lnTo>
                  <a:lnTo>
                    <a:pt x="268" y="92"/>
                  </a:lnTo>
                  <a:lnTo>
                    <a:pt x="253" y="77"/>
                  </a:lnTo>
                  <a:lnTo>
                    <a:pt x="253" y="108"/>
                  </a:lnTo>
                  <a:lnTo>
                    <a:pt x="223" y="123"/>
                  </a:lnTo>
                  <a:lnTo>
                    <a:pt x="194" y="108"/>
                  </a:lnTo>
                  <a:lnTo>
                    <a:pt x="209" y="77"/>
                  </a:lnTo>
                  <a:lnTo>
                    <a:pt x="149" y="31"/>
                  </a:lnTo>
                  <a:lnTo>
                    <a:pt x="134" y="46"/>
                  </a:lnTo>
                  <a:lnTo>
                    <a:pt x="104" y="15"/>
                  </a:lnTo>
                  <a:lnTo>
                    <a:pt x="74" y="31"/>
                  </a:lnTo>
                  <a:lnTo>
                    <a:pt x="74" y="15"/>
                  </a:lnTo>
                  <a:lnTo>
                    <a:pt x="60" y="15"/>
                  </a:lnTo>
                  <a:lnTo>
                    <a:pt x="45" y="0"/>
                  </a:lnTo>
                  <a:lnTo>
                    <a:pt x="30" y="46"/>
                  </a:lnTo>
                  <a:lnTo>
                    <a:pt x="30" y="61"/>
                  </a:lnTo>
                  <a:lnTo>
                    <a:pt x="15" y="77"/>
                  </a:lnTo>
                  <a:lnTo>
                    <a:pt x="30" y="108"/>
                  </a:lnTo>
                  <a:lnTo>
                    <a:pt x="15" y="138"/>
                  </a:lnTo>
                  <a:lnTo>
                    <a:pt x="0" y="184"/>
                  </a:lnTo>
                  <a:lnTo>
                    <a:pt x="0" y="215"/>
                  </a:lnTo>
                  <a:lnTo>
                    <a:pt x="15" y="277"/>
                  </a:lnTo>
                  <a:lnTo>
                    <a:pt x="15" y="323"/>
                  </a:lnTo>
                  <a:lnTo>
                    <a:pt x="0" y="323"/>
                  </a:lnTo>
                  <a:lnTo>
                    <a:pt x="15" y="384"/>
                  </a:lnTo>
                  <a:lnTo>
                    <a:pt x="0" y="400"/>
                  </a:lnTo>
                  <a:lnTo>
                    <a:pt x="30" y="523"/>
                  </a:lnTo>
                  <a:lnTo>
                    <a:pt x="30" y="538"/>
                  </a:lnTo>
                  <a:lnTo>
                    <a:pt x="45" y="553"/>
                  </a:lnTo>
                  <a:lnTo>
                    <a:pt x="45" y="676"/>
                  </a:lnTo>
                  <a:lnTo>
                    <a:pt x="60" y="676"/>
                  </a:lnTo>
                  <a:lnTo>
                    <a:pt x="74" y="707"/>
                  </a:lnTo>
                  <a:lnTo>
                    <a:pt x="119" y="707"/>
                  </a:lnTo>
                  <a:lnTo>
                    <a:pt x="119" y="692"/>
                  </a:lnTo>
                  <a:lnTo>
                    <a:pt x="104" y="676"/>
                  </a:lnTo>
                  <a:lnTo>
                    <a:pt x="119" y="646"/>
                  </a:lnTo>
                  <a:lnTo>
                    <a:pt x="119" y="630"/>
                  </a:lnTo>
                  <a:lnTo>
                    <a:pt x="149" y="599"/>
                  </a:lnTo>
                  <a:lnTo>
                    <a:pt x="134" y="56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48" name="Freeform 73"/>
            <p:cNvSpPr>
              <a:spLocks/>
            </p:cNvSpPr>
            <p:nvPr/>
          </p:nvSpPr>
          <p:spPr bwMode="auto">
            <a:xfrm>
              <a:off x="641" y="2314"/>
              <a:ext cx="25" cy="18"/>
            </a:xfrm>
            <a:custGeom>
              <a:avLst/>
              <a:gdLst>
                <a:gd name="T0" fmla="*/ 0 w 61"/>
                <a:gd name="T1" fmla="*/ 0 h 47"/>
                <a:gd name="T2" fmla="*/ 0 w 61"/>
                <a:gd name="T3" fmla="*/ 1 h 47"/>
                <a:gd name="T4" fmla="*/ 1 w 61"/>
                <a:gd name="T5" fmla="*/ 1 h 47"/>
                <a:gd name="T6" fmla="*/ 2 w 61"/>
                <a:gd name="T7" fmla="*/ 1 h 47"/>
                <a:gd name="T8" fmla="*/ 1 w 61"/>
                <a:gd name="T9" fmla="*/ 1 h 47"/>
                <a:gd name="T10" fmla="*/ 0 w 61"/>
                <a:gd name="T11" fmla="*/ 0 h 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 h="47">
                  <a:moveTo>
                    <a:pt x="0" y="0"/>
                  </a:moveTo>
                  <a:lnTo>
                    <a:pt x="0" y="46"/>
                  </a:lnTo>
                  <a:lnTo>
                    <a:pt x="30" y="46"/>
                  </a:lnTo>
                  <a:lnTo>
                    <a:pt x="60" y="31"/>
                  </a:lnTo>
                  <a:lnTo>
                    <a:pt x="30" y="31"/>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49" name="Freeform 74"/>
            <p:cNvSpPr>
              <a:spLocks/>
            </p:cNvSpPr>
            <p:nvPr/>
          </p:nvSpPr>
          <p:spPr bwMode="auto">
            <a:xfrm>
              <a:off x="679" y="2099"/>
              <a:ext cx="33" cy="41"/>
            </a:xfrm>
            <a:custGeom>
              <a:avLst/>
              <a:gdLst>
                <a:gd name="T0" fmla="*/ 3 w 75"/>
                <a:gd name="T1" fmla="*/ 2 h 109"/>
                <a:gd name="T2" fmla="*/ 2 w 75"/>
                <a:gd name="T3" fmla="*/ 1 h 109"/>
                <a:gd name="T4" fmla="*/ 1 w 75"/>
                <a:gd name="T5" fmla="*/ 0 h 109"/>
                <a:gd name="T6" fmla="*/ 0 w 75"/>
                <a:gd name="T7" fmla="*/ 0 h 109"/>
                <a:gd name="T8" fmla="*/ 0 w 75"/>
                <a:gd name="T9" fmla="*/ 0 h 109"/>
                <a:gd name="T10" fmla="*/ 0 w 75"/>
                <a:gd name="T11" fmla="*/ 2 h 109"/>
                <a:gd name="T12" fmla="*/ 2 w 75"/>
                <a:gd name="T13" fmla="*/ 2 h 109"/>
                <a:gd name="T14" fmla="*/ 3 w 75"/>
                <a:gd name="T15" fmla="*/ 2 h 109"/>
                <a:gd name="T16" fmla="*/ 3 w 75"/>
                <a:gd name="T17" fmla="*/ 2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5" h="109">
                  <a:moveTo>
                    <a:pt x="74" y="77"/>
                  </a:moveTo>
                  <a:lnTo>
                    <a:pt x="59" y="62"/>
                  </a:lnTo>
                  <a:lnTo>
                    <a:pt x="30" y="15"/>
                  </a:lnTo>
                  <a:lnTo>
                    <a:pt x="0" y="0"/>
                  </a:lnTo>
                  <a:lnTo>
                    <a:pt x="0" y="15"/>
                  </a:lnTo>
                  <a:lnTo>
                    <a:pt x="0" y="108"/>
                  </a:lnTo>
                  <a:lnTo>
                    <a:pt x="44" y="108"/>
                  </a:lnTo>
                  <a:lnTo>
                    <a:pt x="74" y="108"/>
                  </a:lnTo>
                  <a:lnTo>
                    <a:pt x="74"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50" name="Freeform 75"/>
            <p:cNvSpPr>
              <a:spLocks/>
            </p:cNvSpPr>
            <p:nvPr/>
          </p:nvSpPr>
          <p:spPr bwMode="auto">
            <a:xfrm>
              <a:off x="628" y="2017"/>
              <a:ext cx="71" cy="65"/>
            </a:xfrm>
            <a:custGeom>
              <a:avLst/>
              <a:gdLst>
                <a:gd name="T0" fmla="*/ 3 w 165"/>
                <a:gd name="T1" fmla="*/ 0 h 170"/>
                <a:gd name="T2" fmla="*/ 3 w 165"/>
                <a:gd name="T3" fmla="*/ 0 h 170"/>
                <a:gd name="T4" fmla="*/ 0 w 165"/>
                <a:gd name="T5" fmla="*/ 0 h 170"/>
                <a:gd name="T6" fmla="*/ 0 w 165"/>
                <a:gd name="T7" fmla="*/ 1 h 170"/>
                <a:gd name="T8" fmla="*/ 1 w 165"/>
                <a:gd name="T9" fmla="*/ 2 h 170"/>
                <a:gd name="T10" fmla="*/ 1 w 165"/>
                <a:gd name="T11" fmla="*/ 2 h 170"/>
                <a:gd name="T12" fmla="*/ 3 w 165"/>
                <a:gd name="T13" fmla="*/ 3 h 170"/>
                <a:gd name="T14" fmla="*/ 3 w 165"/>
                <a:gd name="T15" fmla="*/ 3 h 170"/>
                <a:gd name="T16" fmla="*/ 4 w 165"/>
                <a:gd name="T17" fmla="*/ 4 h 170"/>
                <a:gd name="T18" fmla="*/ 5 w 165"/>
                <a:gd name="T19" fmla="*/ 3 h 170"/>
                <a:gd name="T20" fmla="*/ 5 w 165"/>
                <a:gd name="T21" fmla="*/ 3 h 170"/>
                <a:gd name="T22" fmla="*/ 6 w 165"/>
                <a:gd name="T23" fmla="*/ 2 h 170"/>
                <a:gd name="T24" fmla="*/ 5 w 165"/>
                <a:gd name="T25" fmla="*/ 2 h 170"/>
                <a:gd name="T26" fmla="*/ 5 w 165"/>
                <a:gd name="T27" fmla="*/ 1 h 170"/>
                <a:gd name="T28" fmla="*/ 4 w 165"/>
                <a:gd name="T29" fmla="*/ 1 h 170"/>
                <a:gd name="T30" fmla="*/ 4 w 165"/>
                <a:gd name="T31" fmla="*/ 1 h 170"/>
                <a:gd name="T32" fmla="*/ 3 w 165"/>
                <a:gd name="T33" fmla="*/ 1 h 170"/>
                <a:gd name="T34" fmla="*/ 3 w 165"/>
                <a:gd name="T35" fmla="*/ 0 h 1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5" h="170">
                  <a:moveTo>
                    <a:pt x="89" y="15"/>
                  </a:moveTo>
                  <a:lnTo>
                    <a:pt x="75" y="0"/>
                  </a:lnTo>
                  <a:lnTo>
                    <a:pt x="15" y="15"/>
                  </a:lnTo>
                  <a:lnTo>
                    <a:pt x="0" y="61"/>
                  </a:lnTo>
                  <a:lnTo>
                    <a:pt x="30" y="92"/>
                  </a:lnTo>
                  <a:lnTo>
                    <a:pt x="45" y="77"/>
                  </a:lnTo>
                  <a:lnTo>
                    <a:pt x="104" y="123"/>
                  </a:lnTo>
                  <a:lnTo>
                    <a:pt x="89" y="154"/>
                  </a:lnTo>
                  <a:lnTo>
                    <a:pt x="119" y="169"/>
                  </a:lnTo>
                  <a:lnTo>
                    <a:pt x="149" y="154"/>
                  </a:lnTo>
                  <a:lnTo>
                    <a:pt x="149" y="123"/>
                  </a:lnTo>
                  <a:lnTo>
                    <a:pt x="164" y="92"/>
                  </a:lnTo>
                  <a:lnTo>
                    <a:pt x="134" y="92"/>
                  </a:lnTo>
                  <a:lnTo>
                    <a:pt x="134" y="61"/>
                  </a:lnTo>
                  <a:lnTo>
                    <a:pt x="119" y="46"/>
                  </a:lnTo>
                  <a:lnTo>
                    <a:pt x="119" y="61"/>
                  </a:lnTo>
                  <a:lnTo>
                    <a:pt x="89" y="61"/>
                  </a:lnTo>
                  <a:lnTo>
                    <a:pt x="89" y="15"/>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51" name="Freeform 76"/>
            <p:cNvSpPr>
              <a:spLocks/>
            </p:cNvSpPr>
            <p:nvPr/>
          </p:nvSpPr>
          <p:spPr bwMode="auto">
            <a:xfrm>
              <a:off x="564" y="2006"/>
              <a:ext cx="70" cy="315"/>
            </a:xfrm>
            <a:custGeom>
              <a:avLst/>
              <a:gdLst>
                <a:gd name="T0" fmla="*/ 1 w 165"/>
                <a:gd name="T1" fmla="*/ 14 h 830"/>
                <a:gd name="T2" fmla="*/ 1 w 165"/>
                <a:gd name="T3" fmla="*/ 14 h 830"/>
                <a:gd name="T4" fmla="*/ 1 w 165"/>
                <a:gd name="T5" fmla="*/ 14 h 830"/>
                <a:gd name="T6" fmla="*/ 3 w 165"/>
                <a:gd name="T7" fmla="*/ 16 h 830"/>
                <a:gd name="T8" fmla="*/ 3 w 165"/>
                <a:gd name="T9" fmla="*/ 17 h 830"/>
                <a:gd name="T10" fmla="*/ 5 w 165"/>
                <a:gd name="T11" fmla="*/ 17 h 830"/>
                <a:gd name="T12" fmla="*/ 4 w 165"/>
                <a:gd name="T13" fmla="*/ 17 h 830"/>
                <a:gd name="T14" fmla="*/ 6 w 165"/>
                <a:gd name="T15" fmla="*/ 16 h 830"/>
                <a:gd name="T16" fmla="*/ 4 w 165"/>
                <a:gd name="T17" fmla="*/ 16 h 830"/>
                <a:gd name="T18" fmla="*/ 3 w 165"/>
                <a:gd name="T19" fmla="*/ 16 h 830"/>
                <a:gd name="T20" fmla="*/ 3 w 165"/>
                <a:gd name="T21" fmla="*/ 16 h 830"/>
                <a:gd name="T22" fmla="*/ 3 w 165"/>
                <a:gd name="T23" fmla="*/ 13 h 830"/>
                <a:gd name="T24" fmla="*/ 3 w 165"/>
                <a:gd name="T25" fmla="*/ 13 h 830"/>
                <a:gd name="T26" fmla="*/ 3 w 165"/>
                <a:gd name="T27" fmla="*/ 13 h 830"/>
                <a:gd name="T28" fmla="*/ 1 w 165"/>
                <a:gd name="T29" fmla="*/ 10 h 830"/>
                <a:gd name="T30" fmla="*/ 2 w 165"/>
                <a:gd name="T31" fmla="*/ 9 h 830"/>
                <a:gd name="T32" fmla="*/ 1 w 165"/>
                <a:gd name="T33" fmla="*/ 8 h 830"/>
                <a:gd name="T34" fmla="*/ 2 w 165"/>
                <a:gd name="T35" fmla="*/ 8 h 830"/>
                <a:gd name="T36" fmla="*/ 2 w 165"/>
                <a:gd name="T37" fmla="*/ 7 h 830"/>
                <a:gd name="T38" fmla="*/ 1 w 165"/>
                <a:gd name="T39" fmla="*/ 6 h 830"/>
                <a:gd name="T40" fmla="*/ 1 w 165"/>
                <a:gd name="T41" fmla="*/ 5 h 830"/>
                <a:gd name="T42" fmla="*/ 2 w 165"/>
                <a:gd name="T43" fmla="*/ 5 h 830"/>
                <a:gd name="T44" fmla="*/ 3 w 165"/>
                <a:gd name="T45" fmla="*/ 4 h 830"/>
                <a:gd name="T46" fmla="*/ 2 w 165"/>
                <a:gd name="T47" fmla="*/ 3 h 830"/>
                <a:gd name="T48" fmla="*/ 3 w 165"/>
                <a:gd name="T49" fmla="*/ 3 h 830"/>
                <a:gd name="T50" fmla="*/ 3 w 165"/>
                <a:gd name="T51" fmla="*/ 3 h 830"/>
                <a:gd name="T52" fmla="*/ 3 w 165"/>
                <a:gd name="T53" fmla="*/ 2 h 830"/>
                <a:gd name="T54" fmla="*/ 1 w 165"/>
                <a:gd name="T55" fmla="*/ 1 h 830"/>
                <a:gd name="T56" fmla="*/ 1 w 165"/>
                <a:gd name="T57" fmla="*/ 0 h 830"/>
                <a:gd name="T58" fmla="*/ 0 w 165"/>
                <a:gd name="T59" fmla="*/ 0 h 830"/>
                <a:gd name="T60" fmla="*/ 0 w 165"/>
                <a:gd name="T61" fmla="*/ 0 h 830"/>
                <a:gd name="T62" fmla="*/ 0 w 165"/>
                <a:gd name="T63" fmla="*/ 1 h 830"/>
                <a:gd name="T64" fmla="*/ 0 w 165"/>
                <a:gd name="T65" fmla="*/ 4 h 830"/>
                <a:gd name="T66" fmla="*/ 0 w 165"/>
                <a:gd name="T67" fmla="*/ 5 h 830"/>
                <a:gd name="T68" fmla="*/ 1 w 165"/>
                <a:gd name="T69" fmla="*/ 5 h 830"/>
                <a:gd name="T70" fmla="*/ 1 w 165"/>
                <a:gd name="T71" fmla="*/ 6 h 830"/>
                <a:gd name="T72" fmla="*/ 1 w 165"/>
                <a:gd name="T73" fmla="*/ 7 h 830"/>
                <a:gd name="T74" fmla="*/ 0 w 165"/>
                <a:gd name="T75" fmla="*/ 9 h 830"/>
                <a:gd name="T76" fmla="*/ 0 w 165"/>
                <a:gd name="T77" fmla="*/ 10 h 830"/>
                <a:gd name="T78" fmla="*/ 0 w 165"/>
                <a:gd name="T79" fmla="*/ 11 h 830"/>
                <a:gd name="T80" fmla="*/ 1 w 165"/>
                <a:gd name="T81" fmla="*/ 11 h 830"/>
                <a:gd name="T82" fmla="*/ 1 w 165"/>
                <a:gd name="T83" fmla="*/ 11 h 830"/>
                <a:gd name="T84" fmla="*/ 2 w 165"/>
                <a:gd name="T85" fmla="*/ 13 h 830"/>
                <a:gd name="T86" fmla="*/ 1 w 165"/>
                <a:gd name="T87" fmla="*/ 13 h 830"/>
                <a:gd name="T88" fmla="*/ 1 w 165"/>
                <a:gd name="T89" fmla="*/ 14 h 83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5" h="830">
                  <a:moveTo>
                    <a:pt x="30" y="660"/>
                  </a:moveTo>
                  <a:lnTo>
                    <a:pt x="45" y="660"/>
                  </a:lnTo>
                  <a:lnTo>
                    <a:pt x="45" y="691"/>
                  </a:lnTo>
                  <a:lnTo>
                    <a:pt x="89" y="783"/>
                  </a:lnTo>
                  <a:lnTo>
                    <a:pt x="104" y="829"/>
                  </a:lnTo>
                  <a:lnTo>
                    <a:pt x="149" y="829"/>
                  </a:lnTo>
                  <a:lnTo>
                    <a:pt x="134" y="798"/>
                  </a:lnTo>
                  <a:lnTo>
                    <a:pt x="164" y="783"/>
                  </a:lnTo>
                  <a:lnTo>
                    <a:pt x="119" y="783"/>
                  </a:lnTo>
                  <a:lnTo>
                    <a:pt x="104" y="752"/>
                  </a:lnTo>
                  <a:lnTo>
                    <a:pt x="89" y="752"/>
                  </a:lnTo>
                  <a:lnTo>
                    <a:pt x="89" y="629"/>
                  </a:lnTo>
                  <a:lnTo>
                    <a:pt x="75" y="614"/>
                  </a:lnTo>
                  <a:lnTo>
                    <a:pt x="75" y="599"/>
                  </a:lnTo>
                  <a:lnTo>
                    <a:pt x="45" y="476"/>
                  </a:lnTo>
                  <a:lnTo>
                    <a:pt x="60" y="461"/>
                  </a:lnTo>
                  <a:lnTo>
                    <a:pt x="45" y="399"/>
                  </a:lnTo>
                  <a:lnTo>
                    <a:pt x="60" y="399"/>
                  </a:lnTo>
                  <a:lnTo>
                    <a:pt x="60" y="353"/>
                  </a:lnTo>
                  <a:lnTo>
                    <a:pt x="45" y="292"/>
                  </a:lnTo>
                  <a:lnTo>
                    <a:pt x="45" y="261"/>
                  </a:lnTo>
                  <a:lnTo>
                    <a:pt x="60" y="215"/>
                  </a:lnTo>
                  <a:lnTo>
                    <a:pt x="75" y="184"/>
                  </a:lnTo>
                  <a:lnTo>
                    <a:pt x="60" y="154"/>
                  </a:lnTo>
                  <a:lnTo>
                    <a:pt x="75" y="138"/>
                  </a:lnTo>
                  <a:lnTo>
                    <a:pt x="75" y="123"/>
                  </a:lnTo>
                  <a:lnTo>
                    <a:pt x="75" y="107"/>
                  </a:lnTo>
                  <a:lnTo>
                    <a:pt x="45" y="46"/>
                  </a:lnTo>
                  <a:lnTo>
                    <a:pt x="30" y="0"/>
                  </a:lnTo>
                  <a:lnTo>
                    <a:pt x="15" y="0"/>
                  </a:lnTo>
                  <a:lnTo>
                    <a:pt x="0" y="15"/>
                  </a:lnTo>
                  <a:lnTo>
                    <a:pt x="15" y="61"/>
                  </a:lnTo>
                  <a:lnTo>
                    <a:pt x="15" y="184"/>
                  </a:lnTo>
                  <a:lnTo>
                    <a:pt x="15" y="261"/>
                  </a:lnTo>
                  <a:lnTo>
                    <a:pt x="30" y="261"/>
                  </a:lnTo>
                  <a:lnTo>
                    <a:pt x="30" y="276"/>
                  </a:lnTo>
                  <a:lnTo>
                    <a:pt x="30" y="338"/>
                  </a:lnTo>
                  <a:lnTo>
                    <a:pt x="0" y="430"/>
                  </a:lnTo>
                  <a:lnTo>
                    <a:pt x="15" y="491"/>
                  </a:lnTo>
                  <a:lnTo>
                    <a:pt x="15" y="507"/>
                  </a:lnTo>
                  <a:lnTo>
                    <a:pt x="30" y="522"/>
                  </a:lnTo>
                  <a:lnTo>
                    <a:pt x="45" y="537"/>
                  </a:lnTo>
                  <a:lnTo>
                    <a:pt x="60" y="645"/>
                  </a:lnTo>
                  <a:lnTo>
                    <a:pt x="30" y="645"/>
                  </a:lnTo>
                  <a:lnTo>
                    <a:pt x="30" y="660"/>
                  </a:lnTo>
                </a:path>
              </a:pathLst>
            </a:custGeom>
            <a:solidFill>
              <a:srgbClr val="C0C0C0"/>
            </a:solidFill>
            <a:ln w="12700" cap="flat"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52" name="Freeform 77"/>
            <p:cNvSpPr>
              <a:spLocks/>
            </p:cNvSpPr>
            <p:nvPr/>
          </p:nvSpPr>
          <p:spPr bwMode="auto">
            <a:xfrm>
              <a:off x="628" y="2309"/>
              <a:ext cx="13" cy="23"/>
            </a:xfrm>
            <a:custGeom>
              <a:avLst/>
              <a:gdLst>
                <a:gd name="T0" fmla="*/ 1 w 30"/>
                <a:gd name="T1" fmla="*/ 0 h 62"/>
                <a:gd name="T2" fmla="*/ 0 w 30"/>
                <a:gd name="T3" fmla="*/ 0 h 62"/>
                <a:gd name="T4" fmla="*/ 0 w 30"/>
                <a:gd name="T5" fmla="*/ 0 h 62"/>
                <a:gd name="T6" fmla="*/ 0 w 30"/>
                <a:gd name="T7" fmla="*/ 0 h 62"/>
                <a:gd name="T8" fmla="*/ 0 w 30"/>
                <a:gd name="T9" fmla="*/ 1 h 62"/>
                <a:gd name="T10" fmla="*/ 0 w 30"/>
                <a:gd name="T11" fmla="*/ 1 h 62"/>
                <a:gd name="T12" fmla="*/ 1 w 30"/>
                <a:gd name="T13" fmla="*/ 1 h 62"/>
                <a:gd name="T14" fmla="*/ 1 w 30"/>
                <a:gd name="T15" fmla="*/ 0 h 6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62">
                  <a:moveTo>
                    <a:pt x="29" y="15"/>
                  </a:moveTo>
                  <a:lnTo>
                    <a:pt x="15" y="0"/>
                  </a:lnTo>
                  <a:lnTo>
                    <a:pt x="0" y="15"/>
                  </a:lnTo>
                  <a:lnTo>
                    <a:pt x="0" y="31"/>
                  </a:lnTo>
                  <a:lnTo>
                    <a:pt x="0" y="46"/>
                  </a:lnTo>
                  <a:lnTo>
                    <a:pt x="0" y="61"/>
                  </a:lnTo>
                  <a:lnTo>
                    <a:pt x="29" y="61"/>
                  </a:lnTo>
                  <a:lnTo>
                    <a:pt x="29" y="15"/>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53" name="Freeform 78"/>
            <p:cNvSpPr>
              <a:spLocks/>
            </p:cNvSpPr>
            <p:nvPr/>
          </p:nvSpPr>
          <p:spPr bwMode="auto">
            <a:xfrm>
              <a:off x="609" y="2325"/>
              <a:ext cx="19" cy="12"/>
            </a:xfrm>
            <a:custGeom>
              <a:avLst/>
              <a:gdLst>
                <a:gd name="T0" fmla="*/ 1 w 45"/>
                <a:gd name="T1" fmla="*/ 0 h 31"/>
                <a:gd name="T2" fmla="*/ 0 w 45"/>
                <a:gd name="T3" fmla="*/ 0 h 31"/>
                <a:gd name="T4" fmla="*/ 1 w 45"/>
                <a:gd name="T5" fmla="*/ 1 h 31"/>
                <a:gd name="T6" fmla="*/ 1 w 45"/>
                <a:gd name="T7" fmla="*/ 1 h 31"/>
                <a:gd name="T8" fmla="*/ 1 w 45"/>
                <a:gd name="T9" fmla="*/ 0 h 31"/>
                <a:gd name="T10" fmla="*/ 1 w 45"/>
                <a:gd name="T11" fmla="*/ 0 h 31"/>
                <a:gd name="T12" fmla="*/ 1 w 45"/>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5" h="31">
                  <a:moveTo>
                    <a:pt x="29" y="0"/>
                  </a:moveTo>
                  <a:lnTo>
                    <a:pt x="0" y="0"/>
                  </a:lnTo>
                  <a:lnTo>
                    <a:pt x="29" y="30"/>
                  </a:lnTo>
                  <a:lnTo>
                    <a:pt x="44" y="30"/>
                  </a:lnTo>
                  <a:lnTo>
                    <a:pt x="44" y="15"/>
                  </a:lnTo>
                  <a:lnTo>
                    <a:pt x="44" y="0"/>
                  </a:lnTo>
                  <a:lnTo>
                    <a:pt x="29"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54" name="Freeform 79"/>
            <p:cNvSpPr>
              <a:spLocks/>
            </p:cNvSpPr>
            <p:nvPr/>
          </p:nvSpPr>
          <p:spPr bwMode="auto">
            <a:xfrm>
              <a:off x="576" y="2268"/>
              <a:ext cx="8" cy="12"/>
            </a:xfrm>
            <a:custGeom>
              <a:avLst/>
              <a:gdLst>
                <a:gd name="T0" fmla="*/ 0 w 17"/>
                <a:gd name="T1" fmla="*/ 0 h 32"/>
                <a:gd name="T2" fmla="*/ 0 w 17"/>
                <a:gd name="T3" fmla="*/ 1 h 32"/>
                <a:gd name="T4" fmla="*/ 1 w 17"/>
                <a:gd name="T5" fmla="*/ 1 h 32"/>
                <a:gd name="T6" fmla="*/ 1 w 17"/>
                <a:gd name="T7" fmla="*/ 0 h 32"/>
                <a:gd name="T8" fmla="*/ 0 w 17"/>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2">
                  <a:moveTo>
                    <a:pt x="0" y="0"/>
                  </a:moveTo>
                  <a:lnTo>
                    <a:pt x="0" y="31"/>
                  </a:lnTo>
                  <a:lnTo>
                    <a:pt x="16" y="31"/>
                  </a:lnTo>
                  <a:lnTo>
                    <a:pt x="16" y="0"/>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55" name="Freeform 80"/>
            <p:cNvSpPr>
              <a:spLocks/>
            </p:cNvSpPr>
            <p:nvPr/>
          </p:nvSpPr>
          <p:spPr bwMode="auto">
            <a:xfrm>
              <a:off x="576" y="2227"/>
              <a:ext cx="8" cy="12"/>
            </a:xfrm>
            <a:custGeom>
              <a:avLst/>
              <a:gdLst>
                <a:gd name="T0" fmla="*/ 0 w 17"/>
                <a:gd name="T1" fmla="*/ 0 h 32"/>
                <a:gd name="T2" fmla="*/ 1 w 17"/>
                <a:gd name="T3" fmla="*/ 1 h 32"/>
                <a:gd name="T4" fmla="*/ 0 w 17"/>
                <a:gd name="T5" fmla="*/ 1 h 32"/>
                <a:gd name="T6" fmla="*/ 0 w 17"/>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0" y="0"/>
                  </a:moveTo>
                  <a:lnTo>
                    <a:pt x="16" y="31"/>
                  </a:lnTo>
                  <a:lnTo>
                    <a:pt x="0" y="31"/>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56" name="Freeform 81"/>
            <p:cNvSpPr>
              <a:spLocks/>
            </p:cNvSpPr>
            <p:nvPr/>
          </p:nvSpPr>
          <p:spPr bwMode="auto">
            <a:xfrm>
              <a:off x="571" y="2210"/>
              <a:ext cx="7" cy="11"/>
            </a:xfrm>
            <a:custGeom>
              <a:avLst/>
              <a:gdLst>
                <a:gd name="T0" fmla="*/ 0 w 17"/>
                <a:gd name="T1" fmla="*/ 0 h 31"/>
                <a:gd name="T2" fmla="*/ 0 w 17"/>
                <a:gd name="T3" fmla="*/ 0 h 31"/>
                <a:gd name="T4" fmla="*/ 0 w 17"/>
                <a:gd name="T5" fmla="*/ 0 h 31"/>
                <a:gd name="T6" fmla="*/ 0 w 17"/>
                <a:gd name="T7" fmla="*/ 0 h 31"/>
                <a:gd name="T8" fmla="*/ 0 w 1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1">
                  <a:moveTo>
                    <a:pt x="0" y="0"/>
                  </a:moveTo>
                  <a:lnTo>
                    <a:pt x="0" y="30"/>
                  </a:lnTo>
                  <a:lnTo>
                    <a:pt x="16" y="30"/>
                  </a:lnTo>
                  <a:lnTo>
                    <a:pt x="16" y="15"/>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57" name="Freeform 82"/>
            <p:cNvSpPr>
              <a:spLocks/>
            </p:cNvSpPr>
            <p:nvPr/>
          </p:nvSpPr>
          <p:spPr bwMode="auto">
            <a:xfrm>
              <a:off x="597" y="2309"/>
              <a:ext cx="6"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0"/>
                  </a:lnTo>
                  <a:lnTo>
                    <a:pt x="0" y="16"/>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58" name="Freeform 83"/>
            <p:cNvSpPr>
              <a:spLocks/>
            </p:cNvSpPr>
            <p:nvPr/>
          </p:nvSpPr>
          <p:spPr bwMode="auto">
            <a:xfrm>
              <a:off x="641" y="2337"/>
              <a:ext cx="6"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16" y="0"/>
                  </a:lnTo>
                  <a:lnTo>
                    <a:pt x="0" y="0"/>
                  </a:lnTo>
                </a:path>
              </a:pathLst>
            </a:custGeom>
            <a:solidFill>
              <a:srgbClr val="00FF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59" name="Freeform 84"/>
            <p:cNvSpPr>
              <a:spLocks/>
            </p:cNvSpPr>
            <p:nvPr/>
          </p:nvSpPr>
          <p:spPr bwMode="auto">
            <a:xfrm>
              <a:off x="961" y="1320"/>
              <a:ext cx="64" cy="41"/>
            </a:xfrm>
            <a:custGeom>
              <a:avLst/>
              <a:gdLst>
                <a:gd name="T0" fmla="*/ 4 w 150"/>
                <a:gd name="T1" fmla="*/ 0 h 109"/>
                <a:gd name="T2" fmla="*/ 4 w 150"/>
                <a:gd name="T3" fmla="*/ 1 h 109"/>
                <a:gd name="T4" fmla="*/ 3 w 150"/>
                <a:gd name="T5" fmla="*/ 0 h 109"/>
                <a:gd name="T6" fmla="*/ 1 w 150"/>
                <a:gd name="T7" fmla="*/ 1 h 109"/>
                <a:gd name="T8" fmla="*/ 1 w 150"/>
                <a:gd name="T9" fmla="*/ 0 h 109"/>
                <a:gd name="T10" fmla="*/ 0 w 150"/>
                <a:gd name="T11" fmla="*/ 0 h 109"/>
                <a:gd name="T12" fmla="*/ 0 w 150"/>
                <a:gd name="T13" fmla="*/ 1 h 109"/>
                <a:gd name="T14" fmla="*/ 0 w 150"/>
                <a:gd name="T15" fmla="*/ 1 h 109"/>
                <a:gd name="T16" fmla="*/ 1 w 150"/>
                <a:gd name="T17" fmla="*/ 1 h 109"/>
                <a:gd name="T18" fmla="*/ 0 w 150"/>
                <a:gd name="T19" fmla="*/ 1 h 109"/>
                <a:gd name="T20" fmla="*/ 0 w 150"/>
                <a:gd name="T21" fmla="*/ 1 h 109"/>
                <a:gd name="T22" fmla="*/ 1 w 150"/>
                <a:gd name="T23" fmla="*/ 2 h 109"/>
                <a:gd name="T24" fmla="*/ 0 w 150"/>
                <a:gd name="T25" fmla="*/ 2 h 109"/>
                <a:gd name="T26" fmla="*/ 1 w 150"/>
                <a:gd name="T27" fmla="*/ 2 h 109"/>
                <a:gd name="T28" fmla="*/ 3 w 150"/>
                <a:gd name="T29" fmla="*/ 2 h 109"/>
                <a:gd name="T30" fmla="*/ 3 w 150"/>
                <a:gd name="T31" fmla="*/ 2 h 109"/>
                <a:gd name="T32" fmla="*/ 4 w 150"/>
                <a:gd name="T33" fmla="*/ 2 h 109"/>
                <a:gd name="T34" fmla="*/ 5 w 150"/>
                <a:gd name="T35" fmla="*/ 1 h 109"/>
                <a:gd name="T36" fmla="*/ 5 w 150"/>
                <a:gd name="T37" fmla="*/ 1 h 109"/>
                <a:gd name="T38" fmla="*/ 4 w 150"/>
                <a:gd name="T39" fmla="*/ 1 h 109"/>
                <a:gd name="T40" fmla="*/ 4 w 150"/>
                <a:gd name="T41" fmla="*/ 0 h 1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0" h="109">
                  <a:moveTo>
                    <a:pt x="119" y="0"/>
                  </a:moveTo>
                  <a:lnTo>
                    <a:pt x="119" y="31"/>
                  </a:lnTo>
                  <a:lnTo>
                    <a:pt x="75" y="15"/>
                  </a:lnTo>
                  <a:lnTo>
                    <a:pt x="45" y="31"/>
                  </a:lnTo>
                  <a:lnTo>
                    <a:pt x="45" y="15"/>
                  </a:lnTo>
                  <a:lnTo>
                    <a:pt x="15" y="0"/>
                  </a:lnTo>
                  <a:lnTo>
                    <a:pt x="0" y="31"/>
                  </a:lnTo>
                  <a:lnTo>
                    <a:pt x="15" y="31"/>
                  </a:lnTo>
                  <a:lnTo>
                    <a:pt x="30" y="31"/>
                  </a:lnTo>
                  <a:lnTo>
                    <a:pt x="15" y="46"/>
                  </a:lnTo>
                  <a:lnTo>
                    <a:pt x="0" y="62"/>
                  </a:lnTo>
                  <a:lnTo>
                    <a:pt x="30" y="77"/>
                  </a:lnTo>
                  <a:lnTo>
                    <a:pt x="15" y="93"/>
                  </a:lnTo>
                  <a:lnTo>
                    <a:pt x="45" y="93"/>
                  </a:lnTo>
                  <a:lnTo>
                    <a:pt x="75" y="108"/>
                  </a:lnTo>
                  <a:lnTo>
                    <a:pt x="104" y="93"/>
                  </a:lnTo>
                  <a:lnTo>
                    <a:pt x="134" y="77"/>
                  </a:lnTo>
                  <a:lnTo>
                    <a:pt x="149" y="46"/>
                  </a:lnTo>
                  <a:lnTo>
                    <a:pt x="149" y="31"/>
                  </a:lnTo>
                  <a:lnTo>
                    <a:pt x="134" y="31"/>
                  </a:lnTo>
                  <a:lnTo>
                    <a:pt x="11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0" name="Freeform 85"/>
            <p:cNvSpPr>
              <a:spLocks/>
            </p:cNvSpPr>
            <p:nvPr/>
          </p:nvSpPr>
          <p:spPr bwMode="auto">
            <a:xfrm>
              <a:off x="968" y="1751"/>
              <a:ext cx="51" cy="35"/>
            </a:xfrm>
            <a:custGeom>
              <a:avLst/>
              <a:gdLst>
                <a:gd name="T0" fmla="*/ 0 w 120"/>
                <a:gd name="T1" fmla="*/ 1 h 93"/>
                <a:gd name="T2" fmla="*/ 1 w 120"/>
                <a:gd name="T3" fmla="*/ 1 h 93"/>
                <a:gd name="T4" fmla="*/ 2 w 120"/>
                <a:gd name="T5" fmla="*/ 1 h 93"/>
                <a:gd name="T6" fmla="*/ 0 w 120"/>
                <a:gd name="T7" fmla="*/ 1 h 93"/>
                <a:gd name="T8" fmla="*/ 0 w 120"/>
                <a:gd name="T9" fmla="*/ 2 h 93"/>
                <a:gd name="T10" fmla="*/ 1 w 120"/>
                <a:gd name="T11" fmla="*/ 2 h 93"/>
                <a:gd name="T12" fmla="*/ 3 w 120"/>
                <a:gd name="T13" fmla="*/ 2 h 93"/>
                <a:gd name="T14" fmla="*/ 4 w 120"/>
                <a:gd name="T15" fmla="*/ 2 h 93"/>
                <a:gd name="T16" fmla="*/ 3 w 120"/>
                <a:gd name="T17" fmla="*/ 1 h 93"/>
                <a:gd name="T18" fmla="*/ 3 w 120"/>
                <a:gd name="T19" fmla="*/ 0 h 93"/>
                <a:gd name="T20" fmla="*/ 2 w 120"/>
                <a:gd name="T21" fmla="*/ 0 h 93"/>
                <a:gd name="T22" fmla="*/ 1 w 120"/>
                <a:gd name="T23" fmla="*/ 0 h 93"/>
                <a:gd name="T24" fmla="*/ 0 w 120"/>
                <a:gd name="T25" fmla="*/ 1 h 93"/>
                <a:gd name="T26" fmla="*/ 0 w 120"/>
                <a:gd name="T27" fmla="*/ 1 h 9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0" h="93">
                  <a:moveTo>
                    <a:pt x="15" y="46"/>
                  </a:moveTo>
                  <a:lnTo>
                    <a:pt x="45" y="46"/>
                  </a:lnTo>
                  <a:lnTo>
                    <a:pt x="60" y="61"/>
                  </a:lnTo>
                  <a:lnTo>
                    <a:pt x="15" y="61"/>
                  </a:lnTo>
                  <a:lnTo>
                    <a:pt x="15" y="77"/>
                  </a:lnTo>
                  <a:lnTo>
                    <a:pt x="45" y="77"/>
                  </a:lnTo>
                  <a:lnTo>
                    <a:pt x="74" y="77"/>
                  </a:lnTo>
                  <a:lnTo>
                    <a:pt x="119" y="92"/>
                  </a:lnTo>
                  <a:lnTo>
                    <a:pt x="104" y="46"/>
                  </a:lnTo>
                  <a:lnTo>
                    <a:pt x="89" y="15"/>
                  </a:lnTo>
                  <a:lnTo>
                    <a:pt x="60" y="0"/>
                  </a:lnTo>
                  <a:lnTo>
                    <a:pt x="30" y="15"/>
                  </a:lnTo>
                  <a:lnTo>
                    <a:pt x="0" y="46"/>
                  </a:lnTo>
                  <a:lnTo>
                    <a:pt x="15" y="4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1" name="Freeform 86"/>
            <p:cNvSpPr>
              <a:spLocks/>
            </p:cNvSpPr>
            <p:nvPr/>
          </p:nvSpPr>
          <p:spPr bwMode="auto">
            <a:xfrm>
              <a:off x="1019" y="1809"/>
              <a:ext cx="26" cy="34"/>
            </a:xfrm>
            <a:custGeom>
              <a:avLst/>
              <a:gdLst>
                <a:gd name="T0" fmla="*/ 2 w 61"/>
                <a:gd name="T1" fmla="*/ 1 h 93"/>
                <a:gd name="T2" fmla="*/ 2 w 61"/>
                <a:gd name="T3" fmla="*/ 1 h 93"/>
                <a:gd name="T4" fmla="*/ 2 w 61"/>
                <a:gd name="T5" fmla="*/ 0 h 93"/>
                <a:gd name="T6" fmla="*/ 1 w 61"/>
                <a:gd name="T7" fmla="*/ 0 h 93"/>
                <a:gd name="T8" fmla="*/ 1 w 61"/>
                <a:gd name="T9" fmla="*/ 0 h 93"/>
                <a:gd name="T10" fmla="*/ 0 w 61"/>
                <a:gd name="T11" fmla="*/ 0 h 93"/>
                <a:gd name="T12" fmla="*/ 0 w 61"/>
                <a:gd name="T13" fmla="*/ 1 h 93"/>
                <a:gd name="T14" fmla="*/ 2 w 61"/>
                <a:gd name="T15" fmla="*/ 1 h 9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1" h="93">
                  <a:moveTo>
                    <a:pt x="60" y="92"/>
                  </a:moveTo>
                  <a:lnTo>
                    <a:pt x="60" y="46"/>
                  </a:lnTo>
                  <a:lnTo>
                    <a:pt x="60" y="15"/>
                  </a:lnTo>
                  <a:lnTo>
                    <a:pt x="45" y="31"/>
                  </a:lnTo>
                  <a:lnTo>
                    <a:pt x="30" y="15"/>
                  </a:lnTo>
                  <a:lnTo>
                    <a:pt x="15" y="0"/>
                  </a:lnTo>
                  <a:lnTo>
                    <a:pt x="0" y="46"/>
                  </a:lnTo>
                  <a:lnTo>
                    <a:pt x="60" y="92"/>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2" name="Freeform 87"/>
            <p:cNvSpPr>
              <a:spLocks/>
            </p:cNvSpPr>
            <p:nvPr/>
          </p:nvSpPr>
          <p:spPr bwMode="auto">
            <a:xfrm>
              <a:off x="1045" y="1791"/>
              <a:ext cx="39" cy="52"/>
            </a:xfrm>
            <a:custGeom>
              <a:avLst/>
              <a:gdLst>
                <a:gd name="T0" fmla="*/ 3 w 91"/>
                <a:gd name="T1" fmla="*/ 2 h 139"/>
                <a:gd name="T2" fmla="*/ 3 w 91"/>
                <a:gd name="T3" fmla="*/ 2 h 139"/>
                <a:gd name="T4" fmla="*/ 3 w 91"/>
                <a:gd name="T5" fmla="*/ 1 h 139"/>
                <a:gd name="T6" fmla="*/ 2 w 91"/>
                <a:gd name="T7" fmla="*/ 1 h 139"/>
                <a:gd name="T8" fmla="*/ 1 w 91"/>
                <a:gd name="T9" fmla="*/ 0 h 139"/>
                <a:gd name="T10" fmla="*/ 1 w 91"/>
                <a:gd name="T11" fmla="*/ 0 h 139"/>
                <a:gd name="T12" fmla="*/ 0 w 91"/>
                <a:gd name="T13" fmla="*/ 0 h 139"/>
                <a:gd name="T14" fmla="*/ 0 w 91"/>
                <a:gd name="T15" fmla="*/ 1 h 139"/>
                <a:gd name="T16" fmla="*/ 0 w 91"/>
                <a:gd name="T17" fmla="*/ 2 h 139"/>
                <a:gd name="T18" fmla="*/ 0 w 91"/>
                <a:gd name="T19" fmla="*/ 3 h 139"/>
                <a:gd name="T20" fmla="*/ 3 w 91"/>
                <a:gd name="T21" fmla="*/ 2 h 139"/>
                <a:gd name="T22" fmla="*/ 3 w 91"/>
                <a:gd name="T23" fmla="*/ 2 h 1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1" h="139">
                  <a:moveTo>
                    <a:pt x="90" y="123"/>
                  </a:moveTo>
                  <a:lnTo>
                    <a:pt x="90" y="92"/>
                  </a:lnTo>
                  <a:lnTo>
                    <a:pt x="90" y="46"/>
                  </a:lnTo>
                  <a:lnTo>
                    <a:pt x="60" y="46"/>
                  </a:lnTo>
                  <a:lnTo>
                    <a:pt x="45" y="15"/>
                  </a:lnTo>
                  <a:lnTo>
                    <a:pt x="30" y="0"/>
                  </a:lnTo>
                  <a:lnTo>
                    <a:pt x="0" y="15"/>
                  </a:lnTo>
                  <a:lnTo>
                    <a:pt x="0" y="61"/>
                  </a:lnTo>
                  <a:lnTo>
                    <a:pt x="0" y="92"/>
                  </a:lnTo>
                  <a:lnTo>
                    <a:pt x="0" y="138"/>
                  </a:lnTo>
                  <a:lnTo>
                    <a:pt x="75" y="107"/>
                  </a:lnTo>
                  <a:lnTo>
                    <a:pt x="90" y="123"/>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3" name="Freeform 88"/>
            <p:cNvSpPr>
              <a:spLocks/>
            </p:cNvSpPr>
            <p:nvPr/>
          </p:nvSpPr>
          <p:spPr bwMode="auto">
            <a:xfrm>
              <a:off x="1005" y="1803"/>
              <a:ext cx="20" cy="24"/>
            </a:xfrm>
            <a:custGeom>
              <a:avLst/>
              <a:gdLst>
                <a:gd name="T0" fmla="*/ 1 w 47"/>
                <a:gd name="T1" fmla="*/ 1 h 62"/>
                <a:gd name="T2" fmla="*/ 2 w 47"/>
                <a:gd name="T3" fmla="*/ 0 h 62"/>
                <a:gd name="T4" fmla="*/ 1 w 47"/>
                <a:gd name="T5" fmla="*/ 0 h 62"/>
                <a:gd name="T6" fmla="*/ 0 w 47"/>
                <a:gd name="T7" fmla="*/ 0 h 62"/>
                <a:gd name="T8" fmla="*/ 0 w 47"/>
                <a:gd name="T9" fmla="*/ 0 h 62"/>
                <a:gd name="T10" fmla="*/ 0 w 47"/>
                <a:gd name="T11" fmla="*/ 1 h 62"/>
                <a:gd name="T12" fmla="*/ 1 w 47"/>
                <a:gd name="T13" fmla="*/ 1 h 6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62">
                  <a:moveTo>
                    <a:pt x="30" y="61"/>
                  </a:moveTo>
                  <a:lnTo>
                    <a:pt x="46" y="15"/>
                  </a:lnTo>
                  <a:lnTo>
                    <a:pt x="30" y="0"/>
                  </a:lnTo>
                  <a:lnTo>
                    <a:pt x="0" y="0"/>
                  </a:lnTo>
                  <a:lnTo>
                    <a:pt x="0" y="15"/>
                  </a:lnTo>
                  <a:lnTo>
                    <a:pt x="0" y="46"/>
                  </a:lnTo>
                  <a:lnTo>
                    <a:pt x="30" y="61"/>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4" name="Freeform 89"/>
            <p:cNvSpPr>
              <a:spLocks/>
            </p:cNvSpPr>
            <p:nvPr/>
          </p:nvSpPr>
          <p:spPr bwMode="auto">
            <a:xfrm>
              <a:off x="986" y="1780"/>
              <a:ext cx="59" cy="41"/>
            </a:xfrm>
            <a:custGeom>
              <a:avLst/>
              <a:gdLst>
                <a:gd name="T0" fmla="*/ 2 w 136"/>
                <a:gd name="T1" fmla="*/ 2 h 109"/>
                <a:gd name="T2" fmla="*/ 2 w 136"/>
                <a:gd name="T3" fmla="*/ 1 h 109"/>
                <a:gd name="T4" fmla="*/ 3 w 136"/>
                <a:gd name="T5" fmla="*/ 1 h 109"/>
                <a:gd name="T6" fmla="*/ 3 w 136"/>
                <a:gd name="T7" fmla="*/ 2 h 109"/>
                <a:gd name="T8" fmla="*/ 4 w 136"/>
                <a:gd name="T9" fmla="*/ 2 h 109"/>
                <a:gd name="T10" fmla="*/ 4 w 136"/>
                <a:gd name="T11" fmla="*/ 2 h 109"/>
                <a:gd name="T12" fmla="*/ 5 w 136"/>
                <a:gd name="T13" fmla="*/ 2 h 109"/>
                <a:gd name="T14" fmla="*/ 5 w 136"/>
                <a:gd name="T15" fmla="*/ 1 h 109"/>
                <a:gd name="T16" fmla="*/ 4 w 136"/>
                <a:gd name="T17" fmla="*/ 0 h 109"/>
                <a:gd name="T18" fmla="*/ 3 w 136"/>
                <a:gd name="T19" fmla="*/ 0 h 109"/>
                <a:gd name="T20" fmla="*/ 1 w 136"/>
                <a:gd name="T21" fmla="*/ 0 h 109"/>
                <a:gd name="T22" fmla="*/ 1 w 136"/>
                <a:gd name="T23" fmla="*/ 0 h 109"/>
                <a:gd name="T24" fmla="*/ 0 w 136"/>
                <a:gd name="T25" fmla="*/ 1 h 109"/>
                <a:gd name="T26" fmla="*/ 2 w 136"/>
                <a:gd name="T27" fmla="*/ 2 h 10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 h="109">
                  <a:moveTo>
                    <a:pt x="45" y="77"/>
                  </a:moveTo>
                  <a:lnTo>
                    <a:pt x="45" y="62"/>
                  </a:lnTo>
                  <a:lnTo>
                    <a:pt x="75" y="62"/>
                  </a:lnTo>
                  <a:lnTo>
                    <a:pt x="90" y="77"/>
                  </a:lnTo>
                  <a:lnTo>
                    <a:pt x="105" y="93"/>
                  </a:lnTo>
                  <a:lnTo>
                    <a:pt x="120" y="108"/>
                  </a:lnTo>
                  <a:lnTo>
                    <a:pt x="135" y="93"/>
                  </a:lnTo>
                  <a:lnTo>
                    <a:pt x="135" y="46"/>
                  </a:lnTo>
                  <a:lnTo>
                    <a:pt x="105" y="15"/>
                  </a:lnTo>
                  <a:lnTo>
                    <a:pt x="75" y="15"/>
                  </a:lnTo>
                  <a:lnTo>
                    <a:pt x="30" y="0"/>
                  </a:lnTo>
                  <a:lnTo>
                    <a:pt x="30" y="15"/>
                  </a:lnTo>
                  <a:lnTo>
                    <a:pt x="0" y="31"/>
                  </a:lnTo>
                  <a:lnTo>
                    <a:pt x="45" y="77"/>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5" name="Freeform 90"/>
            <p:cNvSpPr>
              <a:spLocks/>
            </p:cNvSpPr>
            <p:nvPr/>
          </p:nvSpPr>
          <p:spPr bwMode="auto">
            <a:xfrm>
              <a:off x="973" y="1780"/>
              <a:ext cx="27" cy="11"/>
            </a:xfrm>
            <a:custGeom>
              <a:avLst/>
              <a:gdLst>
                <a:gd name="T0" fmla="*/ 1 w 61"/>
                <a:gd name="T1" fmla="*/ 0 h 32"/>
                <a:gd name="T2" fmla="*/ 2 w 61"/>
                <a:gd name="T3" fmla="*/ 0 h 32"/>
                <a:gd name="T4" fmla="*/ 2 w 61"/>
                <a:gd name="T5" fmla="*/ 0 h 32"/>
                <a:gd name="T6" fmla="*/ 1 w 61"/>
                <a:gd name="T7" fmla="*/ 0 h 32"/>
                <a:gd name="T8" fmla="*/ 0 w 61"/>
                <a:gd name="T9" fmla="*/ 0 h 32"/>
                <a:gd name="T10" fmla="*/ 0 w 61"/>
                <a:gd name="T11" fmla="*/ 0 h 32"/>
                <a:gd name="T12" fmla="*/ 1 w 61"/>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32">
                  <a:moveTo>
                    <a:pt x="30" y="31"/>
                  </a:moveTo>
                  <a:lnTo>
                    <a:pt x="60" y="16"/>
                  </a:lnTo>
                  <a:lnTo>
                    <a:pt x="60" y="0"/>
                  </a:lnTo>
                  <a:lnTo>
                    <a:pt x="30" y="0"/>
                  </a:lnTo>
                  <a:lnTo>
                    <a:pt x="0" y="0"/>
                  </a:lnTo>
                  <a:lnTo>
                    <a:pt x="15" y="31"/>
                  </a:lnTo>
                  <a:lnTo>
                    <a:pt x="30" y="31"/>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6" name="Freeform 91"/>
            <p:cNvSpPr>
              <a:spLocks/>
            </p:cNvSpPr>
            <p:nvPr/>
          </p:nvSpPr>
          <p:spPr bwMode="auto">
            <a:xfrm>
              <a:off x="973" y="1768"/>
              <a:ext cx="21" cy="6"/>
            </a:xfrm>
            <a:custGeom>
              <a:avLst/>
              <a:gdLst>
                <a:gd name="T0" fmla="*/ 0 w 46"/>
                <a:gd name="T1" fmla="*/ 0 h 17"/>
                <a:gd name="T2" fmla="*/ 0 w 46"/>
                <a:gd name="T3" fmla="*/ 0 h 17"/>
                <a:gd name="T4" fmla="*/ 2 w 46"/>
                <a:gd name="T5" fmla="*/ 0 h 17"/>
                <a:gd name="T6" fmla="*/ 1 w 46"/>
                <a:gd name="T7" fmla="*/ 0 h 17"/>
                <a:gd name="T8" fmla="*/ 0 w 46"/>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17">
                  <a:moveTo>
                    <a:pt x="0" y="0"/>
                  </a:moveTo>
                  <a:lnTo>
                    <a:pt x="0" y="16"/>
                  </a:lnTo>
                  <a:lnTo>
                    <a:pt x="45" y="16"/>
                  </a:lnTo>
                  <a:lnTo>
                    <a:pt x="30" y="0"/>
                  </a:lnTo>
                  <a:lnTo>
                    <a:pt x="0"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7" name="Freeform 92"/>
            <p:cNvSpPr>
              <a:spLocks/>
            </p:cNvSpPr>
            <p:nvPr/>
          </p:nvSpPr>
          <p:spPr bwMode="auto">
            <a:xfrm>
              <a:off x="980" y="1668"/>
              <a:ext cx="91" cy="100"/>
            </a:xfrm>
            <a:custGeom>
              <a:avLst/>
              <a:gdLst>
                <a:gd name="T0" fmla="*/ 0 w 210"/>
                <a:gd name="T1" fmla="*/ 5 h 263"/>
                <a:gd name="T2" fmla="*/ 1 w 210"/>
                <a:gd name="T3" fmla="*/ 5 h 263"/>
                <a:gd name="T4" fmla="*/ 2 w 210"/>
                <a:gd name="T5" fmla="*/ 5 h 263"/>
                <a:gd name="T6" fmla="*/ 3 w 210"/>
                <a:gd name="T7" fmla="*/ 5 h 263"/>
                <a:gd name="T8" fmla="*/ 4 w 210"/>
                <a:gd name="T9" fmla="*/ 5 h 263"/>
                <a:gd name="T10" fmla="*/ 5 w 210"/>
                <a:gd name="T11" fmla="*/ 5 h 263"/>
                <a:gd name="T12" fmla="*/ 7 w 210"/>
                <a:gd name="T13" fmla="*/ 5 h 263"/>
                <a:gd name="T14" fmla="*/ 7 w 210"/>
                <a:gd name="T15" fmla="*/ 5 h 263"/>
                <a:gd name="T16" fmla="*/ 7 w 210"/>
                <a:gd name="T17" fmla="*/ 2 h 263"/>
                <a:gd name="T18" fmla="*/ 7 w 210"/>
                <a:gd name="T19" fmla="*/ 2 h 263"/>
                <a:gd name="T20" fmla="*/ 7 w 210"/>
                <a:gd name="T21" fmla="*/ 1 h 263"/>
                <a:gd name="T22" fmla="*/ 7 w 210"/>
                <a:gd name="T23" fmla="*/ 1 h 263"/>
                <a:gd name="T24" fmla="*/ 5 w 210"/>
                <a:gd name="T25" fmla="*/ 0 h 263"/>
                <a:gd name="T26" fmla="*/ 5 w 210"/>
                <a:gd name="T27" fmla="*/ 1 h 263"/>
                <a:gd name="T28" fmla="*/ 3 w 210"/>
                <a:gd name="T29" fmla="*/ 1 h 263"/>
                <a:gd name="T30" fmla="*/ 3 w 210"/>
                <a:gd name="T31" fmla="*/ 2 h 263"/>
                <a:gd name="T32" fmla="*/ 2 w 210"/>
                <a:gd name="T33" fmla="*/ 2 h 263"/>
                <a:gd name="T34" fmla="*/ 2 w 210"/>
                <a:gd name="T35" fmla="*/ 3 h 263"/>
                <a:gd name="T36" fmla="*/ 0 w 210"/>
                <a:gd name="T37" fmla="*/ 3 h 263"/>
                <a:gd name="T38" fmla="*/ 0 w 210"/>
                <a:gd name="T39" fmla="*/ 3 h 263"/>
                <a:gd name="T40" fmla="*/ 0 w 210"/>
                <a:gd name="T41" fmla="*/ 4 h 263"/>
                <a:gd name="T42" fmla="*/ 0 w 210"/>
                <a:gd name="T43" fmla="*/ 5 h 26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0" h="263">
                  <a:moveTo>
                    <a:pt x="0" y="231"/>
                  </a:moveTo>
                  <a:lnTo>
                    <a:pt x="30" y="216"/>
                  </a:lnTo>
                  <a:lnTo>
                    <a:pt x="60" y="231"/>
                  </a:lnTo>
                  <a:lnTo>
                    <a:pt x="75" y="262"/>
                  </a:lnTo>
                  <a:lnTo>
                    <a:pt x="105" y="231"/>
                  </a:lnTo>
                  <a:lnTo>
                    <a:pt x="134" y="231"/>
                  </a:lnTo>
                  <a:lnTo>
                    <a:pt x="179" y="231"/>
                  </a:lnTo>
                  <a:lnTo>
                    <a:pt x="194" y="216"/>
                  </a:lnTo>
                  <a:lnTo>
                    <a:pt x="194" y="108"/>
                  </a:lnTo>
                  <a:lnTo>
                    <a:pt x="179" y="92"/>
                  </a:lnTo>
                  <a:lnTo>
                    <a:pt x="179" y="46"/>
                  </a:lnTo>
                  <a:lnTo>
                    <a:pt x="209" y="46"/>
                  </a:lnTo>
                  <a:lnTo>
                    <a:pt x="149" y="0"/>
                  </a:lnTo>
                  <a:lnTo>
                    <a:pt x="149" y="46"/>
                  </a:lnTo>
                  <a:lnTo>
                    <a:pt x="75" y="46"/>
                  </a:lnTo>
                  <a:lnTo>
                    <a:pt x="75" y="92"/>
                  </a:lnTo>
                  <a:lnTo>
                    <a:pt x="60" y="92"/>
                  </a:lnTo>
                  <a:lnTo>
                    <a:pt x="60" y="123"/>
                  </a:lnTo>
                  <a:lnTo>
                    <a:pt x="0" y="123"/>
                  </a:lnTo>
                  <a:lnTo>
                    <a:pt x="0" y="139"/>
                  </a:lnTo>
                  <a:lnTo>
                    <a:pt x="0" y="200"/>
                  </a:lnTo>
                  <a:lnTo>
                    <a:pt x="0" y="231"/>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8" name="Freeform 93"/>
            <p:cNvSpPr>
              <a:spLocks/>
            </p:cNvSpPr>
            <p:nvPr/>
          </p:nvSpPr>
          <p:spPr bwMode="auto">
            <a:xfrm>
              <a:off x="1012" y="1686"/>
              <a:ext cx="129" cy="111"/>
            </a:xfrm>
            <a:custGeom>
              <a:avLst/>
              <a:gdLst>
                <a:gd name="T0" fmla="*/ 4 w 299"/>
                <a:gd name="T1" fmla="*/ 1 h 293"/>
                <a:gd name="T2" fmla="*/ 4 w 299"/>
                <a:gd name="T3" fmla="*/ 3 h 293"/>
                <a:gd name="T4" fmla="*/ 3 w 299"/>
                <a:gd name="T5" fmla="*/ 4 h 293"/>
                <a:gd name="T6" fmla="*/ 2 w 299"/>
                <a:gd name="T7" fmla="*/ 4 h 293"/>
                <a:gd name="T8" fmla="*/ 1 w 299"/>
                <a:gd name="T9" fmla="*/ 4 h 293"/>
                <a:gd name="T10" fmla="*/ 0 w 299"/>
                <a:gd name="T11" fmla="*/ 5 h 293"/>
                <a:gd name="T12" fmla="*/ 0 w 299"/>
                <a:gd name="T13" fmla="*/ 5 h 293"/>
                <a:gd name="T14" fmla="*/ 1 w 299"/>
                <a:gd name="T15" fmla="*/ 5 h 293"/>
                <a:gd name="T16" fmla="*/ 3 w 299"/>
                <a:gd name="T17" fmla="*/ 6 h 293"/>
                <a:gd name="T18" fmla="*/ 3 w 299"/>
                <a:gd name="T19" fmla="*/ 6 h 293"/>
                <a:gd name="T20" fmla="*/ 4 w 299"/>
                <a:gd name="T21" fmla="*/ 6 h 293"/>
                <a:gd name="T22" fmla="*/ 5 w 299"/>
                <a:gd name="T23" fmla="*/ 5 h 293"/>
                <a:gd name="T24" fmla="*/ 6 w 299"/>
                <a:gd name="T25" fmla="*/ 5 h 293"/>
                <a:gd name="T26" fmla="*/ 6 w 299"/>
                <a:gd name="T27" fmla="*/ 5 h 293"/>
                <a:gd name="T28" fmla="*/ 8 w 299"/>
                <a:gd name="T29" fmla="*/ 4 h 293"/>
                <a:gd name="T30" fmla="*/ 10 w 299"/>
                <a:gd name="T31" fmla="*/ 4 h 293"/>
                <a:gd name="T32" fmla="*/ 10 w 299"/>
                <a:gd name="T33" fmla="*/ 4 h 293"/>
                <a:gd name="T34" fmla="*/ 10 w 299"/>
                <a:gd name="T35" fmla="*/ 3 h 293"/>
                <a:gd name="T36" fmla="*/ 9 w 299"/>
                <a:gd name="T37" fmla="*/ 3 h 293"/>
                <a:gd name="T38" fmla="*/ 9 w 299"/>
                <a:gd name="T39" fmla="*/ 2 h 293"/>
                <a:gd name="T40" fmla="*/ 5 w 299"/>
                <a:gd name="T41" fmla="*/ 0 h 293"/>
                <a:gd name="T42" fmla="*/ 3 w 299"/>
                <a:gd name="T43" fmla="*/ 0 h 293"/>
                <a:gd name="T44" fmla="*/ 3 w 299"/>
                <a:gd name="T45" fmla="*/ 1 h 293"/>
                <a:gd name="T46" fmla="*/ 4 w 299"/>
                <a:gd name="T47" fmla="*/ 1 h 2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99" h="293">
                  <a:moveTo>
                    <a:pt x="119" y="61"/>
                  </a:moveTo>
                  <a:lnTo>
                    <a:pt x="119" y="169"/>
                  </a:lnTo>
                  <a:lnTo>
                    <a:pt x="104" y="184"/>
                  </a:lnTo>
                  <a:lnTo>
                    <a:pt x="60" y="184"/>
                  </a:lnTo>
                  <a:lnTo>
                    <a:pt x="30" y="184"/>
                  </a:lnTo>
                  <a:lnTo>
                    <a:pt x="0" y="215"/>
                  </a:lnTo>
                  <a:lnTo>
                    <a:pt x="15" y="261"/>
                  </a:lnTo>
                  <a:lnTo>
                    <a:pt x="45" y="261"/>
                  </a:lnTo>
                  <a:lnTo>
                    <a:pt x="75" y="292"/>
                  </a:lnTo>
                  <a:lnTo>
                    <a:pt x="104" y="277"/>
                  </a:lnTo>
                  <a:lnTo>
                    <a:pt x="119" y="292"/>
                  </a:lnTo>
                  <a:lnTo>
                    <a:pt x="149" y="246"/>
                  </a:lnTo>
                  <a:lnTo>
                    <a:pt x="164" y="246"/>
                  </a:lnTo>
                  <a:lnTo>
                    <a:pt x="179" y="231"/>
                  </a:lnTo>
                  <a:lnTo>
                    <a:pt x="224" y="200"/>
                  </a:lnTo>
                  <a:lnTo>
                    <a:pt x="283" y="200"/>
                  </a:lnTo>
                  <a:lnTo>
                    <a:pt x="298" y="184"/>
                  </a:lnTo>
                  <a:lnTo>
                    <a:pt x="298" y="123"/>
                  </a:lnTo>
                  <a:lnTo>
                    <a:pt x="268" y="123"/>
                  </a:lnTo>
                  <a:lnTo>
                    <a:pt x="268" y="108"/>
                  </a:lnTo>
                  <a:lnTo>
                    <a:pt x="134" y="0"/>
                  </a:lnTo>
                  <a:lnTo>
                    <a:pt x="104" y="0"/>
                  </a:lnTo>
                  <a:lnTo>
                    <a:pt x="104" y="46"/>
                  </a:lnTo>
                  <a:lnTo>
                    <a:pt x="119" y="61"/>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69" name="Freeform 94"/>
            <p:cNvSpPr>
              <a:spLocks/>
            </p:cNvSpPr>
            <p:nvPr/>
          </p:nvSpPr>
          <p:spPr bwMode="auto">
            <a:xfrm>
              <a:off x="1063" y="1762"/>
              <a:ext cx="58" cy="47"/>
            </a:xfrm>
            <a:custGeom>
              <a:avLst/>
              <a:gdLst>
                <a:gd name="T0" fmla="*/ 3 w 136"/>
                <a:gd name="T1" fmla="*/ 0 h 124"/>
                <a:gd name="T2" fmla="*/ 2 w 136"/>
                <a:gd name="T3" fmla="*/ 1 h 124"/>
                <a:gd name="T4" fmla="*/ 1 w 136"/>
                <a:gd name="T5" fmla="*/ 1 h 124"/>
                <a:gd name="T6" fmla="*/ 1 w 136"/>
                <a:gd name="T7" fmla="*/ 1 h 124"/>
                <a:gd name="T8" fmla="*/ 0 w 136"/>
                <a:gd name="T9" fmla="*/ 2 h 124"/>
                <a:gd name="T10" fmla="*/ 0 w 136"/>
                <a:gd name="T11" fmla="*/ 3 h 124"/>
                <a:gd name="T12" fmla="*/ 1 w 136"/>
                <a:gd name="T13" fmla="*/ 3 h 124"/>
                <a:gd name="T14" fmla="*/ 1 w 136"/>
                <a:gd name="T15" fmla="*/ 2 h 124"/>
                <a:gd name="T16" fmla="*/ 3 w 136"/>
                <a:gd name="T17" fmla="*/ 2 h 124"/>
                <a:gd name="T18" fmla="*/ 4 w 136"/>
                <a:gd name="T19" fmla="*/ 2 h 124"/>
                <a:gd name="T20" fmla="*/ 5 w 136"/>
                <a:gd name="T21" fmla="*/ 2 h 124"/>
                <a:gd name="T22" fmla="*/ 5 w 136"/>
                <a:gd name="T23" fmla="*/ 1 h 124"/>
                <a:gd name="T24" fmla="*/ 4 w 136"/>
                <a:gd name="T25" fmla="*/ 1 h 124"/>
                <a:gd name="T26" fmla="*/ 3 w 136"/>
                <a:gd name="T27" fmla="*/ 0 h 1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 h="124">
                  <a:moveTo>
                    <a:pt x="105" y="0"/>
                  </a:moveTo>
                  <a:lnTo>
                    <a:pt x="60" y="31"/>
                  </a:lnTo>
                  <a:lnTo>
                    <a:pt x="45" y="46"/>
                  </a:lnTo>
                  <a:lnTo>
                    <a:pt x="30" y="46"/>
                  </a:lnTo>
                  <a:lnTo>
                    <a:pt x="0" y="92"/>
                  </a:lnTo>
                  <a:lnTo>
                    <a:pt x="15" y="123"/>
                  </a:lnTo>
                  <a:lnTo>
                    <a:pt x="45" y="123"/>
                  </a:lnTo>
                  <a:lnTo>
                    <a:pt x="45" y="92"/>
                  </a:lnTo>
                  <a:lnTo>
                    <a:pt x="105" y="77"/>
                  </a:lnTo>
                  <a:lnTo>
                    <a:pt x="120" y="92"/>
                  </a:lnTo>
                  <a:lnTo>
                    <a:pt x="135" y="77"/>
                  </a:lnTo>
                  <a:lnTo>
                    <a:pt x="135" y="62"/>
                  </a:lnTo>
                  <a:lnTo>
                    <a:pt x="120" y="46"/>
                  </a:lnTo>
                  <a:lnTo>
                    <a:pt x="105"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70" name="Freeform 95"/>
            <p:cNvSpPr>
              <a:spLocks/>
            </p:cNvSpPr>
            <p:nvPr/>
          </p:nvSpPr>
          <p:spPr bwMode="auto">
            <a:xfrm>
              <a:off x="685" y="1831"/>
              <a:ext cx="27" cy="24"/>
            </a:xfrm>
            <a:custGeom>
              <a:avLst/>
              <a:gdLst>
                <a:gd name="T0" fmla="*/ 0 w 60"/>
                <a:gd name="T1" fmla="*/ 0 h 62"/>
                <a:gd name="T2" fmla="*/ 0 w 60"/>
                <a:gd name="T3" fmla="*/ 0 h 62"/>
                <a:gd name="T4" fmla="*/ 0 w 60"/>
                <a:gd name="T5" fmla="*/ 1 h 62"/>
                <a:gd name="T6" fmla="*/ 0 w 60"/>
                <a:gd name="T7" fmla="*/ 1 h 62"/>
                <a:gd name="T8" fmla="*/ 1 w 60"/>
                <a:gd name="T9" fmla="*/ 1 h 62"/>
                <a:gd name="T10" fmla="*/ 2 w 60"/>
                <a:gd name="T11" fmla="*/ 0 h 62"/>
                <a:gd name="T12" fmla="*/ 1 w 60"/>
                <a:gd name="T13" fmla="*/ 0 h 62"/>
                <a:gd name="T14" fmla="*/ 0 w 60"/>
                <a:gd name="T15" fmla="*/ 0 h 6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0" h="62">
                  <a:moveTo>
                    <a:pt x="15" y="0"/>
                  </a:moveTo>
                  <a:lnTo>
                    <a:pt x="0" y="15"/>
                  </a:lnTo>
                  <a:lnTo>
                    <a:pt x="15" y="31"/>
                  </a:lnTo>
                  <a:lnTo>
                    <a:pt x="15" y="61"/>
                  </a:lnTo>
                  <a:lnTo>
                    <a:pt x="30" y="61"/>
                  </a:lnTo>
                  <a:lnTo>
                    <a:pt x="59" y="15"/>
                  </a:lnTo>
                  <a:lnTo>
                    <a:pt x="30" y="0"/>
                  </a:lnTo>
                  <a:lnTo>
                    <a:pt x="15"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471" name="Freeform 96"/>
            <p:cNvSpPr>
              <a:spLocks/>
            </p:cNvSpPr>
            <p:nvPr/>
          </p:nvSpPr>
          <p:spPr bwMode="auto">
            <a:xfrm>
              <a:off x="935" y="1762"/>
              <a:ext cx="8" cy="12"/>
            </a:xfrm>
            <a:custGeom>
              <a:avLst/>
              <a:gdLst>
                <a:gd name="T0" fmla="*/ 0 w 17"/>
                <a:gd name="T1" fmla="*/ 0 h 32"/>
                <a:gd name="T2" fmla="*/ 0 w 17"/>
                <a:gd name="T3" fmla="*/ 0 h 32"/>
                <a:gd name="T4" fmla="*/ 1 w 17"/>
                <a:gd name="T5" fmla="*/ 0 h 32"/>
                <a:gd name="T6" fmla="*/ 0 w 17"/>
                <a:gd name="T7" fmla="*/ 1 h 32"/>
                <a:gd name="T8" fmla="*/ 0 w 17"/>
                <a:gd name="T9" fmla="*/ 0 h 32"/>
                <a:gd name="T10" fmla="*/ 0 w 17"/>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32">
                  <a:moveTo>
                    <a:pt x="0" y="0"/>
                  </a:moveTo>
                  <a:lnTo>
                    <a:pt x="0" y="16"/>
                  </a:lnTo>
                  <a:lnTo>
                    <a:pt x="16" y="16"/>
                  </a:lnTo>
                  <a:lnTo>
                    <a:pt x="0" y="31"/>
                  </a:lnTo>
                  <a:lnTo>
                    <a:pt x="0" y="16"/>
                  </a:lnTo>
                  <a:lnTo>
                    <a:pt x="0" y="0"/>
                  </a:lnTo>
                </a:path>
              </a:pathLst>
            </a:custGeom>
            <a:solidFill>
              <a:srgbClr val="FFFF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72" name="Freeform 97"/>
            <p:cNvSpPr>
              <a:spLocks/>
            </p:cNvSpPr>
            <p:nvPr/>
          </p:nvSpPr>
          <p:spPr bwMode="auto">
            <a:xfrm>
              <a:off x="1332" y="1890"/>
              <a:ext cx="14" cy="12"/>
            </a:xfrm>
            <a:custGeom>
              <a:avLst/>
              <a:gdLst>
                <a:gd name="T0" fmla="*/ 0 w 32"/>
                <a:gd name="T1" fmla="*/ 0 h 32"/>
                <a:gd name="T2" fmla="*/ 0 w 32"/>
                <a:gd name="T3" fmla="*/ 1 h 32"/>
                <a:gd name="T4" fmla="*/ 0 w 32"/>
                <a:gd name="T5" fmla="*/ 1 h 32"/>
                <a:gd name="T6" fmla="*/ 1 w 32"/>
                <a:gd name="T7" fmla="*/ 0 h 32"/>
                <a:gd name="T8" fmla="*/ 0 w 32"/>
                <a:gd name="T9" fmla="*/ 0 h 32"/>
                <a:gd name="T10" fmla="*/ 0 w 32"/>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32">
                  <a:moveTo>
                    <a:pt x="0" y="16"/>
                  </a:moveTo>
                  <a:lnTo>
                    <a:pt x="0" y="31"/>
                  </a:lnTo>
                  <a:lnTo>
                    <a:pt x="16" y="31"/>
                  </a:lnTo>
                  <a:lnTo>
                    <a:pt x="31" y="16"/>
                  </a:lnTo>
                  <a:lnTo>
                    <a:pt x="16" y="0"/>
                  </a:lnTo>
                  <a:lnTo>
                    <a:pt x="0" y="1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73" name="Freeform 98"/>
            <p:cNvSpPr>
              <a:spLocks/>
            </p:cNvSpPr>
            <p:nvPr/>
          </p:nvSpPr>
          <p:spPr bwMode="auto">
            <a:xfrm>
              <a:off x="1269" y="1930"/>
              <a:ext cx="89" cy="76"/>
            </a:xfrm>
            <a:custGeom>
              <a:avLst/>
              <a:gdLst>
                <a:gd name="T0" fmla="*/ 1 w 209"/>
                <a:gd name="T1" fmla="*/ 1 h 202"/>
                <a:gd name="T2" fmla="*/ 1 w 209"/>
                <a:gd name="T3" fmla="*/ 2 h 202"/>
                <a:gd name="T4" fmla="*/ 0 w 209"/>
                <a:gd name="T5" fmla="*/ 2 h 202"/>
                <a:gd name="T6" fmla="*/ 0 w 209"/>
                <a:gd name="T7" fmla="*/ 3 h 202"/>
                <a:gd name="T8" fmla="*/ 1 w 209"/>
                <a:gd name="T9" fmla="*/ 4 h 202"/>
                <a:gd name="T10" fmla="*/ 2 w 209"/>
                <a:gd name="T11" fmla="*/ 4 h 202"/>
                <a:gd name="T12" fmla="*/ 2 w 209"/>
                <a:gd name="T13" fmla="*/ 4 h 202"/>
                <a:gd name="T14" fmla="*/ 3 w 209"/>
                <a:gd name="T15" fmla="*/ 4 h 202"/>
                <a:gd name="T16" fmla="*/ 4 w 209"/>
                <a:gd name="T17" fmla="*/ 3 h 202"/>
                <a:gd name="T18" fmla="*/ 4 w 209"/>
                <a:gd name="T19" fmla="*/ 3 h 202"/>
                <a:gd name="T20" fmla="*/ 4 w 209"/>
                <a:gd name="T21" fmla="*/ 3 h 202"/>
                <a:gd name="T22" fmla="*/ 5 w 209"/>
                <a:gd name="T23" fmla="*/ 3 h 202"/>
                <a:gd name="T24" fmla="*/ 7 w 209"/>
                <a:gd name="T25" fmla="*/ 3 h 202"/>
                <a:gd name="T26" fmla="*/ 6 w 209"/>
                <a:gd name="T27" fmla="*/ 3 h 202"/>
                <a:gd name="T28" fmla="*/ 7 w 209"/>
                <a:gd name="T29" fmla="*/ 2 h 202"/>
                <a:gd name="T30" fmla="*/ 7 w 209"/>
                <a:gd name="T31" fmla="*/ 1 h 202"/>
                <a:gd name="T32" fmla="*/ 7 w 209"/>
                <a:gd name="T33" fmla="*/ 1 h 202"/>
                <a:gd name="T34" fmla="*/ 6 w 209"/>
                <a:gd name="T35" fmla="*/ 0 h 202"/>
                <a:gd name="T36" fmla="*/ 4 w 209"/>
                <a:gd name="T37" fmla="*/ 0 h 202"/>
                <a:gd name="T38" fmla="*/ 4 w 209"/>
                <a:gd name="T39" fmla="*/ 1 h 202"/>
                <a:gd name="T40" fmla="*/ 4 w 209"/>
                <a:gd name="T41" fmla="*/ 1 h 202"/>
                <a:gd name="T42" fmla="*/ 5 w 209"/>
                <a:gd name="T43" fmla="*/ 2 h 202"/>
                <a:gd name="T44" fmla="*/ 5 w 209"/>
                <a:gd name="T45" fmla="*/ 2 h 202"/>
                <a:gd name="T46" fmla="*/ 4 w 209"/>
                <a:gd name="T47" fmla="*/ 2 h 202"/>
                <a:gd name="T48" fmla="*/ 3 w 209"/>
                <a:gd name="T49" fmla="*/ 2 h 202"/>
                <a:gd name="T50" fmla="*/ 1 w 209"/>
                <a:gd name="T51" fmla="*/ 1 h 2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9" h="202">
                  <a:moveTo>
                    <a:pt x="45" y="62"/>
                  </a:moveTo>
                  <a:lnTo>
                    <a:pt x="45" y="93"/>
                  </a:lnTo>
                  <a:lnTo>
                    <a:pt x="15" y="93"/>
                  </a:lnTo>
                  <a:lnTo>
                    <a:pt x="0" y="170"/>
                  </a:lnTo>
                  <a:lnTo>
                    <a:pt x="30" y="186"/>
                  </a:lnTo>
                  <a:lnTo>
                    <a:pt x="59" y="186"/>
                  </a:lnTo>
                  <a:lnTo>
                    <a:pt x="59" y="201"/>
                  </a:lnTo>
                  <a:lnTo>
                    <a:pt x="89" y="201"/>
                  </a:lnTo>
                  <a:lnTo>
                    <a:pt x="119" y="170"/>
                  </a:lnTo>
                  <a:lnTo>
                    <a:pt x="134" y="170"/>
                  </a:lnTo>
                  <a:lnTo>
                    <a:pt x="134" y="139"/>
                  </a:lnTo>
                  <a:lnTo>
                    <a:pt x="163" y="155"/>
                  </a:lnTo>
                  <a:lnTo>
                    <a:pt x="208" y="124"/>
                  </a:lnTo>
                  <a:lnTo>
                    <a:pt x="193" y="124"/>
                  </a:lnTo>
                  <a:lnTo>
                    <a:pt x="208" y="93"/>
                  </a:lnTo>
                  <a:lnTo>
                    <a:pt x="208" y="62"/>
                  </a:lnTo>
                  <a:lnTo>
                    <a:pt x="208" y="31"/>
                  </a:lnTo>
                  <a:lnTo>
                    <a:pt x="178" y="0"/>
                  </a:lnTo>
                  <a:lnTo>
                    <a:pt x="134" y="15"/>
                  </a:lnTo>
                  <a:lnTo>
                    <a:pt x="134" y="46"/>
                  </a:lnTo>
                  <a:lnTo>
                    <a:pt x="119" y="62"/>
                  </a:lnTo>
                  <a:lnTo>
                    <a:pt x="149" y="77"/>
                  </a:lnTo>
                  <a:lnTo>
                    <a:pt x="149" y="108"/>
                  </a:lnTo>
                  <a:lnTo>
                    <a:pt x="134" y="108"/>
                  </a:lnTo>
                  <a:lnTo>
                    <a:pt x="104" y="77"/>
                  </a:lnTo>
                  <a:lnTo>
                    <a:pt x="45" y="62"/>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74" name="Freeform 99"/>
            <p:cNvSpPr>
              <a:spLocks/>
            </p:cNvSpPr>
            <p:nvPr/>
          </p:nvSpPr>
          <p:spPr bwMode="auto">
            <a:xfrm>
              <a:off x="1198" y="1913"/>
              <a:ext cx="90" cy="93"/>
            </a:xfrm>
            <a:custGeom>
              <a:avLst/>
              <a:gdLst>
                <a:gd name="T0" fmla="*/ 0 w 209"/>
                <a:gd name="T1" fmla="*/ 4 h 248"/>
                <a:gd name="T2" fmla="*/ 0 w 209"/>
                <a:gd name="T3" fmla="*/ 4 h 248"/>
                <a:gd name="T4" fmla="*/ 1 w 209"/>
                <a:gd name="T5" fmla="*/ 5 h 248"/>
                <a:gd name="T6" fmla="*/ 3 w 209"/>
                <a:gd name="T7" fmla="*/ 5 h 248"/>
                <a:gd name="T8" fmla="*/ 6 w 209"/>
                <a:gd name="T9" fmla="*/ 5 h 248"/>
                <a:gd name="T10" fmla="*/ 7 w 209"/>
                <a:gd name="T11" fmla="*/ 5 h 248"/>
                <a:gd name="T12" fmla="*/ 6 w 209"/>
                <a:gd name="T13" fmla="*/ 4 h 248"/>
                <a:gd name="T14" fmla="*/ 6 w 209"/>
                <a:gd name="T15" fmla="*/ 3 h 248"/>
                <a:gd name="T16" fmla="*/ 7 w 209"/>
                <a:gd name="T17" fmla="*/ 3 h 248"/>
                <a:gd name="T18" fmla="*/ 7 w 209"/>
                <a:gd name="T19" fmla="*/ 2 h 248"/>
                <a:gd name="T20" fmla="*/ 6 w 209"/>
                <a:gd name="T21" fmla="*/ 2 h 248"/>
                <a:gd name="T22" fmla="*/ 6 w 209"/>
                <a:gd name="T23" fmla="*/ 1 h 248"/>
                <a:gd name="T24" fmla="*/ 5 w 209"/>
                <a:gd name="T25" fmla="*/ 1 h 248"/>
                <a:gd name="T26" fmla="*/ 5 w 209"/>
                <a:gd name="T27" fmla="*/ 1 h 248"/>
                <a:gd name="T28" fmla="*/ 3 w 209"/>
                <a:gd name="T29" fmla="*/ 1 h 248"/>
                <a:gd name="T30" fmla="*/ 3 w 209"/>
                <a:gd name="T31" fmla="*/ 0 h 248"/>
                <a:gd name="T32" fmla="*/ 3 w 209"/>
                <a:gd name="T33" fmla="*/ 0 h 248"/>
                <a:gd name="T34" fmla="*/ 0 w 209"/>
                <a:gd name="T35" fmla="*/ 0 h 248"/>
                <a:gd name="T36" fmla="*/ 1 w 209"/>
                <a:gd name="T37" fmla="*/ 1 h 248"/>
                <a:gd name="T38" fmla="*/ 0 w 209"/>
                <a:gd name="T39" fmla="*/ 1 h 248"/>
                <a:gd name="T40" fmla="*/ 1 w 209"/>
                <a:gd name="T41" fmla="*/ 2 h 248"/>
                <a:gd name="T42" fmla="*/ 1 w 209"/>
                <a:gd name="T43" fmla="*/ 3 h 248"/>
                <a:gd name="T44" fmla="*/ 0 w 209"/>
                <a:gd name="T45" fmla="*/ 3 h 248"/>
                <a:gd name="T46" fmla="*/ 0 w 209"/>
                <a:gd name="T47" fmla="*/ 3 h 248"/>
                <a:gd name="T48" fmla="*/ 0 w 209"/>
                <a:gd name="T49" fmla="*/ 4 h 2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09" h="248">
                  <a:moveTo>
                    <a:pt x="0" y="216"/>
                  </a:moveTo>
                  <a:lnTo>
                    <a:pt x="15" y="216"/>
                  </a:lnTo>
                  <a:lnTo>
                    <a:pt x="30" y="232"/>
                  </a:lnTo>
                  <a:lnTo>
                    <a:pt x="104" y="232"/>
                  </a:lnTo>
                  <a:lnTo>
                    <a:pt x="163" y="247"/>
                  </a:lnTo>
                  <a:lnTo>
                    <a:pt x="193" y="232"/>
                  </a:lnTo>
                  <a:lnTo>
                    <a:pt x="163" y="216"/>
                  </a:lnTo>
                  <a:lnTo>
                    <a:pt x="178" y="139"/>
                  </a:lnTo>
                  <a:lnTo>
                    <a:pt x="208" y="139"/>
                  </a:lnTo>
                  <a:lnTo>
                    <a:pt x="208" y="108"/>
                  </a:lnTo>
                  <a:lnTo>
                    <a:pt x="178" y="108"/>
                  </a:lnTo>
                  <a:lnTo>
                    <a:pt x="163" y="31"/>
                  </a:lnTo>
                  <a:lnTo>
                    <a:pt x="134" y="31"/>
                  </a:lnTo>
                  <a:lnTo>
                    <a:pt x="134" y="46"/>
                  </a:lnTo>
                  <a:lnTo>
                    <a:pt x="89" y="46"/>
                  </a:lnTo>
                  <a:lnTo>
                    <a:pt x="89" y="15"/>
                  </a:lnTo>
                  <a:lnTo>
                    <a:pt x="74" y="0"/>
                  </a:lnTo>
                  <a:lnTo>
                    <a:pt x="15" y="15"/>
                  </a:lnTo>
                  <a:lnTo>
                    <a:pt x="30" y="46"/>
                  </a:lnTo>
                  <a:lnTo>
                    <a:pt x="15" y="62"/>
                  </a:lnTo>
                  <a:lnTo>
                    <a:pt x="30" y="108"/>
                  </a:lnTo>
                  <a:lnTo>
                    <a:pt x="30" y="124"/>
                  </a:lnTo>
                  <a:lnTo>
                    <a:pt x="15" y="139"/>
                  </a:lnTo>
                  <a:lnTo>
                    <a:pt x="0" y="170"/>
                  </a:lnTo>
                  <a:lnTo>
                    <a:pt x="0" y="21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75" name="Freeform 100"/>
            <p:cNvSpPr>
              <a:spLocks/>
            </p:cNvSpPr>
            <p:nvPr/>
          </p:nvSpPr>
          <p:spPr bwMode="auto">
            <a:xfrm>
              <a:off x="1351" y="1941"/>
              <a:ext cx="27" cy="65"/>
            </a:xfrm>
            <a:custGeom>
              <a:avLst/>
              <a:gdLst>
                <a:gd name="T0" fmla="*/ 0 w 62"/>
                <a:gd name="T1" fmla="*/ 0 h 171"/>
                <a:gd name="T2" fmla="*/ 0 w 62"/>
                <a:gd name="T3" fmla="*/ 1 h 171"/>
                <a:gd name="T4" fmla="*/ 0 w 62"/>
                <a:gd name="T5" fmla="*/ 1 h 171"/>
                <a:gd name="T6" fmla="*/ 0 w 62"/>
                <a:gd name="T7" fmla="*/ 2 h 171"/>
                <a:gd name="T8" fmla="*/ 0 w 62"/>
                <a:gd name="T9" fmla="*/ 2 h 171"/>
                <a:gd name="T10" fmla="*/ 1 w 62"/>
                <a:gd name="T11" fmla="*/ 2 h 171"/>
                <a:gd name="T12" fmla="*/ 1 w 62"/>
                <a:gd name="T13" fmla="*/ 3 h 171"/>
                <a:gd name="T14" fmla="*/ 2 w 62"/>
                <a:gd name="T15" fmla="*/ 4 h 171"/>
                <a:gd name="T16" fmla="*/ 2 w 62"/>
                <a:gd name="T17" fmla="*/ 3 h 171"/>
                <a:gd name="T18" fmla="*/ 2 w 62"/>
                <a:gd name="T19" fmla="*/ 3 h 171"/>
                <a:gd name="T20" fmla="*/ 2 w 62"/>
                <a:gd name="T21" fmla="*/ 2 h 171"/>
                <a:gd name="T22" fmla="*/ 2 w 62"/>
                <a:gd name="T23" fmla="*/ 2 h 171"/>
                <a:gd name="T24" fmla="*/ 1 w 62"/>
                <a:gd name="T25" fmla="*/ 1 h 171"/>
                <a:gd name="T26" fmla="*/ 1 w 62"/>
                <a:gd name="T27" fmla="*/ 1 h 171"/>
                <a:gd name="T28" fmla="*/ 1 w 62"/>
                <a:gd name="T29" fmla="*/ 0 h 171"/>
                <a:gd name="T30" fmla="*/ 0 w 62"/>
                <a:gd name="T31" fmla="*/ 0 h 1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2" h="171">
                  <a:moveTo>
                    <a:pt x="15" y="0"/>
                  </a:moveTo>
                  <a:lnTo>
                    <a:pt x="15" y="31"/>
                  </a:lnTo>
                  <a:lnTo>
                    <a:pt x="15" y="62"/>
                  </a:lnTo>
                  <a:lnTo>
                    <a:pt x="0" y="93"/>
                  </a:lnTo>
                  <a:lnTo>
                    <a:pt x="15" y="93"/>
                  </a:lnTo>
                  <a:lnTo>
                    <a:pt x="31" y="108"/>
                  </a:lnTo>
                  <a:lnTo>
                    <a:pt x="31" y="139"/>
                  </a:lnTo>
                  <a:lnTo>
                    <a:pt x="46" y="170"/>
                  </a:lnTo>
                  <a:lnTo>
                    <a:pt x="46" y="155"/>
                  </a:lnTo>
                  <a:lnTo>
                    <a:pt x="61" y="139"/>
                  </a:lnTo>
                  <a:lnTo>
                    <a:pt x="61" y="93"/>
                  </a:lnTo>
                  <a:lnTo>
                    <a:pt x="46" y="93"/>
                  </a:lnTo>
                  <a:lnTo>
                    <a:pt x="31" y="62"/>
                  </a:lnTo>
                  <a:lnTo>
                    <a:pt x="31" y="31"/>
                  </a:lnTo>
                  <a:lnTo>
                    <a:pt x="31" y="15"/>
                  </a:lnTo>
                  <a:lnTo>
                    <a:pt x="15"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76" name="Freeform 101"/>
            <p:cNvSpPr>
              <a:spLocks/>
            </p:cNvSpPr>
            <p:nvPr/>
          </p:nvSpPr>
          <p:spPr bwMode="auto">
            <a:xfrm>
              <a:off x="1198" y="1837"/>
              <a:ext cx="148" cy="135"/>
            </a:xfrm>
            <a:custGeom>
              <a:avLst/>
              <a:gdLst>
                <a:gd name="T0" fmla="*/ 6 w 344"/>
                <a:gd name="T1" fmla="*/ 5 h 354"/>
                <a:gd name="T2" fmla="*/ 6 w 344"/>
                <a:gd name="T3" fmla="*/ 6 h 354"/>
                <a:gd name="T4" fmla="*/ 7 w 344"/>
                <a:gd name="T5" fmla="*/ 6 h 354"/>
                <a:gd name="T6" fmla="*/ 9 w 344"/>
                <a:gd name="T7" fmla="*/ 7 h 354"/>
                <a:gd name="T8" fmla="*/ 10 w 344"/>
                <a:gd name="T9" fmla="*/ 7 h 354"/>
                <a:gd name="T10" fmla="*/ 11 w 344"/>
                <a:gd name="T11" fmla="*/ 7 h 354"/>
                <a:gd name="T12" fmla="*/ 11 w 344"/>
                <a:gd name="T13" fmla="*/ 7 h 354"/>
                <a:gd name="T14" fmla="*/ 9 w 344"/>
                <a:gd name="T15" fmla="*/ 6 h 354"/>
                <a:gd name="T16" fmla="*/ 10 w 344"/>
                <a:gd name="T17" fmla="*/ 6 h 354"/>
                <a:gd name="T18" fmla="*/ 10 w 344"/>
                <a:gd name="T19" fmla="*/ 5 h 354"/>
                <a:gd name="T20" fmla="*/ 12 w 344"/>
                <a:gd name="T21" fmla="*/ 5 h 354"/>
                <a:gd name="T22" fmla="*/ 11 w 344"/>
                <a:gd name="T23" fmla="*/ 5 h 354"/>
                <a:gd name="T24" fmla="*/ 11 w 344"/>
                <a:gd name="T25" fmla="*/ 5 h 354"/>
                <a:gd name="T26" fmla="*/ 10 w 344"/>
                <a:gd name="T27" fmla="*/ 3 h 354"/>
                <a:gd name="T28" fmla="*/ 11 w 344"/>
                <a:gd name="T29" fmla="*/ 3 h 354"/>
                <a:gd name="T30" fmla="*/ 11 w 344"/>
                <a:gd name="T31" fmla="*/ 3 h 354"/>
                <a:gd name="T32" fmla="*/ 11 w 344"/>
                <a:gd name="T33" fmla="*/ 2 h 354"/>
                <a:gd name="T34" fmla="*/ 11 w 344"/>
                <a:gd name="T35" fmla="*/ 2 h 354"/>
                <a:gd name="T36" fmla="*/ 11 w 344"/>
                <a:gd name="T37" fmla="*/ 2 h 354"/>
                <a:gd name="T38" fmla="*/ 12 w 344"/>
                <a:gd name="T39" fmla="*/ 1 h 354"/>
                <a:gd name="T40" fmla="*/ 11 w 344"/>
                <a:gd name="T41" fmla="*/ 1 h 354"/>
                <a:gd name="T42" fmla="*/ 11 w 344"/>
                <a:gd name="T43" fmla="*/ 0 h 354"/>
                <a:gd name="T44" fmla="*/ 9 w 344"/>
                <a:gd name="T45" fmla="*/ 0 h 354"/>
                <a:gd name="T46" fmla="*/ 9 w 344"/>
                <a:gd name="T47" fmla="*/ 0 h 354"/>
                <a:gd name="T48" fmla="*/ 8 w 344"/>
                <a:gd name="T49" fmla="*/ 0 h 354"/>
                <a:gd name="T50" fmla="*/ 6 w 344"/>
                <a:gd name="T51" fmla="*/ 0 h 354"/>
                <a:gd name="T52" fmla="*/ 6 w 344"/>
                <a:gd name="T53" fmla="*/ 0 h 354"/>
                <a:gd name="T54" fmla="*/ 5 w 344"/>
                <a:gd name="T55" fmla="*/ 0 h 354"/>
                <a:gd name="T56" fmla="*/ 4 w 344"/>
                <a:gd name="T57" fmla="*/ 0 h 354"/>
                <a:gd name="T58" fmla="*/ 3 w 344"/>
                <a:gd name="T59" fmla="*/ 1 h 354"/>
                <a:gd name="T60" fmla="*/ 3 w 344"/>
                <a:gd name="T61" fmla="*/ 1 h 354"/>
                <a:gd name="T62" fmla="*/ 3 w 344"/>
                <a:gd name="T63" fmla="*/ 2 h 354"/>
                <a:gd name="T64" fmla="*/ 3 w 344"/>
                <a:gd name="T65" fmla="*/ 3 h 354"/>
                <a:gd name="T66" fmla="*/ 2 w 344"/>
                <a:gd name="T67" fmla="*/ 3 h 354"/>
                <a:gd name="T68" fmla="*/ 1 w 344"/>
                <a:gd name="T69" fmla="*/ 4 h 354"/>
                <a:gd name="T70" fmla="*/ 0 w 344"/>
                <a:gd name="T71" fmla="*/ 4 h 354"/>
                <a:gd name="T72" fmla="*/ 0 w 344"/>
                <a:gd name="T73" fmla="*/ 4 h 354"/>
                <a:gd name="T74" fmla="*/ 0 w 344"/>
                <a:gd name="T75" fmla="*/ 5 h 354"/>
                <a:gd name="T76" fmla="*/ 3 w 344"/>
                <a:gd name="T77" fmla="*/ 4 h 354"/>
                <a:gd name="T78" fmla="*/ 3 w 344"/>
                <a:gd name="T79" fmla="*/ 5 h 354"/>
                <a:gd name="T80" fmla="*/ 3 w 344"/>
                <a:gd name="T81" fmla="*/ 5 h 354"/>
                <a:gd name="T82" fmla="*/ 5 w 344"/>
                <a:gd name="T83" fmla="*/ 5 h 354"/>
                <a:gd name="T84" fmla="*/ 5 w 344"/>
                <a:gd name="T85" fmla="*/ 5 h 354"/>
                <a:gd name="T86" fmla="*/ 6 w 344"/>
                <a:gd name="T87" fmla="*/ 5 h 3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44" h="354">
                  <a:moveTo>
                    <a:pt x="164" y="230"/>
                  </a:moveTo>
                  <a:lnTo>
                    <a:pt x="179" y="307"/>
                  </a:lnTo>
                  <a:lnTo>
                    <a:pt x="209" y="307"/>
                  </a:lnTo>
                  <a:lnTo>
                    <a:pt x="268" y="322"/>
                  </a:lnTo>
                  <a:lnTo>
                    <a:pt x="298" y="353"/>
                  </a:lnTo>
                  <a:lnTo>
                    <a:pt x="313" y="353"/>
                  </a:lnTo>
                  <a:lnTo>
                    <a:pt x="313" y="322"/>
                  </a:lnTo>
                  <a:lnTo>
                    <a:pt x="283" y="307"/>
                  </a:lnTo>
                  <a:lnTo>
                    <a:pt x="298" y="292"/>
                  </a:lnTo>
                  <a:lnTo>
                    <a:pt x="298" y="261"/>
                  </a:lnTo>
                  <a:lnTo>
                    <a:pt x="343" y="246"/>
                  </a:lnTo>
                  <a:lnTo>
                    <a:pt x="328" y="230"/>
                  </a:lnTo>
                  <a:lnTo>
                    <a:pt x="313" y="215"/>
                  </a:lnTo>
                  <a:lnTo>
                    <a:pt x="298" y="169"/>
                  </a:lnTo>
                  <a:lnTo>
                    <a:pt x="313" y="169"/>
                  </a:lnTo>
                  <a:lnTo>
                    <a:pt x="313" y="153"/>
                  </a:lnTo>
                  <a:lnTo>
                    <a:pt x="313" y="107"/>
                  </a:lnTo>
                  <a:lnTo>
                    <a:pt x="313" y="77"/>
                  </a:lnTo>
                  <a:lnTo>
                    <a:pt x="328" y="77"/>
                  </a:lnTo>
                  <a:lnTo>
                    <a:pt x="343" y="61"/>
                  </a:lnTo>
                  <a:lnTo>
                    <a:pt x="328" y="31"/>
                  </a:lnTo>
                  <a:lnTo>
                    <a:pt x="313" y="15"/>
                  </a:lnTo>
                  <a:lnTo>
                    <a:pt x="283" y="15"/>
                  </a:lnTo>
                  <a:lnTo>
                    <a:pt x="268" y="0"/>
                  </a:lnTo>
                  <a:lnTo>
                    <a:pt x="239" y="0"/>
                  </a:lnTo>
                  <a:lnTo>
                    <a:pt x="194" y="0"/>
                  </a:lnTo>
                  <a:lnTo>
                    <a:pt x="179" y="15"/>
                  </a:lnTo>
                  <a:lnTo>
                    <a:pt x="134" y="0"/>
                  </a:lnTo>
                  <a:lnTo>
                    <a:pt x="119" y="0"/>
                  </a:lnTo>
                  <a:lnTo>
                    <a:pt x="104" y="31"/>
                  </a:lnTo>
                  <a:lnTo>
                    <a:pt x="104" y="61"/>
                  </a:lnTo>
                  <a:lnTo>
                    <a:pt x="104" y="107"/>
                  </a:lnTo>
                  <a:lnTo>
                    <a:pt x="75" y="123"/>
                  </a:lnTo>
                  <a:lnTo>
                    <a:pt x="60" y="169"/>
                  </a:lnTo>
                  <a:lnTo>
                    <a:pt x="45" y="184"/>
                  </a:lnTo>
                  <a:lnTo>
                    <a:pt x="15" y="184"/>
                  </a:lnTo>
                  <a:lnTo>
                    <a:pt x="0" y="200"/>
                  </a:lnTo>
                  <a:lnTo>
                    <a:pt x="15" y="215"/>
                  </a:lnTo>
                  <a:lnTo>
                    <a:pt x="75" y="200"/>
                  </a:lnTo>
                  <a:lnTo>
                    <a:pt x="89" y="215"/>
                  </a:lnTo>
                  <a:lnTo>
                    <a:pt x="89" y="246"/>
                  </a:lnTo>
                  <a:lnTo>
                    <a:pt x="134" y="246"/>
                  </a:lnTo>
                  <a:lnTo>
                    <a:pt x="134" y="230"/>
                  </a:lnTo>
                  <a:lnTo>
                    <a:pt x="164" y="23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77" name="Freeform 102"/>
            <p:cNvSpPr>
              <a:spLocks/>
            </p:cNvSpPr>
            <p:nvPr/>
          </p:nvSpPr>
          <p:spPr bwMode="auto">
            <a:xfrm>
              <a:off x="1198" y="1907"/>
              <a:ext cx="7"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16"/>
                  </a:moveTo>
                  <a:lnTo>
                    <a:pt x="16" y="0"/>
                  </a:lnTo>
                  <a:lnTo>
                    <a:pt x="0" y="0"/>
                  </a:lnTo>
                  <a:lnTo>
                    <a:pt x="0" y="1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78" name="Freeform 103"/>
            <p:cNvSpPr>
              <a:spLocks/>
            </p:cNvSpPr>
            <p:nvPr/>
          </p:nvSpPr>
          <p:spPr bwMode="auto">
            <a:xfrm>
              <a:off x="538" y="1831"/>
              <a:ext cx="301" cy="297"/>
            </a:xfrm>
            <a:custGeom>
              <a:avLst/>
              <a:gdLst>
                <a:gd name="T0" fmla="*/ 14 w 702"/>
                <a:gd name="T1" fmla="*/ 16 h 784"/>
                <a:gd name="T2" fmla="*/ 12 w 702"/>
                <a:gd name="T3" fmla="*/ 15 h 784"/>
                <a:gd name="T4" fmla="*/ 13 w 702"/>
                <a:gd name="T5" fmla="*/ 13 h 784"/>
                <a:gd name="T6" fmla="*/ 12 w 702"/>
                <a:gd name="T7" fmla="*/ 13 h 784"/>
                <a:gd name="T8" fmla="*/ 12 w 702"/>
                <a:gd name="T9" fmla="*/ 12 h 784"/>
                <a:gd name="T10" fmla="*/ 11 w 702"/>
                <a:gd name="T11" fmla="*/ 11 h 784"/>
                <a:gd name="T12" fmla="*/ 10 w 702"/>
                <a:gd name="T13" fmla="*/ 11 h 784"/>
                <a:gd name="T14" fmla="*/ 10 w 702"/>
                <a:gd name="T15" fmla="*/ 9 h 784"/>
                <a:gd name="T16" fmla="*/ 9 w 702"/>
                <a:gd name="T17" fmla="*/ 9 h 784"/>
                <a:gd name="T18" fmla="*/ 6 w 702"/>
                <a:gd name="T19" fmla="*/ 7 h 784"/>
                <a:gd name="T20" fmla="*/ 5 w 702"/>
                <a:gd name="T21" fmla="*/ 7 h 784"/>
                <a:gd name="T22" fmla="*/ 4 w 702"/>
                <a:gd name="T23" fmla="*/ 6 h 784"/>
                <a:gd name="T24" fmla="*/ 3 w 702"/>
                <a:gd name="T25" fmla="*/ 7 h 784"/>
                <a:gd name="T26" fmla="*/ 3 w 702"/>
                <a:gd name="T27" fmla="*/ 6 h 784"/>
                <a:gd name="T28" fmla="*/ 1 w 702"/>
                <a:gd name="T29" fmla="*/ 6 h 784"/>
                <a:gd name="T30" fmla="*/ 0 w 702"/>
                <a:gd name="T31" fmla="*/ 6 h 784"/>
                <a:gd name="T32" fmla="*/ 0 w 702"/>
                <a:gd name="T33" fmla="*/ 5 h 784"/>
                <a:gd name="T34" fmla="*/ 3 w 702"/>
                <a:gd name="T35" fmla="*/ 4 h 784"/>
                <a:gd name="T36" fmla="*/ 3 w 702"/>
                <a:gd name="T37" fmla="*/ 3 h 784"/>
                <a:gd name="T38" fmla="*/ 3 w 702"/>
                <a:gd name="T39" fmla="*/ 2 h 784"/>
                <a:gd name="T40" fmla="*/ 2 w 702"/>
                <a:gd name="T41" fmla="*/ 2 h 784"/>
                <a:gd name="T42" fmla="*/ 3 w 702"/>
                <a:gd name="T43" fmla="*/ 1 h 784"/>
                <a:gd name="T44" fmla="*/ 4 w 702"/>
                <a:gd name="T45" fmla="*/ 2 h 784"/>
                <a:gd name="T46" fmla="*/ 6 w 702"/>
                <a:gd name="T47" fmla="*/ 2 h 784"/>
                <a:gd name="T48" fmla="*/ 5 w 702"/>
                <a:gd name="T49" fmla="*/ 1 h 784"/>
                <a:gd name="T50" fmla="*/ 6 w 702"/>
                <a:gd name="T51" fmla="*/ 1 h 784"/>
                <a:gd name="T52" fmla="*/ 8 w 702"/>
                <a:gd name="T53" fmla="*/ 0 h 784"/>
                <a:gd name="T54" fmla="*/ 9 w 702"/>
                <a:gd name="T55" fmla="*/ 1 h 784"/>
                <a:gd name="T56" fmla="*/ 10 w 702"/>
                <a:gd name="T57" fmla="*/ 1 h 784"/>
                <a:gd name="T58" fmla="*/ 10 w 702"/>
                <a:gd name="T59" fmla="*/ 1 h 784"/>
                <a:gd name="T60" fmla="*/ 13 w 702"/>
                <a:gd name="T61" fmla="*/ 1 h 784"/>
                <a:gd name="T62" fmla="*/ 14 w 702"/>
                <a:gd name="T63" fmla="*/ 1 h 784"/>
                <a:gd name="T64" fmla="*/ 14 w 702"/>
                <a:gd name="T65" fmla="*/ 2 h 784"/>
                <a:gd name="T66" fmla="*/ 14 w 702"/>
                <a:gd name="T67" fmla="*/ 3 h 784"/>
                <a:gd name="T68" fmla="*/ 15 w 702"/>
                <a:gd name="T69" fmla="*/ 3 h 784"/>
                <a:gd name="T70" fmla="*/ 15 w 702"/>
                <a:gd name="T71" fmla="*/ 3 h 784"/>
                <a:gd name="T72" fmla="*/ 18 w 702"/>
                <a:gd name="T73" fmla="*/ 3 h 784"/>
                <a:gd name="T74" fmla="*/ 18 w 702"/>
                <a:gd name="T75" fmla="*/ 3 h 784"/>
                <a:gd name="T76" fmla="*/ 20 w 702"/>
                <a:gd name="T77" fmla="*/ 3 h 784"/>
                <a:gd name="T78" fmla="*/ 21 w 702"/>
                <a:gd name="T79" fmla="*/ 3 h 784"/>
                <a:gd name="T80" fmla="*/ 24 w 702"/>
                <a:gd name="T81" fmla="*/ 5 h 784"/>
                <a:gd name="T82" fmla="*/ 23 w 702"/>
                <a:gd name="T83" fmla="*/ 6 h 784"/>
                <a:gd name="T84" fmla="*/ 21 w 702"/>
                <a:gd name="T85" fmla="*/ 9 h 784"/>
                <a:gd name="T86" fmla="*/ 21 w 702"/>
                <a:gd name="T87" fmla="*/ 10 h 784"/>
                <a:gd name="T88" fmla="*/ 21 w 702"/>
                <a:gd name="T89" fmla="*/ 11 h 784"/>
                <a:gd name="T90" fmla="*/ 20 w 702"/>
                <a:gd name="T91" fmla="*/ 11 h 784"/>
                <a:gd name="T92" fmla="*/ 17 w 702"/>
                <a:gd name="T93" fmla="*/ 12 h 784"/>
                <a:gd name="T94" fmla="*/ 15 w 702"/>
                <a:gd name="T95" fmla="*/ 13 h 7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02" h="784">
                  <a:moveTo>
                    <a:pt x="477" y="676"/>
                  </a:moveTo>
                  <a:lnTo>
                    <a:pt x="403" y="783"/>
                  </a:lnTo>
                  <a:lnTo>
                    <a:pt x="388" y="768"/>
                  </a:lnTo>
                  <a:lnTo>
                    <a:pt x="358" y="722"/>
                  </a:lnTo>
                  <a:lnTo>
                    <a:pt x="328" y="706"/>
                  </a:lnTo>
                  <a:lnTo>
                    <a:pt x="388" y="645"/>
                  </a:lnTo>
                  <a:lnTo>
                    <a:pt x="373" y="629"/>
                  </a:lnTo>
                  <a:lnTo>
                    <a:pt x="358" y="614"/>
                  </a:lnTo>
                  <a:lnTo>
                    <a:pt x="373" y="583"/>
                  </a:lnTo>
                  <a:lnTo>
                    <a:pt x="343" y="583"/>
                  </a:lnTo>
                  <a:lnTo>
                    <a:pt x="343" y="553"/>
                  </a:lnTo>
                  <a:lnTo>
                    <a:pt x="328" y="537"/>
                  </a:lnTo>
                  <a:lnTo>
                    <a:pt x="328" y="553"/>
                  </a:lnTo>
                  <a:lnTo>
                    <a:pt x="298" y="553"/>
                  </a:lnTo>
                  <a:lnTo>
                    <a:pt x="298" y="507"/>
                  </a:lnTo>
                  <a:lnTo>
                    <a:pt x="298" y="461"/>
                  </a:lnTo>
                  <a:lnTo>
                    <a:pt x="268" y="430"/>
                  </a:lnTo>
                  <a:lnTo>
                    <a:pt x="254" y="430"/>
                  </a:lnTo>
                  <a:lnTo>
                    <a:pt x="224" y="384"/>
                  </a:lnTo>
                  <a:lnTo>
                    <a:pt x="194" y="353"/>
                  </a:lnTo>
                  <a:lnTo>
                    <a:pt x="179" y="353"/>
                  </a:lnTo>
                  <a:lnTo>
                    <a:pt x="149" y="338"/>
                  </a:lnTo>
                  <a:lnTo>
                    <a:pt x="149" y="307"/>
                  </a:lnTo>
                  <a:lnTo>
                    <a:pt x="134" y="307"/>
                  </a:lnTo>
                  <a:lnTo>
                    <a:pt x="119" y="322"/>
                  </a:lnTo>
                  <a:lnTo>
                    <a:pt x="104" y="338"/>
                  </a:lnTo>
                  <a:lnTo>
                    <a:pt x="89" y="322"/>
                  </a:lnTo>
                  <a:lnTo>
                    <a:pt x="75" y="322"/>
                  </a:lnTo>
                  <a:lnTo>
                    <a:pt x="45" y="322"/>
                  </a:lnTo>
                  <a:lnTo>
                    <a:pt x="45" y="307"/>
                  </a:lnTo>
                  <a:lnTo>
                    <a:pt x="30" y="307"/>
                  </a:lnTo>
                  <a:lnTo>
                    <a:pt x="0" y="276"/>
                  </a:lnTo>
                  <a:lnTo>
                    <a:pt x="0" y="246"/>
                  </a:lnTo>
                  <a:lnTo>
                    <a:pt x="15" y="215"/>
                  </a:lnTo>
                  <a:lnTo>
                    <a:pt x="45" y="184"/>
                  </a:lnTo>
                  <a:lnTo>
                    <a:pt x="75" y="184"/>
                  </a:lnTo>
                  <a:lnTo>
                    <a:pt x="75" y="138"/>
                  </a:lnTo>
                  <a:lnTo>
                    <a:pt x="75" y="123"/>
                  </a:lnTo>
                  <a:lnTo>
                    <a:pt x="75" y="107"/>
                  </a:lnTo>
                  <a:lnTo>
                    <a:pt x="89" y="92"/>
                  </a:lnTo>
                  <a:lnTo>
                    <a:pt x="60" y="92"/>
                  </a:lnTo>
                  <a:lnTo>
                    <a:pt x="60" y="77"/>
                  </a:lnTo>
                  <a:lnTo>
                    <a:pt x="89" y="77"/>
                  </a:lnTo>
                  <a:lnTo>
                    <a:pt x="89" y="61"/>
                  </a:lnTo>
                  <a:lnTo>
                    <a:pt x="104" y="61"/>
                  </a:lnTo>
                  <a:lnTo>
                    <a:pt x="119" y="77"/>
                  </a:lnTo>
                  <a:lnTo>
                    <a:pt x="134" y="77"/>
                  </a:lnTo>
                  <a:lnTo>
                    <a:pt x="164" y="77"/>
                  </a:lnTo>
                  <a:lnTo>
                    <a:pt x="179" y="46"/>
                  </a:lnTo>
                  <a:lnTo>
                    <a:pt x="149" y="31"/>
                  </a:lnTo>
                  <a:lnTo>
                    <a:pt x="164" y="15"/>
                  </a:lnTo>
                  <a:lnTo>
                    <a:pt x="194" y="31"/>
                  </a:lnTo>
                  <a:lnTo>
                    <a:pt x="224" y="15"/>
                  </a:lnTo>
                  <a:lnTo>
                    <a:pt x="239" y="0"/>
                  </a:lnTo>
                  <a:lnTo>
                    <a:pt x="254" y="46"/>
                  </a:lnTo>
                  <a:lnTo>
                    <a:pt x="254" y="61"/>
                  </a:lnTo>
                  <a:lnTo>
                    <a:pt x="268" y="77"/>
                  </a:lnTo>
                  <a:lnTo>
                    <a:pt x="298" y="61"/>
                  </a:lnTo>
                  <a:lnTo>
                    <a:pt x="313" y="61"/>
                  </a:lnTo>
                  <a:lnTo>
                    <a:pt x="313" y="46"/>
                  </a:lnTo>
                  <a:lnTo>
                    <a:pt x="358" y="61"/>
                  </a:lnTo>
                  <a:lnTo>
                    <a:pt x="373" y="61"/>
                  </a:lnTo>
                  <a:lnTo>
                    <a:pt x="403" y="15"/>
                  </a:lnTo>
                  <a:lnTo>
                    <a:pt x="403" y="61"/>
                  </a:lnTo>
                  <a:lnTo>
                    <a:pt x="418" y="77"/>
                  </a:lnTo>
                  <a:lnTo>
                    <a:pt x="403" y="107"/>
                  </a:lnTo>
                  <a:lnTo>
                    <a:pt x="403" y="123"/>
                  </a:lnTo>
                  <a:lnTo>
                    <a:pt x="418" y="123"/>
                  </a:lnTo>
                  <a:lnTo>
                    <a:pt x="447" y="107"/>
                  </a:lnTo>
                  <a:lnTo>
                    <a:pt x="447" y="123"/>
                  </a:lnTo>
                  <a:lnTo>
                    <a:pt x="418" y="138"/>
                  </a:lnTo>
                  <a:lnTo>
                    <a:pt x="433" y="138"/>
                  </a:lnTo>
                  <a:lnTo>
                    <a:pt x="462" y="123"/>
                  </a:lnTo>
                  <a:lnTo>
                    <a:pt x="522" y="123"/>
                  </a:lnTo>
                  <a:lnTo>
                    <a:pt x="522" y="138"/>
                  </a:lnTo>
                  <a:lnTo>
                    <a:pt x="522" y="154"/>
                  </a:lnTo>
                  <a:lnTo>
                    <a:pt x="537" y="154"/>
                  </a:lnTo>
                  <a:lnTo>
                    <a:pt x="582" y="169"/>
                  </a:lnTo>
                  <a:lnTo>
                    <a:pt x="597" y="154"/>
                  </a:lnTo>
                  <a:lnTo>
                    <a:pt x="626" y="169"/>
                  </a:lnTo>
                  <a:lnTo>
                    <a:pt x="686" y="215"/>
                  </a:lnTo>
                  <a:lnTo>
                    <a:pt x="701" y="230"/>
                  </a:lnTo>
                  <a:lnTo>
                    <a:pt x="701" y="261"/>
                  </a:lnTo>
                  <a:lnTo>
                    <a:pt x="671" y="307"/>
                  </a:lnTo>
                  <a:lnTo>
                    <a:pt x="626" y="368"/>
                  </a:lnTo>
                  <a:lnTo>
                    <a:pt x="626" y="445"/>
                  </a:lnTo>
                  <a:lnTo>
                    <a:pt x="626" y="461"/>
                  </a:lnTo>
                  <a:lnTo>
                    <a:pt x="626" y="476"/>
                  </a:lnTo>
                  <a:lnTo>
                    <a:pt x="612" y="491"/>
                  </a:lnTo>
                  <a:lnTo>
                    <a:pt x="612" y="507"/>
                  </a:lnTo>
                  <a:lnTo>
                    <a:pt x="597" y="537"/>
                  </a:lnTo>
                  <a:lnTo>
                    <a:pt x="582" y="553"/>
                  </a:lnTo>
                  <a:lnTo>
                    <a:pt x="537" y="553"/>
                  </a:lnTo>
                  <a:lnTo>
                    <a:pt x="492" y="583"/>
                  </a:lnTo>
                  <a:lnTo>
                    <a:pt x="477" y="614"/>
                  </a:lnTo>
                  <a:lnTo>
                    <a:pt x="462" y="614"/>
                  </a:lnTo>
                  <a:lnTo>
                    <a:pt x="477" y="67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79" name="Freeform 104"/>
            <p:cNvSpPr>
              <a:spLocks/>
            </p:cNvSpPr>
            <p:nvPr/>
          </p:nvSpPr>
          <p:spPr bwMode="auto">
            <a:xfrm>
              <a:off x="717" y="1867"/>
              <a:ext cx="7"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16" y="0"/>
                  </a:moveTo>
                  <a:lnTo>
                    <a:pt x="0" y="16"/>
                  </a:lnTo>
                  <a:lnTo>
                    <a:pt x="0" y="0"/>
                  </a:lnTo>
                  <a:lnTo>
                    <a:pt x="16"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0" name="Freeform 105"/>
            <p:cNvSpPr>
              <a:spLocks/>
            </p:cNvSpPr>
            <p:nvPr/>
          </p:nvSpPr>
          <p:spPr bwMode="auto">
            <a:xfrm>
              <a:off x="1332" y="1843"/>
              <a:ext cx="40" cy="41"/>
            </a:xfrm>
            <a:custGeom>
              <a:avLst/>
              <a:gdLst>
                <a:gd name="T0" fmla="*/ 1 w 92"/>
                <a:gd name="T1" fmla="*/ 1 h 109"/>
                <a:gd name="T2" fmla="*/ 0 w 92"/>
                <a:gd name="T3" fmla="*/ 1 h 109"/>
                <a:gd name="T4" fmla="*/ 0 w 92"/>
                <a:gd name="T5" fmla="*/ 1 h 109"/>
                <a:gd name="T6" fmla="*/ 0 w 92"/>
                <a:gd name="T7" fmla="*/ 2 h 109"/>
                <a:gd name="T8" fmla="*/ 0 w 92"/>
                <a:gd name="T9" fmla="*/ 2 h 109"/>
                <a:gd name="T10" fmla="*/ 2 w 92"/>
                <a:gd name="T11" fmla="*/ 2 h 109"/>
                <a:gd name="T12" fmla="*/ 2 w 92"/>
                <a:gd name="T13" fmla="*/ 2 h 109"/>
                <a:gd name="T14" fmla="*/ 3 w 92"/>
                <a:gd name="T15" fmla="*/ 2 h 109"/>
                <a:gd name="T16" fmla="*/ 3 w 92"/>
                <a:gd name="T17" fmla="*/ 2 h 109"/>
                <a:gd name="T18" fmla="*/ 3 w 92"/>
                <a:gd name="T19" fmla="*/ 1 h 109"/>
                <a:gd name="T20" fmla="*/ 3 w 92"/>
                <a:gd name="T21" fmla="*/ 0 h 109"/>
                <a:gd name="T22" fmla="*/ 3 w 92"/>
                <a:gd name="T23" fmla="*/ 0 h 109"/>
                <a:gd name="T24" fmla="*/ 1 w 92"/>
                <a:gd name="T25" fmla="*/ 0 h 109"/>
                <a:gd name="T26" fmla="*/ 1 w 92"/>
                <a:gd name="T27" fmla="*/ 1 h 109"/>
                <a:gd name="T28" fmla="*/ 1 w 92"/>
                <a:gd name="T29" fmla="*/ 1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2" h="109">
                  <a:moveTo>
                    <a:pt x="30" y="46"/>
                  </a:moveTo>
                  <a:lnTo>
                    <a:pt x="15" y="62"/>
                  </a:lnTo>
                  <a:lnTo>
                    <a:pt x="0" y="62"/>
                  </a:lnTo>
                  <a:lnTo>
                    <a:pt x="0" y="93"/>
                  </a:lnTo>
                  <a:lnTo>
                    <a:pt x="15" y="108"/>
                  </a:lnTo>
                  <a:lnTo>
                    <a:pt x="46" y="108"/>
                  </a:lnTo>
                  <a:lnTo>
                    <a:pt x="61" y="77"/>
                  </a:lnTo>
                  <a:lnTo>
                    <a:pt x="76" y="77"/>
                  </a:lnTo>
                  <a:lnTo>
                    <a:pt x="91" y="77"/>
                  </a:lnTo>
                  <a:lnTo>
                    <a:pt x="91" y="62"/>
                  </a:lnTo>
                  <a:lnTo>
                    <a:pt x="91" y="15"/>
                  </a:lnTo>
                  <a:lnTo>
                    <a:pt x="76" y="0"/>
                  </a:lnTo>
                  <a:lnTo>
                    <a:pt x="30" y="15"/>
                  </a:lnTo>
                  <a:lnTo>
                    <a:pt x="30" y="31"/>
                  </a:lnTo>
                  <a:lnTo>
                    <a:pt x="30" y="4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1" name="Freeform 106"/>
            <p:cNvSpPr>
              <a:spLocks/>
            </p:cNvSpPr>
            <p:nvPr/>
          </p:nvSpPr>
          <p:spPr bwMode="auto">
            <a:xfrm>
              <a:off x="1185" y="1291"/>
              <a:ext cx="78" cy="146"/>
            </a:xfrm>
            <a:custGeom>
              <a:avLst/>
              <a:gdLst>
                <a:gd name="T0" fmla="*/ 0 w 179"/>
                <a:gd name="T1" fmla="*/ 6 h 384"/>
                <a:gd name="T2" fmla="*/ 0 w 179"/>
                <a:gd name="T3" fmla="*/ 6 h 384"/>
                <a:gd name="T4" fmla="*/ 1 w 179"/>
                <a:gd name="T5" fmla="*/ 8 h 384"/>
                <a:gd name="T6" fmla="*/ 2 w 179"/>
                <a:gd name="T7" fmla="*/ 8 h 384"/>
                <a:gd name="T8" fmla="*/ 2 w 179"/>
                <a:gd name="T9" fmla="*/ 7 h 384"/>
                <a:gd name="T10" fmla="*/ 3 w 179"/>
                <a:gd name="T11" fmla="*/ 7 h 384"/>
                <a:gd name="T12" fmla="*/ 3 w 179"/>
                <a:gd name="T13" fmla="*/ 6 h 384"/>
                <a:gd name="T14" fmla="*/ 3 w 179"/>
                <a:gd name="T15" fmla="*/ 6 h 384"/>
                <a:gd name="T16" fmla="*/ 4 w 179"/>
                <a:gd name="T17" fmla="*/ 6 h 384"/>
                <a:gd name="T18" fmla="*/ 4 w 179"/>
                <a:gd name="T19" fmla="*/ 5 h 384"/>
                <a:gd name="T20" fmla="*/ 3 w 179"/>
                <a:gd name="T21" fmla="*/ 5 h 384"/>
                <a:gd name="T22" fmla="*/ 3 w 179"/>
                <a:gd name="T23" fmla="*/ 4 h 384"/>
                <a:gd name="T24" fmla="*/ 3 w 179"/>
                <a:gd name="T25" fmla="*/ 3 h 384"/>
                <a:gd name="T26" fmla="*/ 4 w 179"/>
                <a:gd name="T27" fmla="*/ 3 h 384"/>
                <a:gd name="T28" fmla="*/ 5 w 179"/>
                <a:gd name="T29" fmla="*/ 3 h 384"/>
                <a:gd name="T30" fmla="*/ 5 w 179"/>
                <a:gd name="T31" fmla="*/ 2 h 384"/>
                <a:gd name="T32" fmla="*/ 7 w 179"/>
                <a:gd name="T33" fmla="*/ 2 h 384"/>
                <a:gd name="T34" fmla="*/ 6 w 179"/>
                <a:gd name="T35" fmla="*/ 1 h 384"/>
                <a:gd name="T36" fmla="*/ 5 w 179"/>
                <a:gd name="T37" fmla="*/ 0 h 384"/>
                <a:gd name="T38" fmla="*/ 5 w 179"/>
                <a:gd name="T39" fmla="*/ 0 h 384"/>
                <a:gd name="T40" fmla="*/ 4 w 179"/>
                <a:gd name="T41" fmla="*/ 0 h 384"/>
                <a:gd name="T42" fmla="*/ 4 w 179"/>
                <a:gd name="T43" fmla="*/ 0 h 384"/>
                <a:gd name="T44" fmla="*/ 3 w 179"/>
                <a:gd name="T45" fmla="*/ 0 h 384"/>
                <a:gd name="T46" fmla="*/ 2 w 179"/>
                <a:gd name="T47" fmla="*/ 2 h 384"/>
                <a:gd name="T48" fmla="*/ 0 w 179"/>
                <a:gd name="T49" fmla="*/ 3 h 384"/>
                <a:gd name="T50" fmla="*/ 0 w 179"/>
                <a:gd name="T51" fmla="*/ 5 h 384"/>
                <a:gd name="T52" fmla="*/ 0 w 179"/>
                <a:gd name="T53" fmla="*/ 6 h 3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79" h="384">
                  <a:moveTo>
                    <a:pt x="0" y="276"/>
                  </a:moveTo>
                  <a:lnTo>
                    <a:pt x="0" y="291"/>
                  </a:lnTo>
                  <a:lnTo>
                    <a:pt x="30" y="368"/>
                  </a:lnTo>
                  <a:lnTo>
                    <a:pt x="45" y="383"/>
                  </a:lnTo>
                  <a:lnTo>
                    <a:pt x="59" y="352"/>
                  </a:lnTo>
                  <a:lnTo>
                    <a:pt x="74" y="352"/>
                  </a:lnTo>
                  <a:lnTo>
                    <a:pt x="89" y="322"/>
                  </a:lnTo>
                  <a:lnTo>
                    <a:pt x="89" y="276"/>
                  </a:lnTo>
                  <a:lnTo>
                    <a:pt x="104" y="276"/>
                  </a:lnTo>
                  <a:lnTo>
                    <a:pt x="104" y="260"/>
                  </a:lnTo>
                  <a:lnTo>
                    <a:pt x="89" y="245"/>
                  </a:lnTo>
                  <a:lnTo>
                    <a:pt x="74" y="199"/>
                  </a:lnTo>
                  <a:lnTo>
                    <a:pt x="89" y="169"/>
                  </a:lnTo>
                  <a:lnTo>
                    <a:pt x="119" y="153"/>
                  </a:lnTo>
                  <a:lnTo>
                    <a:pt x="134" y="123"/>
                  </a:lnTo>
                  <a:lnTo>
                    <a:pt x="134" y="92"/>
                  </a:lnTo>
                  <a:lnTo>
                    <a:pt x="178" y="92"/>
                  </a:lnTo>
                  <a:lnTo>
                    <a:pt x="163" y="61"/>
                  </a:lnTo>
                  <a:lnTo>
                    <a:pt x="148" y="15"/>
                  </a:lnTo>
                  <a:lnTo>
                    <a:pt x="134" y="15"/>
                  </a:lnTo>
                  <a:lnTo>
                    <a:pt x="119" y="0"/>
                  </a:lnTo>
                  <a:lnTo>
                    <a:pt x="104" y="15"/>
                  </a:lnTo>
                  <a:lnTo>
                    <a:pt x="89" y="15"/>
                  </a:lnTo>
                  <a:lnTo>
                    <a:pt x="45" y="92"/>
                  </a:lnTo>
                  <a:lnTo>
                    <a:pt x="0" y="169"/>
                  </a:lnTo>
                  <a:lnTo>
                    <a:pt x="15" y="230"/>
                  </a:lnTo>
                  <a:lnTo>
                    <a:pt x="0" y="27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2" name="Freeform 107"/>
            <p:cNvSpPr>
              <a:spLocks/>
            </p:cNvSpPr>
            <p:nvPr/>
          </p:nvSpPr>
          <p:spPr bwMode="auto">
            <a:xfrm>
              <a:off x="1236" y="1274"/>
              <a:ext cx="72" cy="116"/>
            </a:xfrm>
            <a:custGeom>
              <a:avLst/>
              <a:gdLst>
                <a:gd name="T0" fmla="*/ 2 w 165"/>
                <a:gd name="T1" fmla="*/ 3 h 307"/>
                <a:gd name="T2" fmla="*/ 3 w 165"/>
                <a:gd name="T3" fmla="*/ 3 h 307"/>
                <a:gd name="T4" fmla="*/ 3 w 165"/>
                <a:gd name="T5" fmla="*/ 3 h 307"/>
                <a:gd name="T6" fmla="*/ 0 w 165"/>
                <a:gd name="T7" fmla="*/ 5 h 307"/>
                <a:gd name="T8" fmla="*/ 1 w 165"/>
                <a:gd name="T9" fmla="*/ 6 h 307"/>
                <a:gd name="T10" fmla="*/ 2 w 165"/>
                <a:gd name="T11" fmla="*/ 6 h 307"/>
                <a:gd name="T12" fmla="*/ 5 w 165"/>
                <a:gd name="T13" fmla="*/ 6 h 307"/>
                <a:gd name="T14" fmla="*/ 6 w 165"/>
                <a:gd name="T15" fmla="*/ 5 h 307"/>
                <a:gd name="T16" fmla="*/ 5 w 165"/>
                <a:gd name="T17" fmla="*/ 4 h 307"/>
                <a:gd name="T18" fmla="*/ 5 w 165"/>
                <a:gd name="T19" fmla="*/ 3 h 307"/>
                <a:gd name="T20" fmla="*/ 5 w 165"/>
                <a:gd name="T21" fmla="*/ 2 h 307"/>
                <a:gd name="T22" fmla="*/ 5 w 165"/>
                <a:gd name="T23" fmla="*/ 2 h 307"/>
                <a:gd name="T24" fmla="*/ 4 w 165"/>
                <a:gd name="T25" fmla="*/ 1 h 307"/>
                <a:gd name="T26" fmla="*/ 4 w 165"/>
                <a:gd name="T27" fmla="*/ 1 h 307"/>
                <a:gd name="T28" fmla="*/ 3 w 165"/>
                <a:gd name="T29" fmla="*/ 0 h 307"/>
                <a:gd name="T30" fmla="*/ 3 w 165"/>
                <a:gd name="T31" fmla="*/ 0 h 307"/>
                <a:gd name="T32" fmla="*/ 2 w 165"/>
                <a:gd name="T33" fmla="*/ 1 h 307"/>
                <a:gd name="T34" fmla="*/ 2 w 165"/>
                <a:gd name="T35" fmla="*/ 1 h 307"/>
                <a:gd name="T36" fmla="*/ 0 w 165"/>
                <a:gd name="T37" fmla="*/ 1 h 307"/>
                <a:gd name="T38" fmla="*/ 0 w 165"/>
                <a:gd name="T39" fmla="*/ 1 h 307"/>
                <a:gd name="T40" fmla="*/ 0 w 165"/>
                <a:gd name="T41" fmla="*/ 1 h 307"/>
                <a:gd name="T42" fmla="*/ 1 w 165"/>
                <a:gd name="T43" fmla="*/ 1 h 307"/>
                <a:gd name="T44" fmla="*/ 2 w 165"/>
                <a:gd name="T45" fmla="*/ 2 h 307"/>
                <a:gd name="T46" fmla="*/ 2 w 165"/>
                <a:gd name="T47" fmla="*/ 3 h 3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65" h="307">
                  <a:moveTo>
                    <a:pt x="60" y="138"/>
                  </a:moveTo>
                  <a:lnTo>
                    <a:pt x="75" y="138"/>
                  </a:lnTo>
                  <a:lnTo>
                    <a:pt x="75" y="153"/>
                  </a:lnTo>
                  <a:lnTo>
                    <a:pt x="15" y="230"/>
                  </a:lnTo>
                  <a:lnTo>
                    <a:pt x="30" y="275"/>
                  </a:lnTo>
                  <a:lnTo>
                    <a:pt x="60" y="306"/>
                  </a:lnTo>
                  <a:lnTo>
                    <a:pt x="134" y="275"/>
                  </a:lnTo>
                  <a:lnTo>
                    <a:pt x="164" y="214"/>
                  </a:lnTo>
                  <a:lnTo>
                    <a:pt x="149" y="184"/>
                  </a:lnTo>
                  <a:lnTo>
                    <a:pt x="134" y="138"/>
                  </a:lnTo>
                  <a:lnTo>
                    <a:pt x="149" y="122"/>
                  </a:lnTo>
                  <a:lnTo>
                    <a:pt x="134" y="77"/>
                  </a:lnTo>
                  <a:lnTo>
                    <a:pt x="119" y="61"/>
                  </a:lnTo>
                  <a:lnTo>
                    <a:pt x="119" y="31"/>
                  </a:lnTo>
                  <a:lnTo>
                    <a:pt x="89" y="0"/>
                  </a:lnTo>
                  <a:lnTo>
                    <a:pt x="75" y="15"/>
                  </a:lnTo>
                  <a:lnTo>
                    <a:pt x="60" y="46"/>
                  </a:lnTo>
                  <a:lnTo>
                    <a:pt x="45" y="46"/>
                  </a:lnTo>
                  <a:lnTo>
                    <a:pt x="0" y="31"/>
                  </a:lnTo>
                  <a:lnTo>
                    <a:pt x="0" y="46"/>
                  </a:lnTo>
                  <a:lnTo>
                    <a:pt x="15" y="61"/>
                  </a:lnTo>
                  <a:lnTo>
                    <a:pt x="30" y="61"/>
                  </a:lnTo>
                  <a:lnTo>
                    <a:pt x="45" y="107"/>
                  </a:lnTo>
                  <a:lnTo>
                    <a:pt x="60" y="138"/>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3" name="Freeform 108"/>
            <p:cNvSpPr>
              <a:spLocks/>
            </p:cNvSpPr>
            <p:nvPr/>
          </p:nvSpPr>
          <p:spPr bwMode="auto">
            <a:xfrm>
              <a:off x="775" y="1088"/>
              <a:ext cx="302" cy="302"/>
            </a:xfrm>
            <a:custGeom>
              <a:avLst/>
              <a:gdLst>
                <a:gd name="T0" fmla="*/ 3 w 702"/>
                <a:gd name="T1" fmla="*/ 15 h 799"/>
                <a:gd name="T2" fmla="*/ 2 w 702"/>
                <a:gd name="T3" fmla="*/ 14 h 799"/>
                <a:gd name="T4" fmla="*/ 2 w 702"/>
                <a:gd name="T5" fmla="*/ 14 h 799"/>
                <a:gd name="T6" fmla="*/ 0 w 702"/>
                <a:gd name="T7" fmla="*/ 12 h 799"/>
                <a:gd name="T8" fmla="*/ 2 w 702"/>
                <a:gd name="T9" fmla="*/ 10 h 799"/>
                <a:gd name="T10" fmla="*/ 1 w 702"/>
                <a:gd name="T11" fmla="*/ 10 h 799"/>
                <a:gd name="T12" fmla="*/ 2 w 702"/>
                <a:gd name="T13" fmla="*/ 9 h 799"/>
                <a:gd name="T14" fmla="*/ 3 w 702"/>
                <a:gd name="T15" fmla="*/ 8 h 799"/>
                <a:gd name="T16" fmla="*/ 3 w 702"/>
                <a:gd name="T17" fmla="*/ 8 h 799"/>
                <a:gd name="T18" fmla="*/ 3 w 702"/>
                <a:gd name="T19" fmla="*/ 7 h 799"/>
                <a:gd name="T20" fmla="*/ 3 w 702"/>
                <a:gd name="T21" fmla="*/ 6 h 799"/>
                <a:gd name="T22" fmla="*/ 0 w 702"/>
                <a:gd name="T23" fmla="*/ 5 h 799"/>
                <a:gd name="T24" fmla="*/ 0 w 702"/>
                <a:gd name="T25" fmla="*/ 5 h 799"/>
                <a:gd name="T26" fmla="*/ 2 w 702"/>
                <a:gd name="T27" fmla="*/ 5 h 799"/>
                <a:gd name="T28" fmla="*/ 0 w 702"/>
                <a:gd name="T29" fmla="*/ 4 h 799"/>
                <a:gd name="T30" fmla="*/ 5 w 702"/>
                <a:gd name="T31" fmla="*/ 2 h 799"/>
                <a:gd name="T32" fmla="*/ 8 w 702"/>
                <a:gd name="T33" fmla="*/ 0 h 799"/>
                <a:gd name="T34" fmla="*/ 21 w 702"/>
                <a:gd name="T35" fmla="*/ 0 h 799"/>
                <a:gd name="T36" fmla="*/ 16 w 702"/>
                <a:gd name="T37" fmla="*/ 2 h 799"/>
                <a:gd name="T38" fmla="*/ 17 w 702"/>
                <a:gd name="T39" fmla="*/ 2 h 799"/>
                <a:gd name="T40" fmla="*/ 22 w 702"/>
                <a:gd name="T41" fmla="*/ 2 h 799"/>
                <a:gd name="T42" fmla="*/ 23 w 702"/>
                <a:gd name="T43" fmla="*/ 3 h 799"/>
                <a:gd name="T44" fmla="*/ 22 w 702"/>
                <a:gd name="T45" fmla="*/ 3 h 799"/>
                <a:gd name="T46" fmla="*/ 19 w 702"/>
                <a:gd name="T47" fmla="*/ 5 h 799"/>
                <a:gd name="T48" fmla="*/ 20 w 702"/>
                <a:gd name="T49" fmla="*/ 5 h 799"/>
                <a:gd name="T50" fmla="*/ 18 w 702"/>
                <a:gd name="T51" fmla="*/ 6 h 799"/>
                <a:gd name="T52" fmla="*/ 20 w 702"/>
                <a:gd name="T53" fmla="*/ 7 h 799"/>
                <a:gd name="T54" fmla="*/ 15 w 702"/>
                <a:gd name="T55" fmla="*/ 9 h 799"/>
                <a:gd name="T56" fmla="*/ 16 w 702"/>
                <a:gd name="T57" fmla="*/ 10 h 799"/>
                <a:gd name="T58" fmla="*/ 18 w 702"/>
                <a:gd name="T59" fmla="*/ 11 h 799"/>
                <a:gd name="T60" fmla="*/ 13 w 702"/>
                <a:gd name="T61" fmla="*/ 11 h 799"/>
                <a:gd name="T62" fmla="*/ 12 w 702"/>
                <a:gd name="T63" fmla="*/ 12 h 799"/>
                <a:gd name="T64" fmla="*/ 8 w 702"/>
                <a:gd name="T65" fmla="*/ 14 h 799"/>
                <a:gd name="T66" fmla="*/ 6 w 702"/>
                <a:gd name="T67" fmla="*/ 16 h 799"/>
                <a:gd name="T68" fmla="*/ 5 w 702"/>
                <a:gd name="T69" fmla="*/ 16 h 799"/>
                <a:gd name="T70" fmla="*/ 3 w 702"/>
                <a:gd name="T71" fmla="*/ 16 h 7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02" h="799">
                  <a:moveTo>
                    <a:pt x="89" y="767"/>
                  </a:moveTo>
                  <a:lnTo>
                    <a:pt x="75" y="737"/>
                  </a:lnTo>
                  <a:lnTo>
                    <a:pt x="60" y="737"/>
                  </a:lnTo>
                  <a:lnTo>
                    <a:pt x="60" y="706"/>
                  </a:lnTo>
                  <a:lnTo>
                    <a:pt x="75" y="691"/>
                  </a:lnTo>
                  <a:lnTo>
                    <a:pt x="60" y="660"/>
                  </a:lnTo>
                  <a:lnTo>
                    <a:pt x="45" y="660"/>
                  </a:lnTo>
                  <a:lnTo>
                    <a:pt x="15" y="614"/>
                  </a:lnTo>
                  <a:lnTo>
                    <a:pt x="45" y="506"/>
                  </a:lnTo>
                  <a:lnTo>
                    <a:pt x="60" y="506"/>
                  </a:lnTo>
                  <a:lnTo>
                    <a:pt x="75" y="476"/>
                  </a:lnTo>
                  <a:lnTo>
                    <a:pt x="45" y="491"/>
                  </a:lnTo>
                  <a:lnTo>
                    <a:pt x="30" y="460"/>
                  </a:lnTo>
                  <a:lnTo>
                    <a:pt x="60" y="430"/>
                  </a:lnTo>
                  <a:lnTo>
                    <a:pt x="89" y="445"/>
                  </a:lnTo>
                  <a:lnTo>
                    <a:pt x="75" y="399"/>
                  </a:lnTo>
                  <a:lnTo>
                    <a:pt x="89" y="399"/>
                  </a:lnTo>
                  <a:lnTo>
                    <a:pt x="75" y="384"/>
                  </a:lnTo>
                  <a:lnTo>
                    <a:pt x="104" y="384"/>
                  </a:lnTo>
                  <a:lnTo>
                    <a:pt x="75" y="353"/>
                  </a:lnTo>
                  <a:lnTo>
                    <a:pt x="89" y="307"/>
                  </a:lnTo>
                  <a:lnTo>
                    <a:pt x="75" y="276"/>
                  </a:lnTo>
                  <a:lnTo>
                    <a:pt x="45" y="276"/>
                  </a:lnTo>
                  <a:lnTo>
                    <a:pt x="15" y="261"/>
                  </a:lnTo>
                  <a:lnTo>
                    <a:pt x="15" y="246"/>
                  </a:lnTo>
                  <a:lnTo>
                    <a:pt x="0" y="246"/>
                  </a:lnTo>
                  <a:lnTo>
                    <a:pt x="60" y="230"/>
                  </a:lnTo>
                  <a:lnTo>
                    <a:pt x="60" y="215"/>
                  </a:lnTo>
                  <a:lnTo>
                    <a:pt x="15" y="215"/>
                  </a:lnTo>
                  <a:lnTo>
                    <a:pt x="0" y="184"/>
                  </a:lnTo>
                  <a:lnTo>
                    <a:pt x="60" y="169"/>
                  </a:lnTo>
                  <a:lnTo>
                    <a:pt x="134" y="107"/>
                  </a:lnTo>
                  <a:lnTo>
                    <a:pt x="164" y="123"/>
                  </a:lnTo>
                  <a:lnTo>
                    <a:pt x="239" y="0"/>
                  </a:lnTo>
                  <a:lnTo>
                    <a:pt x="373" y="0"/>
                  </a:lnTo>
                  <a:lnTo>
                    <a:pt x="612" y="15"/>
                  </a:lnTo>
                  <a:lnTo>
                    <a:pt x="612" y="46"/>
                  </a:lnTo>
                  <a:lnTo>
                    <a:pt x="477" y="77"/>
                  </a:lnTo>
                  <a:lnTo>
                    <a:pt x="567" y="107"/>
                  </a:lnTo>
                  <a:lnTo>
                    <a:pt x="507" y="123"/>
                  </a:lnTo>
                  <a:lnTo>
                    <a:pt x="537" y="153"/>
                  </a:lnTo>
                  <a:lnTo>
                    <a:pt x="641" y="92"/>
                  </a:lnTo>
                  <a:lnTo>
                    <a:pt x="701" y="138"/>
                  </a:lnTo>
                  <a:lnTo>
                    <a:pt x="671" y="169"/>
                  </a:lnTo>
                  <a:lnTo>
                    <a:pt x="641" y="138"/>
                  </a:lnTo>
                  <a:lnTo>
                    <a:pt x="626" y="169"/>
                  </a:lnTo>
                  <a:lnTo>
                    <a:pt x="641" y="184"/>
                  </a:lnTo>
                  <a:lnTo>
                    <a:pt x="552" y="215"/>
                  </a:lnTo>
                  <a:lnTo>
                    <a:pt x="537" y="246"/>
                  </a:lnTo>
                  <a:lnTo>
                    <a:pt x="582" y="246"/>
                  </a:lnTo>
                  <a:lnTo>
                    <a:pt x="597" y="307"/>
                  </a:lnTo>
                  <a:lnTo>
                    <a:pt x="537" y="292"/>
                  </a:lnTo>
                  <a:lnTo>
                    <a:pt x="522" y="368"/>
                  </a:lnTo>
                  <a:lnTo>
                    <a:pt x="582" y="338"/>
                  </a:lnTo>
                  <a:lnTo>
                    <a:pt x="552" y="430"/>
                  </a:lnTo>
                  <a:lnTo>
                    <a:pt x="447" y="445"/>
                  </a:lnTo>
                  <a:lnTo>
                    <a:pt x="447" y="476"/>
                  </a:lnTo>
                  <a:lnTo>
                    <a:pt x="477" y="476"/>
                  </a:lnTo>
                  <a:lnTo>
                    <a:pt x="552" y="506"/>
                  </a:lnTo>
                  <a:lnTo>
                    <a:pt x="537" y="552"/>
                  </a:lnTo>
                  <a:lnTo>
                    <a:pt x="403" y="506"/>
                  </a:lnTo>
                  <a:lnTo>
                    <a:pt x="388" y="552"/>
                  </a:lnTo>
                  <a:lnTo>
                    <a:pt x="477" y="568"/>
                  </a:lnTo>
                  <a:lnTo>
                    <a:pt x="343" y="614"/>
                  </a:lnTo>
                  <a:lnTo>
                    <a:pt x="298" y="599"/>
                  </a:lnTo>
                  <a:lnTo>
                    <a:pt x="239" y="660"/>
                  </a:lnTo>
                  <a:lnTo>
                    <a:pt x="194" y="721"/>
                  </a:lnTo>
                  <a:lnTo>
                    <a:pt x="179" y="798"/>
                  </a:lnTo>
                  <a:lnTo>
                    <a:pt x="164" y="798"/>
                  </a:lnTo>
                  <a:lnTo>
                    <a:pt x="149" y="798"/>
                  </a:lnTo>
                  <a:lnTo>
                    <a:pt x="119" y="767"/>
                  </a:lnTo>
                  <a:lnTo>
                    <a:pt x="89" y="76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4" name="Freeform 109"/>
            <p:cNvSpPr>
              <a:spLocks/>
            </p:cNvSpPr>
            <p:nvPr/>
          </p:nvSpPr>
          <p:spPr bwMode="auto">
            <a:xfrm>
              <a:off x="1167" y="1419"/>
              <a:ext cx="12" cy="23"/>
            </a:xfrm>
            <a:custGeom>
              <a:avLst/>
              <a:gdLst>
                <a:gd name="T0" fmla="*/ 0 w 30"/>
                <a:gd name="T1" fmla="*/ 1 h 63"/>
                <a:gd name="T2" fmla="*/ 0 w 30"/>
                <a:gd name="T3" fmla="*/ 0 h 63"/>
                <a:gd name="T4" fmla="*/ 0 w 30"/>
                <a:gd name="T5" fmla="*/ 0 h 63"/>
                <a:gd name="T6" fmla="*/ 1 w 30"/>
                <a:gd name="T7" fmla="*/ 0 h 63"/>
                <a:gd name="T8" fmla="*/ 1 w 30"/>
                <a:gd name="T9" fmla="*/ 0 h 63"/>
                <a:gd name="T10" fmla="*/ 1 w 30"/>
                <a:gd name="T11" fmla="*/ 0 h 63"/>
                <a:gd name="T12" fmla="*/ 1 w 30"/>
                <a:gd name="T13" fmla="*/ 1 h 63"/>
                <a:gd name="T14" fmla="*/ 0 w 30"/>
                <a:gd name="T15" fmla="*/ 1 h 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63">
                  <a:moveTo>
                    <a:pt x="15" y="62"/>
                  </a:moveTo>
                  <a:lnTo>
                    <a:pt x="0" y="31"/>
                  </a:lnTo>
                  <a:lnTo>
                    <a:pt x="0" y="16"/>
                  </a:lnTo>
                  <a:lnTo>
                    <a:pt x="29" y="0"/>
                  </a:lnTo>
                  <a:lnTo>
                    <a:pt x="29" y="16"/>
                  </a:lnTo>
                  <a:lnTo>
                    <a:pt x="29" y="31"/>
                  </a:lnTo>
                  <a:lnTo>
                    <a:pt x="29" y="62"/>
                  </a:lnTo>
                  <a:lnTo>
                    <a:pt x="15" y="6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5" name="Freeform 110"/>
            <p:cNvSpPr>
              <a:spLocks/>
            </p:cNvSpPr>
            <p:nvPr/>
          </p:nvSpPr>
          <p:spPr bwMode="auto">
            <a:xfrm>
              <a:off x="1167" y="1413"/>
              <a:ext cx="12" cy="7"/>
            </a:xfrm>
            <a:custGeom>
              <a:avLst/>
              <a:gdLst>
                <a:gd name="T0" fmla="*/ 0 w 30"/>
                <a:gd name="T1" fmla="*/ 0 h 17"/>
                <a:gd name="T2" fmla="*/ 1 w 30"/>
                <a:gd name="T3" fmla="*/ 0 h 17"/>
                <a:gd name="T4" fmla="*/ 1 w 30"/>
                <a:gd name="T5" fmla="*/ 0 h 17"/>
                <a:gd name="T6" fmla="*/ 0 w 30"/>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17">
                  <a:moveTo>
                    <a:pt x="0" y="16"/>
                  </a:moveTo>
                  <a:lnTo>
                    <a:pt x="29" y="0"/>
                  </a:lnTo>
                  <a:lnTo>
                    <a:pt x="29" y="16"/>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6" name="Freeform 111"/>
            <p:cNvSpPr>
              <a:spLocks/>
            </p:cNvSpPr>
            <p:nvPr/>
          </p:nvSpPr>
          <p:spPr bwMode="auto">
            <a:xfrm>
              <a:off x="1192" y="1425"/>
              <a:ext cx="1" cy="12"/>
            </a:xfrm>
            <a:custGeom>
              <a:avLst/>
              <a:gdLst>
                <a:gd name="T0" fmla="*/ 0 w 1"/>
                <a:gd name="T1" fmla="*/ 0 h 31"/>
                <a:gd name="T2" fmla="*/ 0 w 1"/>
                <a:gd name="T3" fmla="*/ 0 h 31"/>
                <a:gd name="T4" fmla="*/ 0 w 1"/>
                <a:gd name="T5" fmla="*/ 1 h 31"/>
                <a:gd name="T6" fmla="*/ 0 w 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31">
                  <a:moveTo>
                    <a:pt x="0" y="0"/>
                  </a:moveTo>
                  <a:lnTo>
                    <a:pt x="0" y="15"/>
                  </a:lnTo>
                  <a:lnTo>
                    <a:pt x="0" y="3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7" name="Freeform 112"/>
            <p:cNvSpPr>
              <a:spLocks/>
            </p:cNvSpPr>
            <p:nvPr/>
          </p:nvSpPr>
          <p:spPr bwMode="auto">
            <a:xfrm>
              <a:off x="1179" y="1431"/>
              <a:ext cx="7"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0"/>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8" name="Freeform 113"/>
            <p:cNvSpPr>
              <a:spLocks/>
            </p:cNvSpPr>
            <p:nvPr/>
          </p:nvSpPr>
          <p:spPr bwMode="auto">
            <a:xfrm>
              <a:off x="1140" y="1262"/>
              <a:ext cx="148" cy="146"/>
            </a:xfrm>
            <a:custGeom>
              <a:avLst/>
              <a:gdLst>
                <a:gd name="T0" fmla="*/ 3 w 344"/>
                <a:gd name="T1" fmla="*/ 7 h 385"/>
                <a:gd name="T2" fmla="*/ 3 w 344"/>
                <a:gd name="T3" fmla="*/ 7 h 385"/>
                <a:gd name="T4" fmla="*/ 2 w 344"/>
                <a:gd name="T5" fmla="*/ 8 h 385"/>
                <a:gd name="T6" fmla="*/ 1 w 344"/>
                <a:gd name="T7" fmla="*/ 8 h 385"/>
                <a:gd name="T8" fmla="*/ 0 w 344"/>
                <a:gd name="T9" fmla="*/ 8 h 385"/>
                <a:gd name="T10" fmla="*/ 0 w 344"/>
                <a:gd name="T11" fmla="*/ 6 h 385"/>
                <a:gd name="T12" fmla="*/ 1 w 344"/>
                <a:gd name="T13" fmla="*/ 5 h 385"/>
                <a:gd name="T14" fmla="*/ 1 w 344"/>
                <a:gd name="T15" fmla="*/ 5 h 385"/>
                <a:gd name="T16" fmla="*/ 3 w 344"/>
                <a:gd name="T17" fmla="*/ 5 h 385"/>
                <a:gd name="T18" fmla="*/ 6 w 344"/>
                <a:gd name="T19" fmla="*/ 2 h 385"/>
                <a:gd name="T20" fmla="*/ 6 w 344"/>
                <a:gd name="T21" fmla="*/ 1 h 385"/>
                <a:gd name="T22" fmla="*/ 6 w 344"/>
                <a:gd name="T23" fmla="*/ 1 h 385"/>
                <a:gd name="T24" fmla="*/ 8 w 344"/>
                <a:gd name="T25" fmla="*/ 1 h 385"/>
                <a:gd name="T26" fmla="*/ 9 w 344"/>
                <a:gd name="T27" fmla="*/ 0 h 385"/>
                <a:gd name="T28" fmla="*/ 10 w 344"/>
                <a:gd name="T29" fmla="*/ 0 h 385"/>
                <a:gd name="T30" fmla="*/ 11 w 344"/>
                <a:gd name="T31" fmla="*/ 0 h 385"/>
                <a:gd name="T32" fmla="*/ 12 w 344"/>
                <a:gd name="T33" fmla="*/ 1 h 385"/>
                <a:gd name="T34" fmla="*/ 12 w 344"/>
                <a:gd name="T35" fmla="*/ 1 h 385"/>
                <a:gd name="T36" fmla="*/ 12 w 344"/>
                <a:gd name="T37" fmla="*/ 1 h 385"/>
                <a:gd name="T38" fmla="*/ 11 w 344"/>
                <a:gd name="T39" fmla="*/ 1 h 385"/>
                <a:gd name="T40" fmla="*/ 10 w 344"/>
                <a:gd name="T41" fmla="*/ 1 h 385"/>
                <a:gd name="T42" fmla="*/ 9 w 344"/>
                <a:gd name="T43" fmla="*/ 2 h 385"/>
                <a:gd name="T44" fmla="*/ 9 w 344"/>
                <a:gd name="T45" fmla="*/ 2 h 385"/>
                <a:gd name="T46" fmla="*/ 8 w 344"/>
                <a:gd name="T47" fmla="*/ 1 h 385"/>
                <a:gd name="T48" fmla="*/ 8 w 344"/>
                <a:gd name="T49" fmla="*/ 2 h 385"/>
                <a:gd name="T50" fmla="*/ 7 w 344"/>
                <a:gd name="T51" fmla="*/ 2 h 385"/>
                <a:gd name="T52" fmla="*/ 6 w 344"/>
                <a:gd name="T53" fmla="*/ 2 h 385"/>
                <a:gd name="T54" fmla="*/ 5 w 344"/>
                <a:gd name="T55" fmla="*/ 3 h 385"/>
                <a:gd name="T56" fmla="*/ 3 w 344"/>
                <a:gd name="T57" fmla="*/ 5 h 385"/>
                <a:gd name="T58" fmla="*/ 4 w 344"/>
                <a:gd name="T59" fmla="*/ 6 h 385"/>
                <a:gd name="T60" fmla="*/ 3 w 344"/>
                <a:gd name="T61" fmla="*/ 7 h 3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44" h="385">
                  <a:moveTo>
                    <a:pt x="104" y="353"/>
                  </a:moveTo>
                  <a:lnTo>
                    <a:pt x="89" y="353"/>
                  </a:lnTo>
                  <a:lnTo>
                    <a:pt x="60" y="384"/>
                  </a:lnTo>
                  <a:lnTo>
                    <a:pt x="45" y="384"/>
                  </a:lnTo>
                  <a:lnTo>
                    <a:pt x="15" y="369"/>
                  </a:lnTo>
                  <a:lnTo>
                    <a:pt x="0" y="276"/>
                  </a:lnTo>
                  <a:lnTo>
                    <a:pt x="30" y="261"/>
                  </a:lnTo>
                  <a:lnTo>
                    <a:pt x="45" y="230"/>
                  </a:lnTo>
                  <a:lnTo>
                    <a:pt x="75" y="215"/>
                  </a:lnTo>
                  <a:lnTo>
                    <a:pt x="164" y="77"/>
                  </a:lnTo>
                  <a:lnTo>
                    <a:pt x="164" y="61"/>
                  </a:lnTo>
                  <a:lnTo>
                    <a:pt x="179" y="46"/>
                  </a:lnTo>
                  <a:lnTo>
                    <a:pt x="239" y="31"/>
                  </a:lnTo>
                  <a:lnTo>
                    <a:pt x="254" y="15"/>
                  </a:lnTo>
                  <a:lnTo>
                    <a:pt x="298" y="15"/>
                  </a:lnTo>
                  <a:lnTo>
                    <a:pt x="328" y="0"/>
                  </a:lnTo>
                  <a:lnTo>
                    <a:pt x="343" y="31"/>
                  </a:lnTo>
                  <a:lnTo>
                    <a:pt x="343" y="46"/>
                  </a:lnTo>
                  <a:lnTo>
                    <a:pt x="343" y="61"/>
                  </a:lnTo>
                  <a:lnTo>
                    <a:pt x="313" y="31"/>
                  </a:lnTo>
                  <a:lnTo>
                    <a:pt x="298" y="46"/>
                  </a:lnTo>
                  <a:lnTo>
                    <a:pt x="283" y="77"/>
                  </a:lnTo>
                  <a:lnTo>
                    <a:pt x="268" y="77"/>
                  </a:lnTo>
                  <a:lnTo>
                    <a:pt x="224" y="61"/>
                  </a:lnTo>
                  <a:lnTo>
                    <a:pt x="224" y="77"/>
                  </a:lnTo>
                  <a:lnTo>
                    <a:pt x="209" y="92"/>
                  </a:lnTo>
                  <a:lnTo>
                    <a:pt x="194" y="92"/>
                  </a:lnTo>
                  <a:lnTo>
                    <a:pt x="149" y="169"/>
                  </a:lnTo>
                  <a:lnTo>
                    <a:pt x="104" y="246"/>
                  </a:lnTo>
                  <a:lnTo>
                    <a:pt x="119" y="307"/>
                  </a:lnTo>
                  <a:lnTo>
                    <a:pt x="104" y="353"/>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89" name="Freeform 114"/>
            <p:cNvSpPr>
              <a:spLocks/>
            </p:cNvSpPr>
            <p:nvPr/>
          </p:nvSpPr>
          <p:spPr bwMode="auto">
            <a:xfrm>
              <a:off x="1153" y="1158"/>
              <a:ext cx="51" cy="53"/>
            </a:xfrm>
            <a:custGeom>
              <a:avLst/>
              <a:gdLst>
                <a:gd name="T0" fmla="*/ 3 w 120"/>
                <a:gd name="T1" fmla="*/ 0 h 140"/>
                <a:gd name="T2" fmla="*/ 4 w 120"/>
                <a:gd name="T3" fmla="*/ 1 h 140"/>
                <a:gd name="T4" fmla="*/ 3 w 120"/>
                <a:gd name="T5" fmla="*/ 2 h 140"/>
                <a:gd name="T6" fmla="*/ 3 w 120"/>
                <a:gd name="T7" fmla="*/ 3 h 140"/>
                <a:gd name="T8" fmla="*/ 1 w 120"/>
                <a:gd name="T9" fmla="*/ 3 h 140"/>
                <a:gd name="T10" fmla="*/ 2 w 120"/>
                <a:gd name="T11" fmla="*/ 2 h 140"/>
                <a:gd name="T12" fmla="*/ 2 w 120"/>
                <a:gd name="T13" fmla="*/ 1 h 140"/>
                <a:gd name="T14" fmla="*/ 1 w 120"/>
                <a:gd name="T15" fmla="*/ 2 h 140"/>
                <a:gd name="T16" fmla="*/ 0 w 120"/>
                <a:gd name="T17" fmla="*/ 2 h 140"/>
                <a:gd name="T18" fmla="*/ 0 w 120"/>
                <a:gd name="T19" fmla="*/ 1 h 140"/>
                <a:gd name="T20" fmla="*/ 0 w 120"/>
                <a:gd name="T21" fmla="*/ 1 h 140"/>
                <a:gd name="T22" fmla="*/ 2 w 120"/>
                <a:gd name="T23" fmla="*/ 1 h 140"/>
                <a:gd name="T24" fmla="*/ 3 w 120"/>
                <a:gd name="T25" fmla="*/ 0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0" h="140">
                  <a:moveTo>
                    <a:pt x="74" y="0"/>
                  </a:moveTo>
                  <a:lnTo>
                    <a:pt x="119" y="46"/>
                  </a:lnTo>
                  <a:lnTo>
                    <a:pt x="89" y="77"/>
                  </a:lnTo>
                  <a:lnTo>
                    <a:pt x="74" y="139"/>
                  </a:lnTo>
                  <a:lnTo>
                    <a:pt x="45" y="124"/>
                  </a:lnTo>
                  <a:lnTo>
                    <a:pt x="60" y="77"/>
                  </a:lnTo>
                  <a:lnTo>
                    <a:pt x="60" y="62"/>
                  </a:lnTo>
                  <a:lnTo>
                    <a:pt x="45" y="77"/>
                  </a:lnTo>
                  <a:lnTo>
                    <a:pt x="15" y="77"/>
                  </a:lnTo>
                  <a:lnTo>
                    <a:pt x="0" y="62"/>
                  </a:lnTo>
                  <a:lnTo>
                    <a:pt x="15" y="46"/>
                  </a:lnTo>
                  <a:lnTo>
                    <a:pt x="60" y="31"/>
                  </a:lnTo>
                  <a:lnTo>
                    <a:pt x="74"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0" name="Freeform 115"/>
            <p:cNvSpPr>
              <a:spLocks/>
            </p:cNvSpPr>
            <p:nvPr/>
          </p:nvSpPr>
          <p:spPr bwMode="auto">
            <a:xfrm>
              <a:off x="1192" y="1146"/>
              <a:ext cx="45" cy="24"/>
            </a:xfrm>
            <a:custGeom>
              <a:avLst/>
              <a:gdLst>
                <a:gd name="T0" fmla="*/ 0 w 104"/>
                <a:gd name="T1" fmla="*/ 0 h 62"/>
                <a:gd name="T2" fmla="*/ 0 w 104"/>
                <a:gd name="T3" fmla="*/ 1 h 62"/>
                <a:gd name="T4" fmla="*/ 1 w 104"/>
                <a:gd name="T5" fmla="*/ 1 h 62"/>
                <a:gd name="T6" fmla="*/ 3 w 104"/>
                <a:gd name="T7" fmla="*/ 1 h 62"/>
                <a:gd name="T8" fmla="*/ 3 w 104"/>
                <a:gd name="T9" fmla="*/ 0 h 62"/>
                <a:gd name="T10" fmla="*/ 3 w 104"/>
                <a:gd name="T11" fmla="*/ 0 h 62"/>
                <a:gd name="T12" fmla="*/ 0 w 104"/>
                <a:gd name="T13" fmla="*/ 0 h 6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4" h="62">
                  <a:moveTo>
                    <a:pt x="15" y="15"/>
                  </a:moveTo>
                  <a:lnTo>
                    <a:pt x="0" y="31"/>
                  </a:lnTo>
                  <a:lnTo>
                    <a:pt x="29" y="61"/>
                  </a:lnTo>
                  <a:lnTo>
                    <a:pt x="88" y="61"/>
                  </a:lnTo>
                  <a:lnTo>
                    <a:pt x="103" y="15"/>
                  </a:lnTo>
                  <a:lnTo>
                    <a:pt x="74" y="0"/>
                  </a:lnTo>
                  <a:lnTo>
                    <a:pt x="1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1" name="Freeform 116"/>
            <p:cNvSpPr>
              <a:spLocks/>
            </p:cNvSpPr>
            <p:nvPr/>
          </p:nvSpPr>
          <p:spPr bwMode="auto">
            <a:xfrm>
              <a:off x="1217" y="1174"/>
              <a:ext cx="8" cy="7"/>
            </a:xfrm>
            <a:custGeom>
              <a:avLst/>
              <a:gdLst>
                <a:gd name="T0" fmla="*/ 0 w 17"/>
                <a:gd name="T1" fmla="*/ 0 h 17"/>
                <a:gd name="T2" fmla="*/ 1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2" name="Freeform 117"/>
            <p:cNvSpPr>
              <a:spLocks/>
            </p:cNvSpPr>
            <p:nvPr/>
          </p:nvSpPr>
          <p:spPr bwMode="auto">
            <a:xfrm>
              <a:off x="1045" y="1600"/>
              <a:ext cx="159" cy="133"/>
            </a:xfrm>
            <a:custGeom>
              <a:avLst/>
              <a:gdLst>
                <a:gd name="T0" fmla="*/ 4 w 374"/>
                <a:gd name="T1" fmla="*/ 0 h 355"/>
                <a:gd name="T2" fmla="*/ 4 w 374"/>
                <a:gd name="T3" fmla="*/ 1 h 355"/>
                <a:gd name="T4" fmla="*/ 4 w 374"/>
                <a:gd name="T5" fmla="*/ 2 h 355"/>
                <a:gd name="T6" fmla="*/ 3 w 374"/>
                <a:gd name="T7" fmla="*/ 2 h 355"/>
                <a:gd name="T8" fmla="*/ 3 w 374"/>
                <a:gd name="T9" fmla="*/ 2 h 355"/>
                <a:gd name="T10" fmla="*/ 0 w 374"/>
                <a:gd name="T11" fmla="*/ 3 h 355"/>
                <a:gd name="T12" fmla="*/ 0 w 374"/>
                <a:gd name="T13" fmla="*/ 4 h 355"/>
                <a:gd name="T14" fmla="*/ 2 w 374"/>
                <a:gd name="T15" fmla="*/ 4 h 355"/>
                <a:gd name="T16" fmla="*/ 6 w 374"/>
                <a:gd name="T17" fmla="*/ 7 h 355"/>
                <a:gd name="T18" fmla="*/ 6 w 374"/>
                <a:gd name="T19" fmla="*/ 7 h 355"/>
                <a:gd name="T20" fmla="*/ 7 w 374"/>
                <a:gd name="T21" fmla="*/ 7 h 355"/>
                <a:gd name="T22" fmla="*/ 9 w 374"/>
                <a:gd name="T23" fmla="*/ 7 h 355"/>
                <a:gd name="T24" fmla="*/ 9 w 374"/>
                <a:gd name="T25" fmla="*/ 6 h 355"/>
                <a:gd name="T26" fmla="*/ 12 w 374"/>
                <a:gd name="T27" fmla="*/ 6 h 355"/>
                <a:gd name="T28" fmla="*/ 11 w 374"/>
                <a:gd name="T29" fmla="*/ 5 h 355"/>
                <a:gd name="T30" fmla="*/ 10 w 374"/>
                <a:gd name="T31" fmla="*/ 4 h 355"/>
                <a:gd name="T32" fmla="*/ 10 w 374"/>
                <a:gd name="T33" fmla="*/ 4 h 355"/>
                <a:gd name="T34" fmla="*/ 10 w 374"/>
                <a:gd name="T35" fmla="*/ 3 h 355"/>
                <a:gd name="T36" fmla="*/ 10 w 374"/>
                <a:gd name="T37" fmla="*/ 2 h 355"/>
                <a:gd name="T38" fmla="*/ 10 w 374"/>
                <a:gd name="T39" fmla="*/ 2 h 355"/>
                <a:gd name="T40" fmla="*/ 9 w 374"/>
                <a:gd name="T41" fmla="*/ 1 h 355"/>
                <a:gd name="T42" fmla="*/ 9 w 374"/>
                <a:gd name="T43" fmla="*/ 1 h 355"/>
                <a:gd name="T44" fmla="*/ 10 w 374"/>
                <a:gd name="T45" fmla="*/ 0 h 355"/>
                <a:gd name="T46" fmla="*/ 10 w 374"/>
                <a:gd name="T47" fmla="*/ 0 h 355"/>
                <a:gd name="T48" fmla="*/ 8 w 374"/>
                <a:gd name="T49" fmla="*/ 0 h 355"/>
                <a:gd name="T50" fmla="*/ 8 w 374"/>
                <a:gd name="T51" fmla="*/ 0 h 355"/>
                <a:gd name="T52" fmla="*/ 4 w 374"/>
                <a:gd name="T53" fmla="*/ 0 h 3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74" h="355">
                  <a:moveTo>
                    <a:pt x="119" y="31"/>
                  </a:moveTo>
                  <a:lnTo>
                    <a:pt x="119" y="62"/>
                  </a:lnTo>
                  <a:lnTo>
                    <a:pt x="134" y="92"/>
                  </a:lnTo>
                  <a:lnTo>
                    <a:pt x="90" y="92"/>
                  </a:lnTo>
                  <a:lnTo>
                    <a:pt x="90" y="123"/>
                  </a:lnTo>
                  <a:lnTo>
                    <a:pt x="0" y="169"/>
                  </a:lnTo>
                  <a:lnTo>
                    <a:pt x="0" y="185"/>
                  </a:lnTo>
                  <a:lnTo>
                    <a:pt x="60" y="231"/>
                  </a:lnTo>
                  <a:lnTo>
                    <a:pt x="194" y="339"/>
                  </a:lnTo>
                  <a:lnTo>
                    <a:pt x="194" y="354"/>
                  </a:lnTo>
                  <a:lnTo>
                    <a:pt x="224" y="354"/>
                  </a:lnTo>
                  <a:lnTo>
                    <a:pt x="254" y="339"/>
                  </a:lnTo>
                  <a:lnTo>
                    <a:pt x="269" y="323"/>
                  </a:lnTo>
                  <a:lnTo>
                    <a:pt x="373" y="277"/>
                  </a:lnTo>
                  <a:lnTo>
                    <a:pt x="328" y="246"/>
                  </a:lnTo>
                  <a:lnTo>
                    <a:pt x="313" y="215"/>
                  </a:lnTo>
                  <a:lnTo>
                    <a:pt x="313" y="185"/>
                  </a:lnTo>
                  <a:lnTo>
                    <a:pt x="313" y="169"/>
                  </a:lnTo>
                  <a:lnTo>
                    <a:pt x="313" y="123"/>
                  </a:lnTo>
                  <a:lnTo>
                    <a:pt x="313" y="92"/>
                  </a:lnTo>
                  <a:lnTo>
                    <a:pt x="283" y="77"/>
                  </a:lnTo>
                  <a:lnTo>
                    <a:pt x="283" y="46"/>
                  </a:lnTo>
                  <a:lnTo>
                    <a:pt x="298" y="31"/>
                  </a:lnTo>
                  <a:lnTo>
                    <a:pt x="298" y="0"/>
                  </a:lnTo>
                  <a:lnTo>
                    <a:pt x="239" y="15"/>
                  </a:lnTo>
                  <a:lnTo>
                    <a:pt x="239" y="0"/>
                  </a:lnTo>
                  <a:lnTo>
                    <a:pt x="119" y="31"/>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3" name="Freeform 118"/>
            <p:cNvSpPr>
              <a:spLocks/>
            </p:cNvSpPr>
            <p:nvPr/>
          </p:nvSpPr>
          <p:spPr bwMode="auto">
            <a:xfrm>
              <a:off x="980" y="1668"/>
              <a:ext cx="65" cy="47"/>
            </a:xfrm>
            <a:custGeom>
              <a:avLst/>
              <a:gdLst>
                <a:gd name="T0" fmla="*/ 0 w 150"/>
                <a:gd name="T1" fmla="*/ 3 h 124"/>
                <a:gd name="T2" fmla="*/ 2 w 150"/>
                <a:gd name="T3" fmla="*/ 3 h 124"/>
                <a:gd name="T4" fmla="*/ 2 w 150"/>
                <a:gd name="T5" fmla="*/ 2 h 124"/>
                <a:gd name="T6" fmla="*/ 3 w 150"/>
                <a:gd name="T7" fmla="*/ 2 h 124"/>
                <a:gd name="T8" fmla="*/ 3 w 150"/>
                <a:gd name="T9" fmla="*/ 1 h 124"/>
                <a:gd name="T10" fmla="*/ 5 w 150"/>
                <a:gd name="T11" fmla="*/ 1 h 124"/>
                <a:gd name="T12" fmla="*/ 5 w 150"/>
                <a:gd name="T13" fmla="*/ 0 h 124"/>
                <a:gd name="T14" fmla="*/ 3 w 150"/>
                <a:gd name="T15" fmla="*/ 0 h 124"/>
                <a:gd name="T16" fmla="*/ 2 w 150"/>
                <a:gd name="T17" fmla="*/ 1 h 124"/>
                <a:gd name="T18" fmla="*/ 0 w 150"/>
                <a:gd name="T19" fmla="*/ 3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0" h="124">
                  <a:moveTo>
                    <a:pt x="0" y="123"/>
                  </a:moveTo>
                  <a:lnTo>
                    <a:pt x="60" y="123"/>
                  </a:lnTo>
                  <a:lnTo>
                    <a:pt x="60" y="92"/>
                  </a:lnTo>
                  <a:lnTo>
                    <a:pt x="75" y="92"/>
                  </a:lnTo>
                  <a:lnTo>
                    <a:pt x="75" y="46"/>
                  </a:lnTo>
                  <a:lnTo>
                    <a:pt x="149" y="46"/>
                  </a:lnTo>
                  <a:lnTo>
                    <a:pt x="149" y="0"/>
                  </a:lnTo>
                  <a:lnTo>
                    <a:pt x="75" y="0"/>
                  </a:lnTo>
                  <a:lnTo>
                    <a:pt x="45" y="31"/>
                  </a:lnTo>
                  <a:lnTo>
                    <a:pt x="0" y="123"/>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4" name="Freeform 119"/>
            <p:cNvSpPr>
              <a:spLocks/>
            </p:cNvSpPr>
            <p:nvPr/>
          </p:nvSpPr>
          <p:spPr bwMode="auto">
            <a:xfrm>
              <a:off x="1012" y="1605"/>
              <a:ext cx="90" cy="65"/>
            </a:xfrm>
            <a:custGeom>
              <a:avLst/>
              <a:gdLst>
                <a:gd name="T0" fmla="*/ 0 w 211"/>
                <a:gd name="T1" fmla="*/ 4 h 170"/>
                <a:gd name="T2" fmla="*/ 3 w 211"/>
                <a:gd name="T3" fmla="*/ 4 h 170"/>
                <a:gd name="T4" fmla="*/ 3 w 211"/>
                <a:gd name="T5" fmla="*/ 3 h 170"/>
                <a:gd name="T6" fmla="*/ 6 w 211"/>
                <a:gd name="T7" fmla="*/ 2 h 170"/>
                <a:gd name="T8" fmla="*/ 6 w 211"/>
                <a:gd name="T9" fmla="*/ 2 h 170"/>
                <a:gd name="T10" fmla="*/ 7 w 211"/>
                <a:gd name="T11" fmla="*/ 2 h 170"/>
                <a:gd name="T12" fmla="*/ 6 w 211"/>
                <a:gd name="T13" fmla="*/ 1 h 170"/>
                <a:gd name="T14" fmla="*/ 6 w 211"/>
                <a:gd name="T15" fmla="*/ 0 h 170"/>
                <a:gd name="T16" fmla="*/ 6 w 211"/>
                <a:gd name="T17" fmla="*/ 0 h 170"/>
                <a:gd name="T18" fmla="*/ 5 w 211"/>
                <a:gd name="T19" fmla="*/ 0 h 170"/>
                <a:gd name="T20" fmla="*/ 5 w 211"/>
                <a:gd name="T21" fmla="*/ 0 h 170"/>
                <a:gd name="T22" fmla="*/ 3 w 211"/>
                <a:gd name="T23" fmla="*/ 1 h 170"/>
                <a:gd name="T24" fmla="*/ 3 w 211"/>
                <a:gd name="T25" fmla="*/ 1 h 170"/>
                <a:gd name="T26" fmla="*/ 1 w 211"/>
                <a:gd name="T27" fmla="*/ 3 h 170"/>
                <a:gd name="T28" fmla="*/ 0 w 211"/>
                <a:gd name="T29" fmla="*/ 4 h 1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1" h="170">
                  <a:moveTo>
                    <a:pt x="0" y="169"/>
                  </a:moveTo>
                  <a:lnTo>
                    <a:pt x="75" y="169"/>
                  </a:lnTo>
                  <a:lnTo>
                    <a:pt x="75" y="154"/>
                  </a:lnTo>
                  <a:lnTo>
                    <a:pt x="165" y="108"/>
                  </a:lnTo>
                  <a:lnTo>
                    <a:pt x="165" y="77"/>
                  </a:lnTo>
                  <a:lnTo>
                    <a:pt x="210" y="77"/>
                  </a:lnTo>
                  <a:lnTo>
                    <a:pt x="195" y="46"/>
                  </a:lnTo>
                  <a:lnTo>
                    <a:pt x="195" y="15"/>
                  </a:lnTo>
                  <a:lnTo>
                    <a:pt x="165" y="0"/>
                  </a:lnTo>
                  <a:lnTo>
                    <a:pt x="135" y="15"/>
                  </a:lnTo>
                  <a:lnTo>
                    <a:pt x="135" y="0"/>
                  </a:lnTo>
                  <a:lnTo>
                    <a:pt x="105" y="31"/>
                  </a:lnTo>
                  <a:lnTo>
                    <a:pt x="90" y="46"/>
                  </a:lnTo>
                  <a:lnTo>
                    <a:pt x="45" y="123"/>
                  </a:lnTo>
                  <a:lnTo>
                    <a:pt x="0" y="169"/>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5" name="Freeform 120"/>
            <p:cNvSpPr>
              <a:spLocks/>
            </p:cNvSpPr>
            <p:nvPr/>
          </p:nvSpPr>
          <p:spPr bwMode="auto">
            <a:xfrm>
              <a:off x="1077" y="1478"/>
              <a:ext cx="90" cy="69"/>
            </a:xfrm>
            <a:custGeom>
              <a:avLst/>
              <a:gdLst>
                <a:gd name="T0" fmla="*/ 2 w 210"/>
                <a:gd name="T1" fmla="*/ 3 h 185"/>
                <a:gd name="T2" fmla="*/ 3 w 210"/>
                <a:gd name="T3" fmla="*/ 4 h 185"/>
                <a:gd name="T4" fmla="*/ 3 w 210"/>
                <a:gd name="T5" fmla="*/ 3 h 185"/>
                <a:gd name="T6" fmla="*/ 4 w 210"/>
                <a:gd name="T7" fmla="*/ 4 h 185"/>
                <a:gd name="T8" fmla="*/ 4 w 210"/>
                <a:gd name="T9" fmla="*/ 3 h 185"/>
                <a:gd name="T10" fmla="*/ 5 w 210"/>
                <a:gd name="T11" fmla="*/ 3 h 185"/>
                <a:gd name="T12" fmla="*/ 6 w 210"/>
                <a:gd name="T13" fmla="*/ 3 h 185"/>
                <a:gd name="T14" fmla="*/ 7 w 210"/>
                <a:gd name="T15" fmla="*/ 3 h 185"/>
                <a:gd name="T16" fmla="*/ 6 w 210"/>
                <a:gd name="T17" fmla="*/ 2 h 185"/>
                <a:gd name="T18" fmla="*/ 6 w 210"/>
                <a:gd name="T19" fmla="*/ 2 h 185"/>
                <a:gd name="T20" fmla="*/ 6 w 210"/>
                <a:gd name="T21" fmla="*/ 2 h 185"/>
                <a:gd name="T22" fmla="*/ 6 w 210"/>
                <a:gd name="T23" fmla="*/ 2 h 185"/>
                <a:gd name="T24" fmla="*/ 7 w 210"/>
                <a:gd name="T25" fmla="*/ 1 h 185"/>
                <a:gd name="T26" fmla="*/ 7 w 210"/>
                <a:gd name="T27" fmla="*/ 1 h 185"/>
                <a:gd name="T28" fmla="*/ 6 w 210"/>
                <a:gd name="T29" fmla="*/ 0 h 185"/>
                <a:gd name="T30" fmla="*/ 5 w 210"/>
                <a:gd name="T31" fmla="*/ 0 h 185"/>
                <a:gd name="T32" fmla="*/ 4 w 210"/>
                <a:gd name="T33" fmla="*/ 0 h 185"/>
                <a:gd name="T34" fmla="*/ 3 w 210"/>
                <a:gd name="T35" fmla="*/ 0 h 185"/>
                <a:gd name="T36" fmla="*/ 3 w 210"/>
                <a:gd name="T37" fmla="*/ 0 h 185"/>
                <a:gd name="T38" fmla="*/ 3 w 210"/>
                <a:gd name="T39" fmla="*/ 1 h 185"/>
                <a:gd name="T40" fmla="*/ 1 w 210"/>
                <a:gd name="T41" fmla="*/ 0 h 185"/>
                <a:gd name="T42" fmla="*/ 1 w 210"/>
                <a:gd name="T43" fmla="*/ 1 h 185"/>
                <a:gd name="T44" fmla="*/ 1 w 210"/>
                <a:gd name="T45" fmla="*/ 1 h 185"/>
                <a:gd name="T46" fmla="*/ 0 w 210"/>
                <a:gd name="T47" fmla="*/ 1 h 185"/>
                <a:gd name="T48" fmla="*/ 0 w 210"/>
                <a:gd name="T49" fmla="*/ 1 h 185"/>
                <a:gd name="T50" fmla="*/ 1 w 210"/>
                <a:gd name="T51" fmla="*/ 1 h 185"/>
                <a:gd name="T52" fmla="*/ 2 w 210"/>
                <a:gd name="T53" fmla="*/ 2 h 185"/>
                <a:gd name="T54" fmla="*/ 2 w 210"/>
                <a:gd name="T55" fmla="*/ 3 h 18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0" h="185">
                  <a:moveTo>
                    <a:pt x="60" y="169"/>
                  </a:moveTo>
                  <a:lnTo>
                    <a:pt x="90" y="184"/>
                  </a:lnTo>
                  <a:lnTo>
                    <a:pt x="90" y="169"/>
                  </a:lnTo>
                  <a:lnTo>
                    <a:pt x="134" y="184"/>
                  </a:lnTo>
                  <a:lnTo>
                    <a:pt x="134" y="169"/>
                  </a:lnTo>
                  <a:lnTo>
                    <a:pt x="149" y="169"/>
                  </a:lnTo>
                  <a:lnTo>
                    <a:pt x="194" y="169"/>
                  </a:lnTo>
                  <a:lnTo>
                    <a:pt x="209" y="153"/>
                  </a:lnTo>
                  <a:lnTo>
                    <a:pt x="194" y="123"/>
                  </a:lnTo>
                  <a:lnTo>
                    <a:pt x="194" y="107"/>
                  </a:lnTo>
                  <a:lnTo>
                    <a:pt x="179" y="107"/>
                  </a:lnTo>
                  <a:lnTo>
                    <a:pt x="179" y="92"/>
                  </a:lnTo>
                  <a:lnTo>
                    <a:pt x="209" y="61"/>
                  </a:lnTo>
                  <a:lnTo>
                    <a:pt x="209" y="46"/>
                  </a:lnTo>
                  <a:lnTo>
                    <a:pt x="179" y="15"/>
                  </a:lnTo>
                  <a:lnTo>
                    <a:pt x="149" y="15"/>
                  </a:lnTo>
                  <a:lnTo>
                    <a:pt x="119" y="0"/>
                  </a:lnTo>
                  <a:lnTo>
                    <a:pt x="105" y="0"/>
                  </a:lnTo>
                  <a:lnTo>
                    <a:pt x="105" y="15"/>
                  </a:lnTo>
                  <a:lnTo>
                    <a:pt x="75" y="46"/>
                  </a:lnTo>
                  <a:lnTo>
                    <a:pt x="45" y="31"/>
                  </a:lnTo>
                  <a:lnTo>
                    <a:pt x="45" y="46"/>
                  </a:lnTo>
                  <a:lnTo>
                    <a:pt x="30" y="46"/>
                  </a:lnTo>
                  <a:lnTo>
                    <a:pt x="15" y="46"/>
                  </a:lnTo>
                  <a:lnTo>
                    <a:pt x="0" y="61"/>
                  </a:lnTo>
                  <a:lnTo>
                    <a:pt x="45" y="77"/>
                  </a:lnTo>
                  <a:lnTo>
                    <a:pt x="60" y="123"/>
                  </a:lnTo>
                  <a:lnTo>
                    <a:pt x="60" y="169"/>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6" name="Freeform 121"/>
            <p:cNvSpPr>
              <a:spLocks/>
            </p:cNvSpPr>
            <p:nvPr/>
          </p:nvSpPr>
          <p:spPr bwMode="auto">
            <a:xfrm>
              <a:off x="1173" y="1547"/>
              <a:ext cx="7"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0" y="16"/>
                  </a:lnTo>
                  <a:lnTo>
                    <a:pt x="16"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7" name="Freeform 122"/>
            <p:cNvSpPr>
              <a:spLocks/>
            </p:cNvSpPr>
            <p:nvPr/>
          </p:nvSpPr>
          <p:spPr bwMode="auto">
            <a:xfrm>
              <a:off x="1045" y="1535"/>
              <a:ext cx="90" cy="65"/>
            </a:xfrm>
            <a:custGeom>
              <a:avLst/>
              <a:gdLst>
                <a:gd name="T0" fmla="*/ 2 w 210"/>
                <a:gd name="T1" fmla="*/ 4 h 170"/>
                <a:gd name="T2" fmla="*/ 3 w 210"/>
                <a:gd name="T3" fmla="*/ 3 h 170"/>
                <a:gd name="T4" fmla="*/ 3 w 210"/>
                <a:gd name="T5" fmla="*/ 3 h 170"/>
                <a:gd name="T6" fmla="*/ 4 w 210"/>
                <a:gd name="T7" fmla="*/ 3 h 170"/>
                <a:gd name="T8" fmla="*/ 4 w 210"/>
                <a:gd name="T9" fmla="*/ 3 h 170"/>
                <a:gd name="T10" fmla="*/ 5 w 210"/>
                <a:gd name="T11" fmla="*/ 3 h 170"/>
                <a:gd name="T12" fmla="*/ 6 w 210"/>
                <a:gd name="T13" fmla="*/ 2 h 170"/>
                <a:gd name="T14" fmla="*/ 5 w 210"/>
                <a:gd name="T15" fmla="*/ 2 h 170"/>
                <a:gd name="T16" fmla="*/ 6 w 210"/>
                <a:gd name="T17" fmla="*/ 1 h 170"/>
                <a:gd name="T18" fmla="*/ 7 w 210"/>
                <a:gd name="T19" fmla="*/ 1 h 170"/>
                <a:gd name="T20" fmla="*/ 7 w 210"/>
                <a:gd name="T21" fmla="*/ 1 h 170"/>
                <a:gd name="T22" fmla="*/ 6 w 210"/>
                <a:gd name="T23" fmla="*/ 0 h 170"/>
                <a:gd name="T24" fmla="*/ 6 w 210"/>
                <a:gd name="T25" fmla="*/ 1 h 170"/>
                <a:gd name="T26" fmla="*/ 4 w 210"/>
                <a:gd name="T27" fmla="*/ 0 h 170"/>
                <a:gd name="T28" fmla="*/ 4 w 210"/>
                <a:gd name="T29" fmla="*/ 0 h 170"/>
                <a:gd name="T30" fmla="*/ 1 w 210"/>
                <a:gd name="T31" fmla="*/ 0 h 170"/>
                <a:gd name="T32" fmla="*/ 0 w 210"/>
                <a:gd name="T33" fmla="*/ 0 h 170"/>
                <a:gd name="T34" fmla="*/ 0 w 210"/>
                <a:gd name="T35" fmla="*/ 1 h 170"/>
                <a:gd name="T36" fmla="*/ 1 w 210"/>
                <a:gd name="T37" fmla="*/ 1 h 170"/>
                <a:gd name="T38" fmla="*/ 1 w 210"/>
                <a:gd name="T39" fmla="*/ 2 h 170"/>
                <a:gd name="T40" fmla="*/ 1 w 210"/>
                <a:gd name="T41" fmla="*/ 3 h 170"/>
                <a:gd name="T42" fmla="*/ 1 w 210"/>
                <a:gd name="T43" fmla="*/ 3 h 170"/>
                <a:gd name="T44" fmla="*/ 1 w 210"/>
                <a:gd name="T45" fmla="*/ 3 h 170"/>
                <a:gd name="T46" fmla="*/ 2 w 210"/>
                <a:gd name="T47" fmla="*/ 4 h 1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0" h="170">
                  <a:moveTo>
                    <a:pt x="60" y="169"/>
                  </a:moveTo>
                  <a:lnTo>
                    <a:pt x="90" y="154"/>
                  </a:lnTo>
                  <a:lnTo>
                    <a:pt x="105" y="154"/>
                  </a:lnTo>
                  <a:lnTo>
                    <a:pt x="119" y="154"/>
                  </a:lnTo>
                  <a:lnTo>
                    <a:pt x="134" y="138"/>
                  </a:lnTo>
                  <a:lnTo>
                    <a:pt x="149" y="138"/>
                  </a:lnTo>
                  <a:lnTo>
                    <a:pt x="164" y="108"/>
                  </a:lnTo>
                  <a:lnTo>
                    <a:pt x="149" y="92"/>
                  </a:lnTo>
                  <a:lnTo>
                    <a:pt x="179" y="61"/>
                  </a:lnTo>
                  <a:lnTo>
                    <a:pt x="209" y="46"/>
                  </a:lnTo>
                  <a:lnTo>
                    <a:pt x="209" y="31"/>
                  </a:lnTo>
                  <a:lnTo>
                    <a:pt x="164" y="15"/>
                  </a:lnTo>
                  <a:lnTo>
                    <a:pt x="164" y="31"/>
                  </a:lnTo>
                  <a:lnTo>
                    <a:pt x="134" y="15"/>
                  </a:lnTo>
                  <a:lnTo>
                    <a:pt x="119" y="15"/>
                  </a:lnTo>
                  <a:lnTo>
                    <a:pt x="30" y="0"/>
                  </a:lnTo>
                  <a:lnTo>
                    <a:pt x="0" y="15"/>
                  </a:lnTo>
                  <a:lnTo>
                    <a:pt x="0" y="46"/>
                  </a:lnTo>
                  <a:lnTo>
                    <a:pt x="45" y="46"/>
                  </a:lnTo>
                  <a:lnTo>
                    <a:pt x="30" y="108"/>
                  </a:lnTo>
                  <a:lnTo>
                    <a:pt x="30" y="123"/>
                  </a:lnTo>
                  <a:lnTo>
                    <a:pt x="30" y="154"/>
                  </a:lnTo>
                  <a:lnTo>
                    <a:pt x="45" y="154"/>
                  </a:lnTo>
                  <a:lnTo>
                    <a:pt x="60" y="169"/>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8" name="Freeform 123"/>
            <p:cNvSpPr>
              <a:spLocks/>
            </p:cNvSpPr>
            <p:nvPr/>
          </p:nvSpPr>
          <p:spPr bwMode="auto">
            <a:xfrm>
              <a:off x="1121" y="1570"/>
              <a:ext cx="14" cy="7"/>
            </a:xfrm>
            <a:custGeom>
              <a:avLst/>
              <a:gdLst>
                <a:gd name="T0" fmla="*/ 0 w 30"/>
                <a:gd name="T1" fmla="*/ 0 h 17"/>
                <a:gd name="T2" fmla="*/ 0 w 30"/>
                <a:gd name="T3" fmla="*/ 0 h 17"/>
                <a:gd name="T4" fmla="*/ 1 w 30"/>
                <a:gd name="T5" fmla="*/ 0 h 17"/>
                <a:gd name="T6" fmla="*/ 0 w 30"/>
                <a:gd name="T7" fmla="*/ 0 h 17"/>
                <a:gd name="T8" fmla="*/ 0 w 30"/>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17">
                  <a:moveTo>
                    <a:pt x="0" y="0"/>
                  </a:moveTo>
                  <a:lnTo>
                    <a:pt x="15" y="16"/>
                  </a:lnTo>
                  <a:lnTo>
                    <a:pt x="29" y="0"/>
                  </a:lnTo>
                  <a:lnTo>
                    <a:pt x="15"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499" name="Freeform 124"/>
            <p:cNvSpPr>
              <a:spLocks/>
            </p:cNvSpPr>
            <p:nvPr/>
          </p:nvSpPr>
          <p:spPr bwMode="auto">
            <a:xfrm>
              <a:off x="1045" y="1552"/>
              <a:ext cx="19" cy="42"/>
            </a:xfrm>
            <a:custGeom>
              <a:avLst/>
              <a:gdLst>
                <a:gd name="T0" fmla="*/ 0 w 46"/>
                <a:gd name="T1" fmla="*/ 0 h 108"/>
                <a:gd name="T2" fmla="*/ 0 w 46"/>
                <a:gd name="T3" fmla="*/ 2 h 108"/>
                <a:gd name="T4" fmla="*/ 0 w 46"/>
                <a:gd name="T5" fmla="*/ 2 h 108"/>
                <a:gd name="T6" fmla="*/ 0 w 46"/>
                <a:gd name="T7" fmla="*/ 2 h 108"/>
                <a:gd name="T8" fmla="*/ 1 w 46"/>
                <a:gd name="T9" fmla="*/ 2 h 108"/>
                <a:gd name="T10" fmla="*/ 1 w 46"/>
                <a:gd name="T11" fmla="*/ 2 h 108"/>
                <a:gd name="T12" fmla="*/ 1 w 46"/>
                <a:gd name="T13" fmla="*/ 2 h 108"/>
                <a:gd name="T14" fmla="*/ 1 w 46"/>
                <a:gd name="T15" fmla="*/ 0 h 108"/>
                <a:gd name="T16" fmla="*/ 0 w 46"/>
                <a:gd name="T17" fmla="*/ 0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6" h="108">
                  <a:moveTo>
                    <a:pt x="0" y="0"/>
                  </a:moveTo>
                  <a:lnTo>
                    <a:pt x="0" y="61"/>
                  </a:lnTo>
                  <a:lnTo>
                    <a:pt x="0" y="76"/>
                  </a:lnTo>
                  <a:lnTo>
                    <a:pt x="0" y="107"/>
                  </a:lnTo>
                  <a:lnTo>
                    <a:pt x="30" y="107"/>
                  </a:lnTo>
                  <a:lnTo>
                    <a:pt x="30" y="76"/>
                  </a:lnTo>
                  <a:lnTo>
                    <a:pt x="30" y="61"/>
                  </a:lnTo>
                  <a:lnTo>
                    <a:pt x="45"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0" name="Freeform 125"/>
            <p:cNvSpPr>
              <a:spLocks/>
            </p:cNvSpPr>
            <p:nvPr/>
          </p:nvSpPr>
          <p:spPr bwMode="auto">
            <a:xfrm>
              <a:off x="1128" y="1466"/>
              <a:ext cx="26" cy="18"/>
            </a:xfrm>
            <a:custGeom>
              <a:avLst/>
              <a:gdLst>
                <a:gd name="T0" fmla="*/ 1 w 61"/>
                <a:gd name="T1" fmla="*/ 1 h 47"/>
                <a:gd name="T2" fmla="*/ 2 w 61"/>
                <a:gd name="T3" fmla="*/ 1 h 47"/>
                <a:gd name="T4" fmla="*/ 1 w 61"/>
                <a:gd name="T5" fmla="*/ 1 h 47"/>
                <a:gd name="T6" fmla="*/ 0 w 61"/>
                <a:gd name="T7" fmla="*/ 1 h 47"/>
                <a:gd name="T8" fmla="*/ 0 w 61"/>
                <a:gd name="T9" fmla="*/ 0 h 47"/>
                <a:gd name="T10" fmla="*/ 1 w 61"/>
                <a:gd name="T11" fmla="*/ 0 h 47"/>
                <a:gd name="T12" fmla="*/ 1 w 61"/>
                <a:gd name="T13" fmla="*/ 0 h 47"/>
                <a:gd name="T14" fmla="*/ 2 w 61"/>
                <a:gd name="T15" fmla="*/ 0 h 47"/>
                <a:gd name="T16" fmla="*/ 2 w 61"/>
                <a:gd name="T17" fmla="*/ 1 h 47"/>
                <a:gd name="T18" fmla="*/ 1 w 61"/>
                <a:gd name="T19" fmla="*/ 1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47">
                  <a:moveTo>
                    <a:pt x="45" y="46"/>
                  </a:moveTo>
                  <a:lnTo>
                    <a:pt x="60" y="46"/>
                  </a:lnTo>
                  <a:lnTo>
                    <a:pt x="30" y="46"/>
                  </a:lnTo>
                  <a:lnTo>
                    <a:pt x="0" y="31"/>
                  </a:lnTo>
                  <a:lnTo>
                    <a:pt x="15" y="15"/>
                  </a:lnTo>
                  <a:lnTo>
                    <a:pt x="30" y="15"/>
                  </a:lnTo>
                  <a:lnTo>
                    <a:pt x="45" y="0"/>
                  </a:lnTo>
                  <a:lnTo>
                    <a:pt x="60" y="15"/>
                  </a:lnTo>
                  <a:lnTo>
                    <a:pt x="60" y="31"/>
                  </a:lnTo>
                  <a:lnTo>
                    <a:pt x="45"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1" name="Freeform 126"/>
            <p:cNvSpPr>
              <a:spLocks/>
            </p:cNvSpPr>
            <p:nvPr/>
          </p:nvSpPr>
          <p:spPr bwMode="auto">
            <a:xfrm>
              <a:off x="1134" y="1453"/>
              <a:ext cx="26" cy="19"/>
            </a:xfrm>
            <a:custGeom>
              <a:avLst/>
              <a:gdLst>
                <a:gd name="T0" fmla="*/ 0 w 60"/>
                <a:gd name="T1" fmla="*/ 1 h 48"/>
                <a:gd name="T2" fmla="*/ 0 w 60"/>
                <a:gd name="T3" fmla="*/ 1 h 48"/>
                <a:gd name="T4" fmla="*/ 1 w 60"/>
                <a:gd name="T5" fmla="*/ 1 h 48"/>
                <a:gd name="T6" fmla="*/ 1 w 60"/>
                <a:gd name="T7" fmla="*/ 1 h 48"/>
                <a:gd name="T8" fmla="*/ 2 w 60"/>
                <a:gd name="T9" fmla="*/ 0 h 48"/>
                <a:gd name="T10" fmla="*/ 2 w 60"/>
                <a:gd name="T11" fmla="*/ 0 h 48"/>
                <a:gd name="T12" fmla="*/ 1 w 60"/>
                <a:gd name="T13" fmla="*/ 0 h 48"/>
                <a:gd name="T14" fmla="*/ 0 w 60"/>
                <a:gd name="T15" fmla="*/ 0 h 48"/>
                <a:gd name="T16" fmla="*/ 0 w 60"/>
                <a:gd name="T17" fmla="*/ 1 h 48"/>
                <a:gd name="T18" fmla="*/ 0 w 60"/>
                <a:gd name="T19" fmla="*/ 1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48">
                  <a:moveTo>
                    <a:pt x="0" y="47"/>
                  </a:moveTo>
                  <a:lnTo>
                    <a:pt x="15" y="47"/>
                  </a:lnTo>
                  <a:lnTo>
                    <a:pt x="30" y="31"/>
                  </a:lnTo>
                  <a:lnTo>
                    <a:pt x="44" y="47"/>
                  </a:lnTo>
                  <a:lnTo>
                    <a:pt x="59" y="16"/>
                  </a:lnTo>
                  <a:lnTo>
                    <a:pt x="59" y="0"/>
                  </a:lnTo>
                  <a:lnTo>
                    <a:pt x="30" y="0"/>
                  </a:lnTo>
                  <a:lnTo>
                    <a:pt x="15" y="0"/>
                  </a:lnTo>
                  <a:lnTo>
                    <a:pt x="0" y="31"/>
                  </a:lnTo>
                  <a:lnTo>
                    <a:pt x="0" y="4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2" name="Freeform 127"/>
            <p:cNvSpPr>
              <a:spLocks/>
            </p:cNvSpPr>
            <p:nvPr/>
          </p:nvSpPr>
          <p:spPr bwMode="auto">
            <a:xfrm>
              <a:off x="1071" y="1401"/>
              <a:ext cx="50" cy="83"/>
            </a:xfrm>
            <a:custGeom>
              <a:avLst/>
              <a:gdLst>
                <a:gd name="T0" fmla="*/ 1 w 121"/>
                <a:gd name="T1" fmla="*/ 0 h 217"/>
                <a:gd name="T2" fmla="*/ 0 w 121"/>
                <a:gd name="T3" fmla="*/ 0 h 217"/>
                <a:gd name="T4" fmla="*/ 0 w 121"/>
                <a:gd name="T5" fmla="*/ 0 h 217"/>
                <a:gd name="T6" fmla="*/ 0 w 121"/>
                <a:gd name="T7" fmla="*/ 1 h 217"/>
                <a:gd name="T8" fmla="*/ 0 w 121"/>
                <a:gd name="T9" fmla="*/ 2 h 217"/>
                <a:gd name="T10" fmla="*/ 0 w 121"/>
                <a:gd name="T11" fmla="*/ 2 h 217"/>
                <a:gd name="T12" fmla="*/ 0 w 121"/>
                <a:gd name="T13" fmla="*/ 2 h 217"/>
                <a:gd name="T14" fmla="*/ 1 w 121"/>
                <a:gd name="T15" fmla="*/ 2 h 217"/>
                <a:gd name="T16" fmla="*/ 1 w 121"/>
                <a:gd name="T17" fmla="*/ 2 h 217"/>
                <a:gd name="T18" fmla="*/ 1 w 121"/>
                <a:gd name="T19" fmla="*/ 3 h 217"/>
                <a:gd name="T20" fmla="*/ 1 w 121"/>
                <a:gd name="T21" fmla="*/ 3 h 217"/>
                <a:gd name="T22" fmla="*/ 1 w 121"/>
                <a:gd name="T23" fmla="*/ 3 h 217"/>
                <a:gd name="T24" fmla="*/ 0 w 121"/>
                <a:gd name="T25" fmla="*/ 4 h 217"/>
                <a:gd name="T26" fmla="*/ 1 w 121"/>
                <a:gd name="T27" fmla="*/ 4 h 217"/>
                <a:gd name="T28" fmla="*/ 1 w 121"/>
                <a:gd name="T29" fmla="*/ 4 h 217"/>
                <a:gd name="T30" fmla="*/ 1 w 121"/>
                <a:gd name="T31" fmla="*/ 4 h 217"/>
                <a:gd name="T32" fmla="*/ 0 w 121"/>
                <a:gd name="T33" fmla="*/ 5 h 217"/>
                <a:gd name="T34" fmla="*/ 0 w 121"/>
                <a:gd name="T35" fmla="*/ 5 h 217"/>
                <a:gd name="T36" fmla="*/ 1 w 121"/>
                <a:gd name="T37" fmla="*/ 4 h 217"/>
                <a:gd name="T38" fmla="*/ 2 w 121"/>
                <a:gd name="T39" fmla="*/ 4 h 217"/>
                <a:gd name="T40" fmla="*/ 3 w 121"/>
                <a:gd name="T41" fmla="*/ 4 h 217"/>
                <a:gd name="T42" fmla="*/ 4 w 121"/>
                <a:gd name="T43" fmla="*/ 4 h 217"/>
                <a:gd name="T44" fmla="*/ 3 w 121"/>
                <a:gd name="T45" fmla="*/ 4 h 217"/>
                <a:gd name="T46" fmla="*/ 4 w 121"/>
                <a:gd name="T47" fmla="*/ 4 h 217"/>
                <a:gd name="T48" fmla="*/ 4 w 121"/>
                <a:gd name="T49" fmla="*/ 3 h 217"/>
                <a:gd name="T50" fmla="*/ 4 w 121"/>
                <a:gd name="T51" fmla="*/ 3 h 217"/>
                <a:gd name="T52" fmla="*/ 3 w 121"/>
                <a:gd name="T53" fmla="*/ 3 h 217"/>
                <a:gd name="T54" fmla="*/ 2 w 121"/>
                <a:gd name="T55" fmla="*/ 1 h 217"/>
                <a:gd name="T56" fmla="*/ 1 w 121"/>
                <a:gd name="T57" fmla="*/ 1 h 217"/>
                <a:gd name="T58" fmla="*/ 2 w 121"/>
                <a:gd name="T59" fmla="*/ 1 h 217"/>
                <a:gd name="T60" fmla="*/ 1 w 121"/>
                <a:gd name="T61" fmla="*/ 1 h 217"/>
                <a:gd name="T62" fmla="*/ 1 w 121"/>
                <a:gd name="T63" fmla="*/ 0 h 2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1" h="217">
                  <a:moveTo>
                    <a:pt x="45" y="0"/>
                  </a:moveTo>
                  <a:lnTo>
                    <a:pt x="15" y="0"/>
                  </a:lnTo>
                  <a:lnTo>
                    <a:pt x="0" y="15"/>
                  </a:lnTo>
                  <a:lnTo>
                    <a:pt x="15" y="62"/>
                  </a:lnTo>
                  <a:lnTo>
                    <a:pt x="15" y="77"/>
                  </a:lnTo>
                  <a:lnTo>
                    <a:pt x="15" y="93"/>
                  </a:lnTo>
                  <a:lnTo>
                    <a:pt x="15" y="108"/>
                  </a:lnTo>
                  <a:lnTo>
                    <a:pt x="45" y="93"/>
                  </a:lnTo>
                  <a:lnTo>
                    <a:pt x="45" y="108"/>
                  </a:lnTo>
                  <a:lnTo>
                    <a:pt x="45" y="139"/>
                  </a:lnTo>
                  <a:lnTo>
                    <a:pt x="30" y="139"/>
                  </a:lnTo>
                  <a:lnTo>
                    <a:pt x="30" y="154"/>
                  </a:lnTo>
                  <a:lnTo>
                    <a:pt x="15" y="170"/>
                  </a:lnTo>
                  <a:lnTo>
                    <a:pt x="30" y="170"/>
                  </a:lnTo>
                  <a:lnTo>
                    <a:pt x="45" y="185"/>
                  </a:lnTo>
                  <a:lnTo>
                    <a:pt x="30" y="185"/>
                  </a:lnTo>
                  <a:lnTo>
                    <a:pt x="0" y="216"/>
                  </a:lnTo>
                  <a:lnTo>
                    <a:pt x="15" y="216"/>
                  </a:lnTo>
                  <a:lnTo>
                    <a:pt x="45" y="201"/>
                  </a:lnTo>
                  <a:lnTo>
                    <a:pt x="60" y="201"/>
                  </a:lnTo>
                  <a:lnTo>
                    <a:pt x="105" y="201"/>
                  </a:lnTo>
                  <a:lnTo>
                    <a:pt x="120" y="185"/>
                  </a:lnTo>
                  <a:lnTo>
                    <a:pt x="105" y="185"/>
                  </a:lnTo>
                  <a:lnTo>
                    <a:pt x="120" y="170"/>
                  </a:lnTo>
                  <a:lnTo>
                    <a:pt x="120" y="154"/>
                  </a:lnTo>
                  <a:lnTo>
                    <a:pt x="120" y="139"/>
                  </a:lnTo>
                  <a:lnTo>
                    <a:pt x="105" y="139"/>
                  </a:lnTo>
                  <a:lnTo>
                    <a:pt x="60" y="62"/>
                  </a:lnTo>
                  <a:lnTo>
                    <a:pt x="45" y="62"/>
                  </a:lnTo>
                  <a:lnTo>
                    <a:pt x="60" y="31"/>
                  </a:lnTo>
                  <a:lnTo>
                    <a:pt x="30" y="31"/>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3" name="Freeform 128"/>
            <p:cNvSpPr>
              <a:spLocks/>
            </p:cNvSpPr>
            <p:nvPr/>
          </p:nvSpPr>
          <p:spPr bwMode="auto">
            <a:xfrm>
              <a:off x="1057" y="1437"/>
              <a:ext cx="14" cy="11"/>
            </a:xfrm>
            <a:custGeom>
              <a:avLst/>
              <a:gdLst>
                <a:gd name="T0" fmla="*/ 0 w 31"/>
                <a:gd name="T1" fmla="*/ 0 h 32"/>
                <a:gd name="T2" fmla="*/ 0 w 31"/>
                <a:gd name="T3" fmla="*/ 0 h 32"/>
                <a:gd name="T4" fmla="*/ 0 w 31"/>
                <a:gd name="T5" fmla="*/ 0 h 32"/>
                <a:gd name="T6" fmla="*/ 1 w 31"/>
                <a:gd name="T7" fmla="*/ 0 h 32"/>
                <a:gd name="T8" fmla="*/ 1 w 31"/>
                <a:gd name="T9" fmla="*/ 0 h 32"/>
                <a:gd name="T10" fmla="*/ 1 w 31"/>
                <a:gd name="T11" fmla="*/ 0 h 32"/>
                <a:gd name="T12" fmla="*/ 0 w 31"/>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32">
                  <a:moveTo>
                    <a:pt x="15" y="0"/>
                  </a:moveTo>
                  <a:lnTo>
                    <a:pt x="0" y="16"/>
                  </a:lnTo>
                  <a:lnTo>
                    <a:pt x="15" y="31"/>
                  </a:lnTo>
                  <a:lnTo>
                    <a:pt x="30" y="31"/>
                  </a:lnTo>
                  <a:lnTo>
                    <a:pt x="30" y="16"/>
                  </a:lnTo>
                  <a:lnTo>
                    <a:pt x="30" y="0"/>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4" name="Freeform 129"/>
            <p:cNvSpPr>
              <a:spLocks/>
            </p:cNvSpPr>
            <p:nvPr/>
          </p:nvSpPr>
          <p:spPr bwMode="auto">
            <a:xfrm>
              <a:off x="1063" y="1401"/>
              <a:ext cx="9" cy="7"/>
            </a:xfrm>
            <a:custGeom>
              <a:avLst/>
              <a:gdLst>
                <a:gd name="T0" fmla="*/ 0 w 18"/>
                <a:gd name="T1" fmla="*/ 0 h 17"/>
                <a:gd name="T2" fmla="*/ 2 w 18"/>
                <a:gd name="T3" fmla="*/ 0 h 17"/>
                <a:gd name="T4" fmla="*/ 2 w 18"/>
                <a:gd name="T5" fmla="*/ 0 h 17"/>
                <a:gd name="T6" fmla="*/ 0 w 18"/>
                <a:gd name="T7" fmla="*/ 0 h 17"/>
                <a:gd name="T8" fmla="*/ 0 w 18"/>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7">
                  <a:moveTo>
                    <a:pt x="0" y="16"/>
                  </a:moveTo>
                  <a:lnTo>
                    <a:pt x="17" y="16"/>
                  </a:lnTo>
                  <a:lnTo>
                    <a:pt x="17" y="0"/>
                  </a:lnTo>
                  <a:lnTo>
                    <a:pt x="0"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5" name="Freeform 130"/>
            <p:cNvSpPr>
              <a:spLocks/>
            </p:cNvSpPr>
            <p:nvPr/>
          </p:nvSpPr>
          <p:spPr bwMode="auto">
            <a:xfrm>
              <a:off x="1037" y="1437"/>
              <a:ext cx="34" cy="35"/>
            </a:xfrm>
            <a:custGeom>
              <a:avLst/>
              <a:gdLst>
                <a:gd name="T0" fmla="*/ 3 w 77"/>
                <a:gd name="T1" fmla="*/ 0 h 94"/>
                <a:gd name="T2" fmla="*/ 2 w 77"/>
                <a:gd name="T3" fmla="*/ 0 h 94"/>
                <a:gd name="T4" fmla="*/ 2 w 77"/>
                <a:gd name="T5" fmla="*/ 0 h 94"/>
                <a:gd name="T6" fmla="*/ 2 w 77"/>
                <a:gd name="T7" fmla="*/ 0 h 94"/>
                <a:gd name="T8" fmla="*/ 2 w 77"/>
                <a:gd name="T9" fmla="*/ 0 h 94"/>
                <a:gd name="T10" fmla="*/ 1 w 77"/>
                <a:gd name="T11" fmla="*/ 0 h 94"/>
                <a:gd name="T12" fmla="*/ 0 w 77"/>
                <a:gd name="T13" fmla="*/ 0 h 94"/>
                <a:gd name="T14" fmla="*/ 0 w 77"/>
                <a:gd name="T15" fmla="*/ 1 h 94"/>
                <a:gd name="T16" fmla="*/ 0 w 77"/>
                <a:gd name="T17" fmla="*/ 1 h 94"/>
                <a:gd name="T18" fmla="*/ 0 w 77"/>
                <a:gd name="T19" fmla="*/ 1 h 94"/>
                <a:gd name="T20" fmla="*/ 0 w 77"/>
                <a:gd name="T21" fmla="*/ 2 h 94"/>
                <a:gd name="T22" fmla="*/ 1 w 77"/>
                <a:gd name="T23" fmla="*/ 2 h 94"/>
                <a:gd name="T24" fmla="*/ 2 w 77"/>
                <a:gd name="T25" fmla="*/ 1 h 94"/>
                <a:gd name="T26" fmla="*/ 3 w 77"/>
                <a:gd name="T27" fmla="*/ 1 h 94"/>
                <a:gd name="T28" fmla="*/ 3 w 77"/>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7" h="94">
                  <a:moveTo>
                    <a:pt x="76" y="31"/>
                  </a:moveTo>
                  <a:lnTo>
                    <a:pt x="61" y="31"/>
                  </a:lnTo>
                  <a:lnTo>
                    <a:pt x="46" y="16"/>
                  </a:lnTo>
                  <a:lnTo>
                    <a:pt x="61" y="0"/>
                  </a:lnTo>
                  <a:lnTo>
                    <a:pt x="46" y="0"/>
                  </a:lnTo>
                  <a:lnTo>
                    <a:pt x="30" y="16"/>
                  </a:lnTo>
                  <a:lnTo>
                    <a:pt x="15" y="16"/>
                  </a:lnTo>
                  <a:lnTo>
                    <a:pt x="15" y="47"/>
                  </a:lnTo>
                  <a:lnTo>
                    <a:pt x="15" y="62"/>
                  </a:lnTo>
                  <a:lnTo>
                    <a:pt x="0" y="78"/>
                  </a:lnTo>
                  <a:lnTo>
                    <a:pt x="15" y="93"/>
                  </a:lnTo>
                  <a:lnTo>
                    <a:pt x="30" y="93"/>
                  </a:lnTo>
                  <a:lnTo>
                    <a:pt x="61" y="78"/>
                  </a:lnTo>
                  <a:lnTo>
                    <a:pt x="76" y="47"/>
                  </a:lnTo>
                  <a:lnTo>
                    <a:pt x="76"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6" name="Freeform 131"/>
            <p:cNvSpPr>
              <a:spLocks/>
            </p:cNvSpPr>
            <p:nvPr/>
          </p:nvSpPr>
          <p:spPr bwMode="auto">
            <a:xfrm>
              <a:off x="1173" y="1861"/>
              <a:ext cx="46" cy="41"/>
            </a:xfrm>
            <a:custGeom>
              <a:avLst/>
              <a:gdLst>
                <a:gd name="T0" fmla="*/ 2 w 105"/>
                <a:gd name="T1" fmla="*/ 2 h 109"/>
                <a:gd name="T2" fmla="*/ 2 w 105"/>
                <a:gd name="T3" fmla="*/ 2 h 109"/>
                <a:gd name="T4" fmla="*/ 2 w 105"/>
                <a:gd name="T5" fmla="*/ 2 h 109"/>
                <a:gd name="T6" fmla="*/ 3 w 105"/>
                <a:gd name="T7" fmla="*/ 1 h 109"/>
                <a:gd name="T8" fmla="*/ 3 w 105"/>
                <a:gd name="T9" fmla="*/ 1 h 109"/>
                <a:gd name="T10" fmla="*/ 4 w 105"/>
                <a:gd name="T11" fmla="*/ 0 h 109"/>
                <a:gd name="T12" fmla="*/ 3 w 105"/>
                <a:gd name="T13" fmla="*/ 0 h 109"/>
                <a:gd name="T14" fmla="*/ 2 w 105"/>
                <a:gd name="T15" fmla="*/ 0 h 109"/>
                <a:gd name="T16" fmla="*/ 2 w 105"/>
                <a:gd name="T17" fmla="*/ 0 h 109"/>
                <a:gd name="T18" fmla="*/ 0 w 105"/>
                <a:gd name="T19" fmla="*/ 0 h 109"/>
                <a:gd name="T20" fmla="*/ 0 w 105"/>
                <a:gd name="T21" fmla="*/ 1 h 109"/>
                <a:gd name="T22" fmla="*/ 2 w 105"/>
                <a:gd name="T23" fmla="*/ 2 h 10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5" h="109">
                  <a:moveTo>
                    <a:pt x="45" y="108"/>
                  </a:moveTo>
                  <a:lnTo>
                    <a:pt x="59" y="93"/>
                  </a:lnTo>
                  <a:lnTo>
                    <a:pt x="59" y="77"/>
                  </a:lnTo>
                  <a:lnTo>
                    <a:pt x="89" y="62"/>
                  </a:lnTo>
                  <a:lnTo>
                    <a:pt x="89" y="31"/>
                  </a:lnTo>
                  <a:lnTo>
                    <a:pt x="104" y="15"/>
                  </a:lnTo>
                  <a:lnTo>
                    <a:pt x="74" y="0"/>
                  </a:lnTo>
                  <a:lnTo>
                    <a:pt x="45" y="0"/>
                  </a:lnTo>
                  <a:lnTo>
                    <a:pt x="45" y="15"/>
                  </a:lnTo>
                  <a:lnTo>
                    <a:pt x="15" y="15"/>
                  </a:lnTo>
                  <a:lnTo>
                    <a:pt x="0" y="46"/>
                  </a:lnTo>
                  <a:lnTo>
                    <a:pt x="45" y="108"/>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7" name="Freeform 132"/>
            <p:cNvSpPr>
              <a:spLocks/>
            </p:cNvSpPr>
            <p:nvPr/>
          </p:nvSpPr>
          <p:spPr bwMode="auto">
            <a:xfrm>
              <a:off x="1179" y="1861"/>
              <a:ext cx="14" cy="6"/>
            </a:xfrm>
            <a:custGeom>
              <a:avLst/>
              <a:gdLst>
                <a:gd name="T0" fmla="*/ 0 w 32"/>
                <a:gd name="T1" fmla="*/ 0 h 17"/>
                <a:gd name="T2" fmla="*/ 1 w 32"/>
                <a:gd name="T3" fmla="*/ 0 h 17"/>
                <a:gd name="T4" fmla="*/ 1 w 32"/>
                <a:gd name="T5" fmla="*/ 0 h 17"/>
                <a:gd name="T6" fmla="*/ 0 w 32"/>
                <a:gd name="T7" fmla="*/ 0 h 17"/>
                <a:gd name="T8" fmla="*/ 0 w 32"/>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7">
                  <a:moveTo>
                    <a:pt x="0" y="16"/>
                  </a:moveTo>
                  <a:lnTo>
                    <a:pt x="31" y="16"/>
                  </a:lnTo>
                  <a:lnTo>
                    <a:pt x="31" y="0"/>
                  </a:lnTo>
                  <a:lnTo>
                    <a:pt x="0" y="0"/>
                  </a:lnTo>
                  <a:lnTo>
                    <a:pt x="0" y="16"/>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8" name="Freeform 133"/>
            <p:cNvSpPr>
              <a:spLocks/>
            </p:cNvSpPr>
            <p:nvPr/>
          </p:nvSpPr>
          <p:spPr bwMode="auto">
            <a:xfrm>
              <a:off x="1128" y="1774"/>
              <a:ext cx="91" cy="69"/>
            </a:xfrm>
            <a:custGeom>
              <a:avLst/>
              <a:gdLst>
                <a:gd name="T0" fmla="*/ 4 w 210"/>
                <a:gd name="T1" fmla="*/ 4 h 185"/>
                <a:gd name="T2" fmla="*/ 4 w 210"/>
                <a:gd name="T3" fmla="*/ 3 h 185"/>
                <a:gd name="T4" fmla="*/ 5 w 210"/>
                <a:gd name="T5" fmla="*/ 3 h 185"/>
                <a:gd name="T6" fmla="*/ 5 w 210"/>
                <a:gd name="T7" fmla="*/ 3 h 185"/>
                <a:gd name="T8" fmla="*/ 7 w 210"/>
                <a:gd name="T9" fmla="*/ 2 h 185"/>
                <a:gd name="T10" fmla="*/ 7 w 210"/>
                <a:gd name="T11" fmla="*/ 1 h 185"/>
                <a:gd name="T12" fmla="*/ 7 w 210"/>
                <a:gd name="T13" fmla="*/ 0 h 185"/>
                <a:gd name="T14" fmla="*/ 7 w 210"/>
                <a:gd name="T15" fmla="*/ 0 h 185"/>
                <a:gd name="T16" fmla="*/ 5 w 210"/>
                <a:gd name="T17" fmla="*/ 0 h 185"/>
                <a:gd name="T18" fmla="*/ 4 w 210"/>
                <a:gd name="T19" fmla="*/ 0 h 185"/>
                <a:gd name="T20" fmla="*/ 1 w 210"/>
                <a:gd name="T21" fmla="*/ 0 h 185"/>
                <a:gd name="T22" fmla="*/ 0 w 210"/>
                <a:gd name="T23" fmla="*/ 0 h 185"/>
                <a:gd name="T24" fmla="*/ 0 w 210"/>
                <a:gd name="T25" fmla="*/ 1 h 185"/>
                <a:gd name="T26" fmla="*/ 0 w 210"/>
                <a:gd name="T27" fmla="*/ 2 h 185"/>
                <a:gd name="T28" fmla="*/ 0 w 210"/>
                <a:gd name="T29" fmla="*/ 3 h 185"/>
                <a:gd name="T30" fmla="*/ 1 w 210"/>
                <a:gd name="T31" fmla="*/ 3 h 185"/>
                <a:gd name="T32" fmla="*/ 2 w 210"/>
                <a:gd name="T33" fmla="*/ 4 h 185"/>
                <a:gd name="T34" fmla="*/ 3 w 210"/>
                <a:gd name="T35" fmla="*/ 4 h 185"/>
                <a:gd name="T36" fmla="*/ 4 w 210"/>
                <a:gd name="T37" fmla="*/ 4 h 1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0" h="185">
                  <a:moveTo>
                    <a:pt x="105" y="184"/>
                  </a:moveTo>
                  <a:lnTo>
                    <a:pt x="105" y="153"/>
                  </a:lnTo>
                  <a:lnTo>
                    <a:pt x="134" y="138"/>
                  </a:lnTo>
                  <a:lnTo>
                    <a:pt x="149" y="138"/>
                  </a:lnTo>
                  <a:lnTo>
                    <a:pt x="179" y="92"/>
                  </a:lnTo>
                  <a:lnTo>
                    <a:pt x="209" y="46"/>
                  </a:lnTo>
                  <a:lnTo>
                    <a:pt x="209" y="15"/>
                  </a:lnTo>
                  <a:lnTo>
                    <a:pt x="179" y="0"/>
                  </a:lnTo>
                  <a:lnTo>
                    <a:pt x="134" y="0"/>
                  </a:lnTo>
                  <a:lnTo>
                    <a:pt x="105" y="15"/>
                  </a:lnTo>
                  <a:lnTo>
                    <a:pt x="30" y="0"/>
                  </a:lnTo>
                  <a:lnTo>
                    <a:pt x="15" y="31"/>
                  </a:lnTo>
                  <a:lnTo>
                    <a:pt x="15" y="61"/>
                  </a:lnTo>
                  <a:lnTo>
                    <a:pt x="0" y="92"/>
                  </a:lnTo>
                  <a:lnTo>
                    <a:pt x="0" y="138"/>
                  </a:lnTo>
                  <a:lnTo>
                    <a:pt x="30" y="138"/>
                  </a:lnTo>
                  <a:lnTo>
                    <a:pt x="45" y="184"/>
                  </a:lnTo>
                  <a:lnTo>
                    <a:pt x="75" y="184"/>
                  </a:lnTo>
                  <a:lnTo>
                    <a:pt x="105" y="184"/>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09" name="Freeform 134"/>
            <p:cNvSpPr>
              <a:spLocks/>
            </p:cNvSpPr>
            <p:nvPr/>
          </p:nvSpPr>
          <p:spPr bwMode="auto">
            <a:xfrm>
              <a:off x="1115" y="1785"/>
              <a:ext cx="20" cy="42"/>
            </a:xfrm>
            <a:custGeom>
              <a:avLst/>
              <a:gdLst>
                <a:gd name="T0" fmla="*/ 1 w 46"/>
                <a:gd name="T1" fmla="*/ 2 h 108"/>
                <a:gd name="T2" fmla="*/ 1 w 46"/>
                <a:gd name="T3" fmla="*/ 2 h 108"/>
                <a:gd name="T4" fmla="*/ 2 w 46"/>
                <a:gd name="T5" fmla="*/ 1 h 108"/>
                <a:gd name="T6" fmla="*/ 2 w 46"/>
                <a:gd name="T7" fmla="*/ 0 h 108"/>
                <a:gd name="T8" fmla="*/ 0 w 46"/>
                <a:gd name="T9" fmla="*/ 0 h 108"/>
                <a:gd name="T10" fmla="*/ 0 w 46"/>
                <a:gd name="T11" fmla="*/ 0 h 108"/>
                <a:gd name="T12" fmla="*/ 0 w 46"/>
                <a:gd name="T13" fmla="*/ 1 h 108"/>
                <a:gd name="T14" fmla="*/ 0 w 46"/>
                <a:gd name="T15" fmla="*/ 2 h 108"/>
                <a:gd name="T16" fmla="*/ 1 w 46"/>
                <a:gd name="T17" fmla="*/ 2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6" h="108">
                  <a:moveTo>
                    <a:pt x="30" y="107"/>
                  </a:moveTo>
                  <a:lnTo>
                    <a:pt x="30" y="61"/>
                  </a:lnTo>
                  <a:lnTo>
                    <a:pt x="45" y="31"/>
                  </a:lnTo>
                  <a:lnTo>
                    <a:pt x="45" y="0"/>
                  </a:lnTo>
                  <a:lnTo>
                    <a:pt x="15" y="0"/>
                  </a:lnTo>
                  <a:lnTo>
                    <a:pt x="15" y="15"/>
                  </a:lnTo>
                  <a:lnTo>
                    <a:pt x="0" y="31"/>
                  </a:lnTo>
                  <a:lnTo>
                    <a:pt x="15" y="107"/>
                  </a:lnTo>
                  <a:lnTo>
                    <a:pt x="30" y="107"/>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0" name="Freeform 135"/>
            <p:cNvSpPr>
              <a:spLocks/>
            </p:cNvSpPr>
            <p:nvPr/>
          </p:nvSpPr>
          <p:spPr bwMode="auto">
            <a:xfrm>
              <a:off x="1108" y="1791"/>
              <a:ext cx="13" cy="36"/>
            </a:xfrm>
            <a:custGeom>
              <a:avLst/>
              <a:gdLst>
                <a:gd name="T0" fmla="*/ 1 w 32"/>
                <a:gd name="T1" fmla="*/ 2 h 93"/>
                <a:gd name="T2" fmla="*/ 0 w 32"/>
                <a:gd name="T3" fmla="*/ 0 h 93"/>
                <a:gd name="T4" fmla="*/ 0 w 32"/>
                <a:gd name="T5" fmla="*/ 0 h 93"/>
                <a:gd name="T6" fmla="*/ 0 w 32"/>
                <a:gd name="T7" fmla="*/ 2 h 93"/>
                <a:gd name="T8" fmla="*/ 1 w 32"/>
                <a:gd name="T9" fmla="*/ 2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93">
                  <a:moveTo>
                    <a:pt x="31" y="92"/>
                  </a:moveTo>
                  <a:lnTo>
                    <a:pt x="16" y="15"/>
                  </a:lnTo>
                  <a:lnTo>
                    <a:pt x="0" y="0"/>
                  </a:lnTo>
                  <a:lnTo>
                    <a:pt x="16" y="92"/>
                  </a:lnTo>
                  <a:lnTo>
                    <a:pt x="31" y="92"/>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1" name="Freeform 136"/>
            <p:cNvSpPr>
              <a:spLocks/>
            </p:cNvSpPr>
            <p:nvPr/>
          </p:nvSpPr>
          <p:spPr bwMode="auto">
            <a:xfrm>
              <a:off x="1083" y="1791"/>
              <a:ext cx="32" cy="47"/>
            </a:xfrm>
            <a:custGeom>
              <a:avLst/>
              <a:gdLst>
                <a:gd name="T0" fmla="*/ 3 w 75"/>
                <a:gd name="T1" fmla="*/ 2 h 124"/>
                <a:gd name="T2" fmla="*/ 2 w 75"/>
                <a:gd name="T3" fmla="*/ 0 h 124"/>
                <a:gd name="T4" fmla="*/ 0 w 75"/>
                <a:gd name="T5" fmla="*/ 0 h 124"/>
                <a:gd name="T6" fmla="*/ 0 w 75"/>
                <a:gd name="T7" fmla="*/ 1 h 124"/>
                <a:gd name="T8" fmla="*/ 0 w 75"/>
                <a:gd name="T9" fmla="*/ 2 h 124"/>
                <a:gd name="T10" fmla="*/ 0 w 75"/>
                <a:gd name="T11" fmla="*/ 3 h 124"/>
                <a:gd name="T12" fmla="*/ 1 w 75"/>
                <a:gd name="T13" fmla="*/ 3 h 124"/>
                <a:gd name="T14" fmla="*/ 3 w 75"/>
                <a:gd name="T15" fmla="*/ 2 h 12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5" h="124">
                  <a:moveTo>
                    <a:pt x="74" y="92"/>
                  </a:moveTo>
                  <a:lnTo>
                    <a:pt x="59" y="0"/>
                  </a:lnTo>
                  <a:lnTo>
                    <a:pt x="0" y="15"/>
                  </a:lnTo>
                  <a:lnTo>
                    <a:pt x="0" y="46"/>
                  </a:lnTo>
                  <a:lnTo>
                    <a:pt x="0" y="92"/>
                  </a:lnTo>
                  <a:lnTo>
                    <a:pt x="0" y="123"/>
                  </a:lnTo>
                  <a:lnTo>
                    <a:pt x="30" y="123"/>
                  </a:lnTo>
                  <a:lnTo>
                    <a:pt x="74" y="92"/>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2" name="Freeform 137"/>
            <p:cNvSpPr>
              <a:spLocks/>
            </p:cNvSpPr>
            <p:nvPr/>
          </p:nvSpPr>
          <p:spPr bwMode="auto">
            <a:xfrm>
              <a:off x="1108" y="1704"/>
              <a:ext cx="111" cy="82"/>
            </a:xfrm>
            <a:custGeom>
              <a:avLst/>
              <a:gdLst>
                <a:gd name="T0" fmla="*/ 8 w 255"/>
                <a:gd name="T1" fmla="*/ 0 h 217"/>
                <a:gd name="T2" fmla="*/ 4 w 255"/>
                <a:gd name="T3" fmla="*/ 1 h 217"/>
                <a:gd name="T4" fmla="*/ 4 w 255"/>
                <a:gd name="T5" fmla="*/ 1 h 217"/>
                <a:gd name="T6" fmla="*/ 3 w 255"/>
                <a:gd name="T7" fmla="*/ 2 h 217"/>
                <a:gd name="T8" fmla="*/ 3 w 255"/>
                <a:gd name="T9" fmla="*/ 3 h 217"/>
                <a:gd name="T10" fmla="*/ 2 w 255"/>
                <a:gd name="T11" fmla="*/ 3 h 217"/>
                <a:gd name="T12" fmla="*/ 0 w 255"/>
                <a:gd name="T13" fmla="*/ 3 h 217"/>
                <a:gd name="T14" fmla="*/ 0 w 255"/>
                <a:gd name="T15" fmla="*/ 4 h 217"/>
                <a:gd name="T16" fmla="*/ 1 w 255"/>
                <a:gd name="T17" fmla="*/ 5 h 217"/>
                <a:gd name="T18" fmla="*/ 2 w 255"/>
                <a:gd name="T19" fmla="*/ 5 h 217"/>
                <a:gd name="T20" fmla="*/ 3 w 255"/>
                <a:gd name="T21" fmla="*/ 4 h 217"/>
                <a:gd name="T22" fmla="*/ 5 w 255"/>
                <a:gd name="T23" fmla="*/ 4 h 217"/>
                <a:gd name="T24" fmla="*/ 7 w 255"/>
                <a:gd name="T25" fmla="*/ 4 h 217"/>
                <a:gd name="T26" fmla="*/ 8 w 255"/>
                <a:gd name="T27" fmla="*/ 4 h 217"/>
                <a:gd name="T28" fmla="*/ 9 w 255"/>
                <a:gd name="T29" fmla="*/ 4 h 217"/>
                <a:gd name="T30" fmla="*/ 9 w 255"/>
                <a:gd name="T31" fmla="*/ 3 h 217"/>
                <a:gd name="T32" fmla="*/ 9 w 255"/>
                <a:gd name="T33" fmla="*/ 3 h 217"/>
                <a:gd name="T34" fmla="*/ 9 w 255"/>
                <a:gd name="T35" fmla="*/ 1 h 217"/>
                <a:gd name="T36" fmla="*/ 9 w 255"/>
                <a:gd name="T37" fmla="*/ 1 h 217"/>
                <a:gd name="T38" fmla="*/ 9 w 255"/>
                <a:gd name="T39" fmla="*/ 0 h 217"/>
                <a:gd name="T40" fmla="*/ 8 w 255"/>
                <a:gd name="T41" fmla="*/ 0 h 2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55" h="217">
                  <a:moveTo>
                    <a:pt x="224" y="0"/>
                  </a:moveTo>
                  <a:lnTo>
                    <a:pt x="120" y="46"/>
                  </a:lnTo>
                  <a:lnTo>
                    <a:pt x="105" y="62"/>
                  </a:lnTo>
                  <a:lnTo>
                    <a:pt x="75" y="77"/>
                  </a:lnTo>
                  <a:lnTo>
                    <a:pt x="75" y="139"/>
                  </a:lnTo>
                  <a:lnTo>
                    <a:pt x="60" y="154"/>
                  </a:lnTo>
                  <a:lnTo>
                    <a:pt x="0" y="154"/>
                  </a:lnTo>
                  <a:lnTo>
                    <a:pt x="15" y="201"/>
                  </a:lnTo>
                  <a:lnTo>
                    <a:pt x="30" y="216"/>
                  </a:lnTo>
                  <a:lnTo>
                    <a:pt x="60" y="216"/>
                  </a:lnTo>
                  <a:lnTo>
                    <a:pt x="75" y="185"/>
                  </a:lnTo>
                  <a:lnTo>
                    <a:pt x="149" y="201"/>
                  </a:lnTo>
                  <a:lnTo>
                    <a:pt x="179" y="185"/>
                  </a:lnTo>
                  <a:lnTo>
                    <a:pt x="224" y="185"/>
                  </a:lnTo>
                  <a:lnTo>
                    <a:pt x="239" y="185"/>
                  </a:lnTo>
                  <a:lnTo>
                    <a:pt x="239" y="154"/>
                  </a:lnTo>
                  <a:lnTo>
                    <a:pt x="254" y="139"/>
                  </a:lnTo>
                  <a:lnTo>
                    <a:pt x="254" y="62"/>
                  </a:lnTo>
                  <a:lnTo>
                    <a:pt x="254" y="46"/>
                  </a:lnTo>
                  <a:lnTo>
                    <a:pt x="254" y="15"/>
                  </a:lnTo>
                  <a:lnTo>
                    <a:pt x="224"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3" name="Freeform 138"/>
            <p:cNvSpPr>
              <a:spLocks/>
            </p:cNvSpPr>
            <p:nvPr/>
          </p:nvSpPr>
          <p:spPr bwMode="auto">
            <a:xfrm>
              <a:off x="1204" y="1704"/>
              <a:ext cx="84" cy="117"/>
            </a:xfrm>
            <a:custGeom>
              <a:avLst/>
              <a:gdLst>
                <a:gd name="T0" fmla="*/ 7 w 194"/>
                <a:gd name="T1" fmla="*/ 2 h 309"/>
                <a:gd name="T2" fmla="*/ 1 w 194"/>
                <a:gd name="T3" fmla="*/ 0 h 309"/>
                <a:gd name="T4" fmla="*/ 1 w 194"/>
                <a:gd name="T5" fmla="*/ 0 h 309"/>
                <a:gd name="T6" fmla="*/ 1 w 194"/>
                <a:gd name="T7" fmla="*/ 1 h 309"/>
                <a:gd name="T8" fmla="*/ 1 w 194"/>
                <a:gd name="T9" fmla="*/ 1 h 309"/>
                <a:gd name="T10" fmla="*/ 1 w 194"/>
                <a:gd name="T11" fmla="*/ 3 h 309"/>
                <a:gd name="T12" fmla="*/ 0 w 194"/>
                <a:gd name="T13" fmla="*/ 3 h 309"/>
                <a:gd name="T14" fmla="*/ 0 w 194"/>
                <a:gd name="T15" fmla="*/ 4 h 309"/>
                <a:gd name="T16" fmla="*/ 0 w 194"/>
                <a:gd name="T17" fmla="*/ 4 h 309"/>
                <a:gd name="T18" fmla="*/ 1 w 194"/>
                <a:gd name="T19" fmla="*/ 4 h 309"/>
                <a:gd name="T20" fmla="*/ 1 w 194"/>
                <a:gd name="T21" fmla="*/ 5 h 309"/>
                <a:gd name="T22" fmla="*/ 0 w 194"/>
                <a:gd name="T23" fmla="*/ 6 h 309"/>
                <a:gd name="T24" fmla="*/ 1 w 194"/>
                <a:gd name="T25" fmla="*/ 6 h 309"/>
                <a:gd name="T26" fmla="*/ 5 w 194"/>
                <a:gd name="T27" fmla="*/ 6 h 309"/>
                <a:gd name="T28" fmla="*/ 6 w 194"/>
                <a:gd name="T29" fmla="*/ 5 h 309"/>
                <a:gd name="T30" fmla="*/ 6 w 194"/>
                <a:gd name="T31" fmla="*/ 5 h 309"/>
                <a:gd name="T32" fmla="*/ 5 w 194"/>
                <a:gd name="T33" fmla="*/ 5 h 309"/>
                <a:gd name="T34" fmla="*/ 6 w 194"/>
                <a:gd name="T35" fmla="*/ 4 h 309"/>
                <a:gd name="T36" fmla="*/ 6 w 194"/>
                <a:gd name="T37" fmla="*/ 3 h 309"/>
                <a:gd name="T38" fmla="*/ 6 w 194"/>
                <a:gd name="T39" fmla="*/ 3 h 309"/>
                <a:gd name="T40" fmla="*/ 7 w 194"/>
                <a:gd name="T41" fmla="*/ 3 h 309"/>
                <a:gd name="T42" fmla="*/ 7 w 194"/>
                <a:gd name="T43" fmla="*/ 2 h 30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4" h="309">
                  <a:moveTo>
                    <a:pt x="193" y="77"/>
                  </a:moveTo>
                  <a:lnTo>
                    <a:pt x="45" y="0"/>
                  </a:lnTo>
                  <a:lnTo>
                    <a:pt x="30" y="15"/>
                  </a:lnTo>
                  <a:lnTo>
                    <a:pt x="30" y="46"/>
                  </a:lnTo>
                  <a:lnTo>
                    <a:pt x="30" y="62"/>
                  </a:lnTo>
                  <a:lnTo>
                    <a:pt x="30" y="139"/>
                  </a:lnTo>
                  <a:lnTo>
                    <a:pt x="15" y="154"/>
                  </a:lnTo>
                  <a:lnTo>
                    <a:pt x="15" y="185"/>
                  </a:lnTo>
                  <a:lnTo>
                    <a:pt x="0" y="185"/>
                  </a:lnTo>
                  <a:lnTo>
                    <a:pt x="30" y="200"/>
                  </a:lnTo>
                  <a:lnTo>
                    <a:pt x="45" y="262"/>
                  </a:lnTo>
                  <a:lnTo>
                    <a:pt x="15" y="277"/>
                  </a:lnTo>
                  <a:lnTo>
                    <a:pt x="45" y="308"/>
                  </a:lnTo>
                  <a:lnTo>
                    <a:pt x="134" y="277"/>
                  </a:lnTo>
                  <a:lnTo>
                    <a:pt x="163" y="246"/>
                  </a:lnTo>
                  <a:lnTo>
                    <a:pt x="178" y="231"/>
                  </a:lnTo>
                  <a:lnTo>
                    <a:pt x="148" y="216"/>
                  </a:lnTo>
                  <a:lnTo>
                    <a:pt x="163" y="185"/>
                  </a:lnTo>
                  <a:lnTo>
                    <a:pt x="163" y="169"/>
                  </a:lnTo>
                  <a:lnTo>
                    <a:pt x="163" y="139"/>
                  </a:lnTo>
                  <a:lnTo>
                    <a:pt x="193" y="154"/>
                  </a:lnTo>
                  <a:lnTo>
                    <a:pt x="193" y="77"/>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4" name="Line 139"/>
            <p:cNvSpPr>
              <a:spLocks noChangeShapeType="1"/>
            </p:cNvSpPr>
            <p:nvPr/>
          </p:nvSpPr>
          <p:spPr bwMode="auto">
            <a:xfrm>
              <a:off x="1167" y="1867"/>
              <a:ext cx="0"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5" name="Line 140"/>
            <p:cNvSpPr>
              <a:spLocks noChangeShapeType="1"/>
            </p:cNvSpPr>
            <p:nvPr/>
          </p:nvSpPr>
          <p:spPr bwMode="auto">
            <a:xfrm>
              <a:off x="1146" y="1482"/>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6" name="Freeform 141"/>
            <p:cNvSpPr>
              <a:spLocks/>
            </p:cNvSpPr>
            <p:nvPr/>
          </p:nvSpPr>
          <p:spPr bwMode="auto">
            <a:xfrm>
              <a:off x="1146" y="1442"/>
              <a:ext cx="58" cy="64"/>
            </a:xfrm>
            <a:custGeom>
              <a:avLst/>
              <a:gdLst>
                <a:gd name="T0" fmla="*/ 3 w 135"/>
                <a:gd name="T1" fmla="*/ 3 h 170"/>
                <a:gd name="T2" fmla="*/ 1 w 135"/>
                <a:gd name="T3" fmla="*/ 3 h 170"/>
                <a:gd name="T4" fmla="*/ 1 w 135"/>
                <a:gd name="T5" fmla="*/ 3 h 170"/>
                <a:gd name="T6" fmla="*/ 0 w 135"/>
                <a:gd name="T7" fmla="*/ 2 h 170"/>
                <a:gd name="T8" fmla="*/ 0 w 135"/>
                <a:gd name="T9" fmla="*/ 2 h 170"/>
                <a:gd name="T10" fmla="*/ 0 w 135"/>
                <a:gd name="T11" fmla="*/ 2 h 170"/>
                <a:gd name="T12" fmla="*/ 0 w 135"/>
                <a:gd name="T13" fmla="*/ 2 h 170"/>
                <a:gd name="T14" fmla="*/ 1 w 135"/>
                <a:gd name="T15" fmla="*/ 1 h 170"/>
                <a:gd name="T16" fmla="*/ 1 w 135"/>
                <a:gd name="T17" fmla="*/ 1 h 170"/>
                <a:gd name="T18" fmla="*/ 1 w 135"/>
                <a:gd name="T19" fmla="*/ 0 h 170"/>
                <a:gd name="T20" fmla="*/ 2 w 135"/>
                <a:gd name="T21" fmla="*/ 0 h 170"/>
                <a:gd name="T22" fmla="*/ 3 w 135"/>
                <a:gd name="T23" fmla="*/ 0 h 170"/>
                <a:gd name="T24" fmla="*/ 3 w 135"/>
                <a:gd name="T25" fmla="*/ 0 h 170"/>
                <a:gd name="T26" fmla="*/ 3 w 135"/>
                <a:gd name="T27" fmla="*/ 1 h 170"/>
                <a:gd name="T28" fmla="*/ 3 w 135"/>
                <a:gd name="T29" fmla="*/ 1 h 170"/>
                <a:gd name="T30" fmla="*/ 3 w 135"/>
                <a:gd name="T31" fmla="*/ 1 h 170"/>
                <a:gd name="T32" fmla="*/ 3 w 135"/>
                <a:gd name="T33" fmla="*/ 2 h 170"/>
                <a:gd name="T34" fmla="*/ 3 w 135"/>
                <a:gd name="T35" fmla="*/ 2 h 170"/>
                <a:gd name="T36" fmla="*/ 3 w 135"/>
                <a:gd name="T37" fmla="*/ 2 h 170"/>
                <a:gd name="T38" fmla="*/ 4 w 135"/>
                <a:gd name="T39" fmla="*/ 2 h 170"/>
                <a:gd name="T40" fmla="*/ 5 w 135"/>
                <a:gd name="T41" fmla="*/ 3 h 170"/>
                <a:gd name="T42" fmla="*/ 5 w 135"/>
                <a:gd name="T43" fmla="*/ 3 h 170"/>
                <a:gd name="T44" fmla="*/ 3 w 135"/>
                <a:gd name="T45" fmla="*/ 3 h 170"/>
                <a:gd name="T46" fmla="*/ 3 w 135"/>
                <a:gd name="T47" fmla="*/ 3 h 1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5" h="170">
                  <a:moveTo>
                    <a:pt x="74" y="169"/>
                  </a:moveTo>
                  <a:lnTo>
                    <a:pt x="45" y="154"/>
                  </a:lnTo>
                  <a:lnTo>
                    <a:pt x="45" y="138"/>
                  </a:lnTo>
                  <a:lnTo>
                    <a:pt x="15" y="108"/>
                  </a:lnTo>
                  <a:lnTo>
                    <a:pt x="0" y="108"/>
                  </a:lnTo>
                  <a:lnTo>
                    <a:pt x="15" y="92"/>
                  </a:lnTo>
                  <a:lnTo>
                    <a:pt x="15" y="77"/>
                  </a:lnTo>
                  <a:lnTo>
                    <a:pt x="30" y="46"/>
                  </a:lnTo>
                  <a:lnTo>
                    <a:pt x="30" y="31"/>
                  </a:lnTo>
                  <a:lnTo>
                    <a:pt x="45" y="15"/>
                  </a:lnTo>
                  <a:lnTo>
                    <a:pt x="60" y="0"/>
                  </a:lnTo>
                  <a:lnTo>
                    <a:pt x="74" y="0"/>
                  </a:lnTo>
                  <a:lnTo>
                    <a:pt x="89" y="15"/>
                  </a:lnTo>
                  <a:lnTo>
                    <a:pt x="89" y="31"/>
                  </a:lnTo>
                  <a:lnTo>
                    <a:pt x="89" y="46"/>
                  </a:lnTo>
                  <a:lnTo>
                    <a:pt x="74" y="61"/>
                  </a:lnTo>
                  <a:lnTo>
                    <a:pt x="74" y="77"/>
                  </a:lnTo>
                  <a:lnTo>
                    <a:pt x="74" y="92"/>
                  </a:lnTo>
                  <a:lnTo>
                    <a:pt x="89" y="92"/>
                  </a:lnTo>
                  <a:lnTo>
                    <a:pt x="119" y="108"/>
                  </a:lnTo>
                  <a:lnTo>
                    <a:pt x="134" y="138"/>
                  </a:lnTo>
                  <a:lnTo>
                    <a:pt x="134" y="154"/>
                  </a:lnTo>
                  <a:lnTo>
                    <a:pt x="89" y="154"/>
                  </a:lnTo>
                  <a:lnTo>
                    <a:pt x="74" y="16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7" name="Freeform 142"/>
            <p:cNvSpPr>
              <a:spLocks/>
            </p:cNvSpPr>
            <p:nvPr/>
          </p:nvSpPr>
          <p:spPr bwMode="auto">
            <a:xfrm>
              <a:off x="1198" y="1471"/>
              <a:ext cx="71" cy="30"/>
            </a:xfrm>
            <a:custGeom>
              <a:avLst/>
              <a:gdLst>
                <a:gd name="T0" fmla="*/ 3 w 165"/>
                <a:gd name="T1" fmla="*/ 0 h 78"/>
                <a:gd name="T2" fmla="*/ 1 w 165"/>
                <a:gd name="T3" fmla="*/ 0 h 78"/>
                <a:gd name="T4" fmla="*/ 0 w 165"/>
                <a:gd name="T5" fmla="*/ 0 h 78"/>
                <a:gd name="T6" fmla="*/ 0 w 165"/>
                <a:gd name="T7" fmla="*/ 1 h 78"/>
                <a:gd name="T8" fmla="*/ 0 w 165"/>
                <a:gd name="T9" fmla="*/ 1 h 78"/>
                <a:gd name="T10" fmla="*/ 1 w 165"/>
                <a:gd name="T11" fmla="*/ 1 h 78"/>
                <a:gd name="T12" fmla="*/ 1 w 165"/>
                <a:gd name="T13" fmla="*/ 1 h 78"/>
                <a:gd name="T14" fmla="*/ 2 w 165"/>
                <a:gd name="T15" fmla="*/ 1 h 78"/>
                <a:gd name="T16" fmla="*/ 3 w 165"/>
                <a:gd name="T17" fmla="*/ 2 h 78"/>
                <a:gd name="T18" fmla="*/ 3 w 165"/>
                <a:gd name="T19" fmla="*/ 2 h 78"/>
                <a:gd name="T20" fmla="*/ 3 w 165"/>
                <a:gd name="T21" fmla="*/ 1 h 78"/>
                <a:gd name="T22" fmla="*/ 5 w 165"/>
                <a:gd name="T23" fmla="*/ 1 h 78"/>
                <a:gd name="T24" fmla="*/ 5 w 165"/>
                <a:gd name="T25" fmla="*/ 1 h 78"/>
                <a:gd name="T26" fmla="*/ 6 w 165"/>
                <a:gd name="T27" fmla="*/ 1 h 78"/>
                <a:gd name="T28" fmla="*/ 5 w 165"/>
                <a:gd name="T29" fmla="*/ 1 h 78"/>
                <a:gd name="T30" fmla="*/ 3 w 165"/>
                <a:gd name="T31" fmla="*/ 1 h 78"/>
                <a:gd name="T32" fmla="*/ 3 w 165"/>
                <a:gd name="T33" fmla="*/ 0 h 7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5" h="78">
                  <a:moveTo>
                    <a:pt x="75" y="15"/>
                  </a:moveTo>
                  <a:lnTo>
                    <a:pt x="30" y="0"/>
                  </a:lnTo>
                  <a:lnTo>
                    <a:pt x="0" y="15"/>
                  </a:lnTo>
                  <a:lnTo>
                    <a:pt x="0" y="31"/>
                  </a:lnTo>
                  <a:lnTo>
                    <a:pt x="15" y="62"/>
                  </a:lnTo>
                  <a:lnTo>
                    <a:pt x="30" y="62"/>
                  </a:lnTo>
                  <a:lnTo>
                    <a:pt x="45" y="46"/>
                  </a:lnTo>
                  <a:lnTo>
                    <a:pt x="60" y="62"/>
                  </a:lnTo>
                  <a:lnTo>
                    <a:pt x="75" y="77"/>
                  </a:lnTo>
                  <a:lnTo>
                    <a:pt x="104" y="77"/>
                  </a:lnTo>
                  <a:lnTo>
                    <a:pt x="104" y="62"/>
                  </a:lnTo>
                  <a:lnTo>
                    <a:pt x="134" y="62"/>
                  </a:lnTo>
                  <a:lnTo>
                    <a:pt x="149" y="62"/>
                  </a:lnTo>
                  <a:lnTo>
                    <a:pt x="164" y="62"/>
                  </a:lnTo>
                  <a:lnTo>
                    <a:pt x="134" y="31"/>
                  </a:lnTo>
                  <a:lnTo>
                    <a:pt x="104" y="31"/>
                  </a:lnTo>
                  <a:lnTo>
                    <a:pt x="7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8" name="Freeform 143"/>
            <p:cNvSpPr>
              <a:spLocks/>
            </p:cNvSpPr>
            <p:nvPr/>
          </p:nvSpPr>
          <p:spPr bwMode="auto">
            <a:xfrm>
              <a:off x="1179" y="1442"/>
              <a:ext cx="32" cy="42"/>
            </a:xfrm>
            <a:custGeom>
              <a:avLst/>
              <a:gdLst>
                <a:gd name="T0" fmla="*/ 0 w 75"/>
                <a:gd name="T1" fmla="*/ 0 h 109"/>
                <a:gd name="T2" fmla="*/ 0 w 75"/>
                <a:gd name="T3" fmla="*/ 1 h 109"/>
                <a:gd name="T4" fmla="*/ 0 w 75"/>
                <a:gd name="T5" fmla="*/ 1 h 109"/>
                <a:gd name="T6" fmla="*/ 0 w 75"/>
                <a:gd name="T7" fmla="*/ 1 h 109"/>
                <a:gd name="T8" fmla="*/ 0 w 75"/>
                <a:gd name="T9" fmla="*/ 1 h 109"/>
                <a:gd name="T10" fmla="*/ 0 w 75"/>
                <a:gd name="T11" fmla="*/ 2 h 109"/>
                <a:gd name="T12" fmla="*/ 0 w 75"/>
                <a:gd name="T13" fmla="*/ 2 h 109"/>
                <a:gd name="T14" fmla="*/ 0 w 75"/>
                <a:gd name="T15" fmla="*/ 2 h 109"/>
                <a:gd name="T16" fmla="*/ 1 w 75"/>
                <a:gd name="T17" fmla="*/ 2 h 109"/>
                <a:gd name="T18" fmla="*/ 1 w 75"/>
                <a:gd name="T19" fmla="*/ 2 h 109"/>
                <a:gd name="T20" fmla="*/ 3 w 75"/>
                <a:gd name="T21" fmla="*/ 2 h 109"/>
                <a:gd name="T22" fmla="*/ 2 w 75"/>
                <a:gd name="T23" fmla="*/ 1 h 109"/>
                <a:gd name="T24" fmla="*/ 3 w 75"/>
                <a:gd name="T25" fmla="*/ 0 h 109"/>
                <a:gd name="T26" fmla="*/ 1 w 75"/>
                <a:gd name="T27" fmla="*/ 0 h 109"/>
                <a:gd name="T28" fmla="*/ 0 w 75"/>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5" h="109">
                  <a:moveTo>
                    <a:pt x="15" y="15"/>
                  </a:moveTo>
                  <a:lnTo>
                    <a:pt x="15" y="31"/>
                  </a:lnTo>
                  <a:lnTo>
                    <a:pt x="15" y="46"/>
                  </a:lnTo>
                  <a:lnTo>
                    <a:pt x="15" y="62"/>
                  </a:lnTo>
                  <a:lnTo>
                    <a:pt x="0" y="62"/>
                  </a:lnTo>
                  <a:lnTo>
                    <a:pt x="0" y="77"/>
                  </a:lnTo>
                  <a:lnTo>
                    <a:pt x="0" y="93"/>
                  </a:lnTo>
                  <a:lnTo>
                    <a:pt x="15" y="93"/>
                  </a:lnTo>
                  <a:lnTo>
                    <a:pt x="30" y="108"/>
                  </a:lnTo>
                  <a:lnTo>
                    <a:pt x="44" y="108"/>
                  </a:lnTo>
                  <a:lnTo>
                    <a:pt x="74" y="77"/>
                  </a:lnTo>
                  <a:lnTo>
                    <a:pt x="59" y="31"/>
                  </a:lnTo>
                  <a:lnTo>
                    <a:pt x="74" y="15"/>
                  </a:lnTo>
                  <a:lnTo>
                    <a:pt x="44" y="0"/>
                  </a:lnTo>
                  <a:lnTo>
                    <a:pt x="1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19" name="Freeform 144"/>
            <p:cNvSpPr>
              <a:spLocks/>
            </p:cNvSpPr>
            <p:nvPr/>
          </p:nvSpPr>
          <p:spPr bwMode="auto">
            <a:xfrm>
              <a:off x="1160" y="1506"/>
              <a:ext cx="83" cy="76"/>
            </a:xfrm>
            <a:custGeom>
              <a:avLst/>
              <a:gdLst>
                <a:gd name="T0" fmla="*/ 0 w 196"/>
                <a:gd name="T1" fmla="*/ 2 h 201"/>
                <a:gd name="T2" fmla="*/ 1 w 196"/>
                <a:gd name="T3" fmla="*/ 1 h 201"/>
                <a:gd name="T4" fmla="*/ 1 w 196"/>
                <a:gd name="T5" fmla="*/ 2 h 201"/>
                <a:gd name="T6" fmla="*/ 2 w 196"/>
                <a:gd name="T7" fmla="*/ 2 h 201"/>
                <a:gd name="T8" fmla="*/ 3 w 196"/>
                <a:gd name="T9" fmla="*/ 3 h 201"/>
                <a:gd name="T10" fmla="*/ 4 w 196"/>
                <a:gd name="T11" fmla="*/ 3 h 201"/>
                <a:gd name="T12" fmla="*/ 5 w 196"/>
                <a:gd name="T13" fmla="*/ 3 h 201"/>
                <a:gd name="T14" fmla="*/ 5 w 196"/>
                <a:gd name="T15" fmla="*/ 4 h 201"/>
                <a:gd name="T16" fmla="*/ 5 w 196"/>
                <a:gd name="T17" fmla="*/ 4 h 201"/>
                <a:gd name="T18" fmla="*/ 6 w 196"/>
                <a:gd name="T19" fmla="*/ 4 h 201"/>
                <a:gd name="T20" fmla="*/ 6 w 196"/>
                <a:gd name="T21" fmla="*/ 3 h 201"/>
                <a:gd name="T22" fmla="*/ 6 w 196"/>
                <a:gd name="T23" fmla="*/ 3 h 201"/>
                <a:gd name="T24" fmla="*/ 6 w 196"/>
                <a:gd name="T25" fmla="*/ 3 h 201"/>
                <a:gd name="T26" fmla="*/ 6 w 196"/>
                <a:gd name="T27" fmla="*/ 3 h 201"/>
                <a:gd name="T28" fmla="*/ 5 w 196"/>
                <a:gd name="T29" fmla="*/ 3 h 201"/>
                <a:gd name="T30" fmla="*/ 4 w 196"/>
                <a:gd name="T31" fmla="*/ 2 h 201"/>
                <a:gd name="T32" fmla="*/ 3 w 196"/>
                <a:gd name="T33" fmla="*/ 2 h 201"/>
                <a:gd name="T34" fmla="*/ 3 w 196"/>
                <a:gd name="T35" fmla="*/ 2 h 201"/>
                <a:gd name="T36" fmla="*/ 3 w 196"/>
                <a:gd name="T37" fmla="*/ 1 h 201"/>
                <a:gd name="T38" fmla="*/ 3 w 196"/>
                <a:gd name="T39" fmla="*/ 1 h 201"/>
                <a:gd name="T40" fmla="*/ 3 w 196"/>
                <a:gd name="T41" fmla="*/ 1 h 201"/>
                <a:gd name="T42" fmla="*/ 3 w 196"/>
                <a:gd name="T43" fmla="*/ 0 h 201"/>
                <a:gd name="T44" fmla="*/ 3 w 196"/>
                <a:gd name="T45" fmla="*/ 0 h 201"/>
                <a:gd name="T46" fmla="*/ 1 w 196"/>
                <a:gd name="T47" fmla="*/ 0 h 201"/>
                <a:gd name="T48" fmla="*/ 1 w 196"/>
                <a:gd name="T49" fmla="*/ 1 h 201"/>
                <a:gd name="T50" fmla="*/ 0 w 196"/>
                <a:gd name="T51" fmla="*/ 1 h 201"/>
                <a:gd name="T52" fmla="*/ 0 w 196"/>
                <a:gd name="T53" fmla="*/ 1 h 201"/>
                <a:gd name="T54" fmla="*/ 0 w 196"/>
                <a:gd name="T55" fmla="*/ 1 h 201"/>
                <a:gd name="T56" fmla="*/ 0 w 196"/>
                <a:gd name="T57" fmla="*/ 2 h 20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96" h="201">
                  <a:moveTo>
                    <a:pt x="15" y="77"/>
                  </a:moveTo>
                  <a:lnTo>
                    <a:pt x="30" y="62"/>
                  </a:lnTo>
                  <a:lnTo>
                    <a:pt x="45" y="77"/>
                  </a:lnTo>
                  <a:lnTo>
                    <a:pt x="60" y="92"/>
                  </a:lnTo>
                  <a:lnTo>
                    <a:pt x="105" y="138"/>
                  </a:lnTo>
                  <a:lnTo>
                    <a:pt x="120" y="138"/>
                  </a:lnTo>
                  <a:lnTo>
                    <a:pt x="150" y="154"/>
                  </a:lnTo>
                  <a:lnTo>
                    <a:pt x="150" y="185"/>
                  </a:lnTo>
                  <a:lnTo>
                    <a:pt x="150" y="200"/>
                  </a:lnTo>
                  <a:lnTo>
                    <a:pt x="165" y="200"/>
                  </a:lnTo>
                  <a:lnTo>
                    <a:pt x="180" y="169"/>
                  </a:lnTo>
                  <a:lnTo>
                    <a:pt x="165" y="169"/>
                  </a:lnTo>
                  <a:lnTo>
                    <a:pt x="180" y="154"/>
                  </a:lnTo>
                  <a:lnTo>
                    <a:pt x="195" y="154"/>
                  </a:lnTo>
                  <a:lnTo>
                    <a:pt x="150" y="123"/>
                  </a:lnTo>
                  <a:lnTo>
                    <a:pt x="120" y="108"/>
                  </a:lnTo>
                  <a:lnTo>
                    <a:pt x="105" y="77"/>
                  </a:lnTo>
                  <a:lnTo>
                    <a:pt x="90" y="77"/>
                  </a:lnTo>
                  <a:lnTo>
                    <a:pt x="90" y="46"/>
                  </a:lnTo>
                  <a:lnTo>
                    <a:pt x="105" y="46"/>
                  </a:lnTo>
                  <a:lnTo>
                    <a:pt x="105" y="31"/>
                  </a:lnTo>
                  <a:lnTo>
                    <a:pt x="105" y="15"/>
                  </a:lnTo>
                  <a:lnTo>
                    <a:pt x="90" y="0"/>
                  </a:lnTo>
                  <a:lnTo>
                    <a:pt x="45" y="15"/>
                  </a:lnTo>
                  <a:lnTo>
                    <a:pt x="30" y="31"/>
                  </a:lnTo>
                  <a:lnTo>
                    <a:pt x="15" y="31"/>
                  </a:lnTo>
                  <a:lnTo>
                    <a:pt x="0" y="31"/>
                  </a:lnTo>
                  <a:lnTo>
                    <a:pt x="0" y="46"/>
                  </a:lnTo>
                  <a:lnTo>
                    <a:pt x="15"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20" name="Freeform 145"/>
            <p:cNvSpPr>
              <a:spLocks/>
            </p:cNvSpPr>
            <p:nvPr/>
          </p:nvSpPr>
          <p:spPr bwMode="auto">
            <a:xfrm>
              <a:off x="1204" y="1582"/>
              <a:ext cx="21" cy="12"/>
            </a:xfrm>
            <a:custGeom>
              <a:avLst/>
              <a:gdLst>
                <a:gd name="T0" fmla="*/ 2 w 46"/>
                <a:gd name="T1" fmla="*/ 0 h 31"/>
                <a:gd name="T2" fmla="*/ 1 w 46"/>
                <a:gd name="T3" fmla="*/ 0 h 31"/>
                <a:gd name="T4" fmla="*/ 0 w 46"/>
                <a:gd name="T5" fmla="*/ 0 h 31"/>
                <a:gd name="T6" fmla="*/ 0 w 46"/>
                <a:gd name="T7" fmla="*/ 0 h 31"/>
                <a:gd name="T8" fmla="*/ 1 w 46"/>
                <a:gd name="T9" fmla="*/ 1 h 31"/>
                <a:gd name="T10" fmla="*/ 2 w 46"/>
                <a:gd name="T11" fmla="*/ 0 h 31"/>
                <a:gd name="T12" fmla="*/ 1 w 46"/>
                <a:gd name="T13" fmla="*/ 0 h 31"/>
                <a:gd name="T14" fmla="*/ 2 w 46"/>
                <a:gd name="T15" fmla="*/ 0 h 3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31">
                  <a:moveTo>
                    <a:pt x="45" y="0"/>
                  </a:moveTo>
                  <a:lnTo>
                    <a:pt x="30" y="0"/>
                  </a:lnTo>
                  <a:lnTo>
                    <a:pt x="0" y="0"/>
                  </a:lnTo>
                  <a:lnTo>
                    <a:pt x="0" y="15"/>
                  </a:lnTo>
                  <a:lnTo>
                    <a:pt x="30" y="30"/>
                  </a:lnTo>
                  <a:lnTo>
                    <a:pt x="45" y="15"/>
                  </a:lnTo>
                  <a:lnTo>
                    <a:pt x="30" y="15"/>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21" name="Freeform 146"/>
            <p:cNvSpPr>
              <a:spLocks/>
            </p:cNvSpPr>
            <p:nvPr/>
          </p:nvSpPr>
          <p:spPr bwMode="auto">
            <a:xfrm>
              <a:off x="1173" y="1558"/>
              <a:ext cx="7" cy="18"/>
            </a:xfrm>
            <a:custGeom>
              <a:avLst/>
              <a:gdLst>
                <a:gd name="T0" fmla="*/ 0 w 17"/>
                <a:gd name="T1" fmla="*/ 0 h 47"/>
                <a:gd name="T2" fmla="*/ 0 w 17"/>
                <a:gd name="T3" fmla="*/ 1 h 47"/>
                <a:gd name="T4" fmla="*/ 0 w 17"/>
                <a:gd name="T5" fmla="*/ 1 h 47"/>
                <a:gd name="T6" fmla="*/ 0 w 17"/>
                <a:gd name="T7" fmla="*/ 1 h 47"/>
                <a:gd name="T8" fmla="*/ 0 w 17"/>
                <a:gd name="T9" fmla="*/ 0 h 47"/>
                <a:gd name="T10" fmla="*/ 0 w 17"/>
                <a:gd name="T11" fmla="*/ 0 h 47"/>
                <a:gd name="T12" fmla="*/ 0 w 17"/>
                <a:gd name="T13" fmla="*/ 0 h 4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 h="47">
                  <a:moveTo>
                    <a:pt x="0" y="15"/>
                  </a:moveTo>
                  <a:lnTo>
                    <a:pt x="0" y="31"/>
                  </a:lnTo>
                  <a:lnTo>
                    <a:pt x="0" y="46"/>
                  </a:lnTo>
                  <a:lnTo>
                    <a:pt x="16" y="31"/>
                  </a:lnTo>
                  <a:lnTo>
                    <a:pt x="16" y="15"/>
                  </a:lnTo>
                  <a:lnTo>
                    <a:pt x="0" y="0"/>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22" name="Freeform 147"/>
            <p:cNvSpPr>
              <a:spLocks/>
            </p:cNvSpPr>
            <p:nvPr/>
          </p:nvSpPr>
          <p:spPr bwMode="auto">
            <a:xfrm>
              <a:off x="1153" y="1500"/>
              <a:ext cx="26" cy="18"/>
            </a:xfrm>
            <a:custGeom>
              <a:avLst/>
              <a:gdLst>
                <a:gd name="T0" fmla="*/ 2 w 60"/>
                <a:gd name="T1" fmla="*/ 0 h 47"/>
                <a:gd name="T2" fmla="*/ 1 w 60"/>
                <a:gd name="T3" fmla="*/ 0 h 47"/>
                <a:gd name="T4" fmla="*/ 0 w 60"/>
                <a:gd name="T5" fmla="*/ 1 h 47"/>
                <a:gd name="T6" fmla="*/ 0 w 60"/>
                <a:gd name="T7" fmla="*/ 1 h 47"/>
                <a:gd name="T8" fmla="*/ 0 w 60"/>
                <a:gd name="T9" fmla="*/ 1 h 47"/>
                <a:gd name="T10" fmla="*/ 1 w 60"/>
                <a:gd name="T11" fmla="*/ 1 h 47"/>
                <a:gd name="T12" fmla="*/ 1 w 60"/>
                <a:gd name="T13" fmla="*/ 1 h 47"/>
                <a:gd name="T14" fmla="*/ 2 w 60"/>
                <a:gd name="T15" fmla="*/ 1 h 47"/>
                <a:gd name="T16" fmla="*/ 2 w 60"/>
                <a:gd name="T17" fmla="*/ 0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47">
                  <a:moveTo>
                    <a:pt x="59" y="15"/>
                  </a:moveTo>
                  <a:lnTo>
                    <a:pt x="30" y="0"/>
                  </a:lnTo>
                  <a:lnTo>
                    <a:pt x="0" y="31"/>
                  </a:lnTo>
                  <a:lnTo>
                    <a:pt x="0" y="46"/>
                  </a:lnTo>
                  <a:lnTo>
                    <a:pt x="15" y="46"/>
                  </a:lnTo>
                  <a:lnTo>
                    <a:pt x="30" y="46"/>
                  </a:lnTo>
                  <a:lnTo>
                    <a:pt x="44" y="46"/>
                  </a:lnTo>
                  <a:lnTo>
                    <a:pt x="59" y="31"/>
                  </a:lnTo>
                  <a:lnTo>
                    <a:pt x="59"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23" name="Freeform 148"/>
            <p:cNvSpPr>
              <a:spLocks/>
            </p:cNvSpPr>
            <p:nvPr/>
          </p:nvSpPr>
          <p:spPr bwMode="auto">
            <a:xfrm>
              <a:off x="1179" y="1488"/>
              <a:ext cx="51" cy="25"/>
            </a:xfrm>
            <a:custGeom>
              <a:avLst/>
              <a:gdLst>
                <a:gd name="T0" fmla="*/ 2 w 120"/>
                <a:gd name="T1" fmla="*/ 0 h 63"/>
                <a:gd name="T2" fmla="*/ 2 w 120"/>
                <a:gd name="T3" fmla="*/ 1 h 63"/>
                <a:gd name="T4" fmla="*/ 0 w 120"/>
                <a:gd name="T5" fmla="*/ 1 h 63"/>
                <a:gd name="T6" fmla="*/ 0 w 120"/>
                <a:gd name="T7" fmla="*/ 1 h 63"/>
                <a:gd name="T8" fmla="*/ 0 w 120"/>
                <a:gd name="T9" fmla="*/ 2 h 63"/>
                <a:gd name="T10" fmla="*/ 1 w 120"/>
                <a:gd name="T11" fmla="*/ 1 h 63"/>
                <a:gd name="T12" fmla="*/ 2 w 120"/>
                <a:gd name="T13" fmla="*/ 2 h 63"/>
                <a:gd name="T14" fmla="*/ 3 w 120"/>
                <a:gd name="T15" fmla="*/ 2 h 63"/>
                <a:gd name="T16" fmla="*/ 4 w 120"/>
                <a:gd name="T17" fmla="*/ 1 h 63"/>
                <a:gd name="T18" fmla="*/ 3 w 120"/>
                <a:gd name="T19" fmla="*/ 0 h 63"/>
                <a:gd name="T20" fmla="*/ 3 w 120"/>
                <a:gd name="T21" fmla="*/ 0 h 63"/>
                <a:gd name="T22" fmla="*/ 3 w 120"/>
                <a:gd name="T23" fmla="*/ 0 h 63"/>
                <a:gd name="T24" fmla="*/ 2 w 120"/>
                <a:gd name="T25" fmla="*/ 0 h 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0" h="63">
                  <a:moveTo>
                    <a:pt x="60" y="16"/>
                  </a:moveTo>
                  <a:lnTo>
                    <a:pt x="60" y="31"/>
                  </a:lnTo>
                  <a:lnTo>
                    <a:pt x="15" y="31"/>
                  </a:lnTo>
                  <a:lnTo>
                    <a:pt x="0" y="47"/>
                  </a:lnTo>
                  <a:lnTo>
                    <a:pt x="0" y="62"/>
                  </a:lnTo>
                  <a:lnTo>
                    <a:pt x="45" y="47"/>
                  </a:lnTo>
                  <a:lnTo>
                    <a:pt x="60" y="62"/>
                  </a:lnTo>
                  <a:lnTo>
                    <a:pt x="104" y="62"/>
                  </a:lnTo>
                  <a:lnTo>
                    <a:pt x="119" y="31"/>
                  </a:lnTo>
                  <a:lnTo>
                    <a:pt x="104" y="16"/>
                  </a:lnTo>
                  <a:lnTo>
                    <a:pt x="89" y="0"/>
                  </a:lnTo>
                  <a:lnTo>
                    <a:pt x="74" y="16"/>
                  </a:lnTo>
                  <a:lnTo>
                    <a:pt x="6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24" name="Freeform 149"/>
            <p:cNvSpPr>
              <a:spLocks/>
            </p:cNvSpPr>
            <p:nvPr/>
          </p:nvSpPr>
          <p:spPr bwMode="auto">
            <a:xfrm>
              <a:off x="1224" y="1494"/>
              <a:ext cx="45" cy="24"/>
            </a:xfrm>
            <a:custGeom>
              <a:avLst/>
              <a:gdLst>
                <a:gd name="T0" fmla="*/ 3 w 105"/>
                <a:gd name="T1" fmla="*/ 0 h 62"/>
                <a:gd name="T2" fmla="*/ 3 w 105"/>
                <a:gd name="T3" fmla="*/ 0 h 62"/>
                <a:gd name="T4" fmla="*/ 1 w 105"/>
                <a:gd name="T5" fmla="*/ 0 h 62"/>
                <a:gd name="T6" fmla="*/ 1 w 105"/>
                <a:gd name="T7" fmla="*/ 0 h 62"/>
                <a:gd name="T8" fmla="*/ 0 w 105"/>
                <a:gd name="T9" fmla="*/ 0 h 62"/>
                <a:gd name="T10" fmla="*/ 0 w 105"/>
                <a:gd name="T11" fmla="*/ 1 h 62"/>
                <a:gd name="T12" fmla="*/ 1 w 105"/>
                <a:gd name="T13" fmla="*/ 1 h 62"/>
                <a:gd name="T14" fmla="*/ 1 w 105"/>
                <a:gd name="T15" fmla="*/ 1 h 62"/>
                <a:gd name="T16" fmla="*/ 3 w 105"/>
                <a:gd name="T17" fmla="*/ 1 h 62"/>
                <a:gd name="T18" fmla="*/ 3 w 105"/>
                <a:gd name="T19" fmla="*/ 1 h 62"/>
                <a:gd name="T20" fmla="*/ 3 w 105"/>
                <a:gd name="T21" fmla="*/ 0 h 62"/>
                <a:gd name="T22" fmla="*/ 3 w 105"/>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5" h="62">
                  <a:moveTo>
                    <a:pt x="89" y="0"/>
                  </a:moveTo>
                  <a:lnTo>
                    <a:pt x="74" y="0"/>
                  </a:lnTo>
                  <a:lnTo>
                    <a:pt x="45" y="0"/>
                  </a:lnTo>
                  <a:lnTo>
                    <a:pt x="45" y="15"/>
                  </a:lnTo>
                  <a:lnTo>
                    <a:pt x="15" y="15"/>
                  </a:lnTo>
                  <a:lnTo>
                    <a:pt x="0" y="46"/>
                  </a:lnTo>
                  <a:lnTo>
                    <a:pt x="30" y="61"/>
                  </a:lnTo>
                  <a:lnTo>
                    <a:pt x="45" y="46"/>
                  </a:lnTo>
                  <a:lnTo>
                    <a:pt x="74" y="61"/>
                  </a:lnTo>
                  <a:lnTo>
                    <a:pt x="89" y="31"/>
                  </a:lnTo>
                  <a:lnTo>
                    <a:pt x="104" y="15"/>
                  </a:lnTo>
                  <a:lnTo>
                    <a:pt x="8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25" name="Freeform 150"/>
            <p:cNvSpPr>
              <a:spLocks/>
            </p:cNvSpPr>
            <p:nvPr/>
          </p:nvSpPr>
          <p:spPr bwMode="auto">
            <a:xfrm>
              <a:off x="1248" y="1547"/>
              <a:ext cx="15" cy="23"/>
            </a:xfrm>
            <a:custGeom>
              <a:avLst/>
              <a:gdLst>
                <a:gd name="T0" fmla="*/ 0 w 30"/>
                <a:gd name="T1" fmla="*/ 0 h 62"/>
                <a:gd name="T2" fmla="*/ 0 w 30"/>
                <a:gd name="T3" fmla="*/ 1 h 62"/>
                <a:gd name="T4" fmla="*/ 2 w 30"/>
                <a:gd name="T5" fmla="*/ 1 h 62"/>
                <a:gd name="T6" fmla="*/ 2 w 30"/>
                <a:gd name="T7" fmla="*/ 1 h 62"/>
                <a:gd name="T8" fmla="*/ 1 w 30"/>
                <a:gd name="T9" fmla="*/ 0 h 62"/>
                <a:gd name="T10" fmla="*/ 0 w 30"/>
                <a:gd name="T11" fmla="*/ 0 h 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62">
                  <a:moveTo>
                    <a:pt x="0" y="15"/>
                  </a:moveTo>
                  <a:lnTo>
                    <a:pt x="0" y="46"/>
                  </a:lnTo>
                  <a:lnTo>
                    <a:pt x="29" y="61"/>
                  </a:lnTo>
                  <a:lnTo>
                    <a:pt x="29" y="46"/>
                  </a:lnTo>
                  <a:lnTo>
                    <a:pt x="15" y="0"/>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26" name="Oval 151"/>
            <p:cNvSpPr>
              <a:spLocks noChangeArrowheads="1"/>
            </p:cNvSpPr>
            <p:nvPr/>
          </p:nvSpPr>
          <p:spPr bwMode="auto">
            <a:xfrm>
              <a:off x="1198" y="1594"/>
              <a:ext cx="6" cy="5"/>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527" name="Freeform 152"/>
            <p:cNvSpPr>
              <a:spLocks/>
            </p:cNvSpPr>
            <p:nvPr/>
          </p:nvSpPr>
          <p:spPr bwMode="auto">
            <a:xfrm>
              <a:off x="1167" y="1593"/>
              <a:ext cx="31" cy="53"/>
            </a:xfrm>
            <a:custGeom>
              <a:avLst/>
              <a:gdLst>
                <a:gd name="T0" fmla="*/ 0 w 75"/>
                <a:gd name="T1" fmla="*/ 0 h 140"/>
                <a:gd name="T2" fmla="*/ 0 w 75"/>
                <a:gd name="T3" fmla="*/ 1 h 140"/>
                <a:gd name="T4" fmla="*/ 0 w 75"/>
                <a:gd name="T5" fmla="*/ 1 h 140"/>
                <a:gd name="T6" fmla="*/ 0 w 75"/>
                <a:gd name="T7" fmla="*/ 2 h 140"/>
                <a:gd name="T8" fmla="*/ 1 w 75"/>
                <a:gd name="T9" fmla="*/ 2 h 140"/>
                <a:gd name="T10" fmla="*/ 1 w 75"/>
                <a:gd name="T11" fmla="*/ 3 h 140"/>
                <a:gd name="T12" fmla="*/ 1 w 75"/>
                <a:gd name="T13" fmla="*/ 3 h 140"/>
                <a:gd name="T14" fmla="*/ 1 w 75"/>
                <a:gd name="T15" fmla="*/ 2 h 140"/>
                <a:gd name="T16" fmla="*/ 2 w 75"/>
                <a:gd name="T17" fmla="*/ 2 h 140"/>
                <a:gd name="T18" fmla="*/ 2 w 75"/>
                <a:gd name="T19" fmla="*/ 2 h 140"/>
                <a:gd name="T20" fmla="*/ 1 w 75"/>
                <a:gd name="T21" fmla="*/ 2 h 140"/>
                <a:gd name="T22" fmla="*/ 2 w 75"/>
                <a:gd name="T23" fmla="*/ 0 h 140"/>
                <a:gd name="T24" fmla="*/ 1 w 75"/>
                <a:gd name="T25" fmla="*/ 0 h 140"/>
                <a:gd name="T26" fmla="*/ 0 w 75"/>
                <a:gd name="T27" fmla="*/ 0 h 1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5" h="140">
                  <a:moveTo>
                    <a:pt x="15" y="15"/>
                  </a:moveTo>
                  <a:lnTo>
                    <a:pt x="15" y="46"/>
                  </a:lnTo>
                  <a:lnTo>
                    <a:pt x="0" y="62"/>
                  </a:lnTo>
                  <a:lnTo>
                    <a:pt x="0" y="93"/>
                  </a:lnTo>
                  <a:lnTo>
                    <a:pt x="30" y="108"/>
                  </a:lnTo>
                  <a:lnTo>
                    <a:pt x="30" y="139"/>
                  </a:lnTo>
                  <a:lnTo>
                    <a:pt x="44" y="139"/>
                  </a:lnTo>
                  <a:lnTo>
                    <a:pt x="44" y="108"/>
                  </a:lnTo>
                  <a:lnTo>
                    <a:pt x="59" y="108"/>
                  </a:lnTo>
                  <a:lnTo>
                    <a:pt x="74" y="93"/>
                  </a:lnTo>
                  <a:lnTo>
                    <a:pt x="44" y="77"/>
                  </a:lnTo>
                  <a:lnTo>
                    <a:pt x="59" y="15"/>
                  </a:lnTo>
                  <a:lnTo>
                    <a:pt x="44" y="0"/>
                  </a:lnTo>
                  <a:lnTo>
                    <a:pt x="15" y="15"/>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28" name="Freeform 153"/>
            <p:cNvSpPr>
              <a:spLocks/>
            </p:cNvSpPr>
            <p:nvPr/>
          </p:nvSpPr>
          <p:spPr bwMode="auto">
            <a:xfrm>
              <a:off x="1179" y="1628"/>
              <a:ext cx="116" cy="105"/>
            </a:xfrm>
            <a:custGeom>
              <a:avLst/>
              <a:gdLst>
                <a:gd name="T0" fmla="*/ 1 w 270"/>
                <a:gd name="T1" fmla="*/ 0 h 278"/>
                <a:gd name="T2" fmla="*/ 1 w 270"/>
                <a:gd name="T3" fmla="*/ 0 h 278"/>
                <a:gd name="T4" fmla="*/ 0 w 270"/>
                <a:gd name="T5" fmla="*/ 0 h 278"/>
                <a:gd name="T6" fmla="*/ 0 w 270"/>
                <a:gd name="T7" fmla="*/ 1 h 278"/>
                <a:gd name="T8" fmla="*/ 0 w 270"/>
                <a:gd name="T9" fmla="*/ 1 h 278"/>
                <a:gd name="T10" fmla="*/ 0 w 270"/>
                <a:gd name="T11" fmla="*/ 2 h 278"/>
                <a:gd name="T12" fmla="*/ 0 w 270"/>
                <a:gd name="T13" fmla="*/ 2 h 278"/>
                <a:gd name="T14" fmla="*/ 0 w 270"/>
                <a:gd name="T15" fmla="*/ 3 h 278"/>
                <a:gd name="T16" fmla="*/ 0 w 270"/>
                <a:gd name="T17" fmla="*/ 3 h 278"/>
                <a:gd name="T18" fmla="*/ 2 w 270"/>
                <a:gd name="T19" fmla="*/ 4 h 278"/>
                <a:gd name="T20" fmla="*/ 3 w 270"/>
                <a:gd name="T21" fmla="*/ 5 h 278"/>
                <a:gd name="T22" fmla="*/ 3 w 270"/>
                <a:gd name="T23" fmla="*/ 4 h 278"/>
                <a:gd name="T24" fmla="*/ 9 w 270"/>
                <a:gd name="T25" fmla="*/ 6 h 278"/>
                <a:gd name="T26" fmla="*/ 9 w 270"/>
                <a:gd name="T27" fmla="*/ 5 h 278"/>
                <a:gd name="T28" fmla="*/ 9 w 270"/>
                <a:gd name="T29" fmla="*/ 5 h 278"/>
                <a:gd name="T30" fmla="*/ 9 w 270"/>
                <a:gd name="T31" fmla="*/ 5 h 278"/>
                <a:gd name="T32" fmla="*/ 9 w 270"/>
                <a:gd name="T33" fmla="*/ 2 h 278"/>
                <a:gd name="T34" fmla="*/ 9 w 270"/>
                <a:gd name="T35" fmla="*/ 1 h 278"/>
                <a:gd name="T36" fmla="*/ 9 w 270"/>
                <a:gd name="T37" fmla="*/ 1 h 278"/>
                <a:gd name="T38" fmla="*/ 7 w 270"/>
                <a:gd name="T39" fmla="*/ 0 h 278"/>
                <a:gd name="T40" fmla="*/ 6 w 270"/>
                <a:gd name="T41" fmla="*/ 0 h 278"/>
                <a:gd name="T42" fmla="*/ 6 w 270"/>
                <a:gd name="T43" fmla="*/ 1 h 278"/>
                <a:gd name="T44" fmla="*/ 6 w 270"/>
                <a:gd name="T45" fmla="*/ 1 h 278"/>
                <a:gd name="T46" fmla="*/ 3 w 270"/>
                <a:gd name="T47" fmla="*/ 1 h 278"/>
                <a:gd name="T48" fmla="*/ 1 w 270"/>
                <a:gd name="T49" fmla="*/ 0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70" h="278">
                  <a:moveTo>
                    <a:pt x="45" y="0"/>
                  </a:moveTo>
                  <a:lnTo>
                    <a:pt x="30" y="15"/>
                  </a:lnTo>
                  <a:lnTo>
                    <a:pt x="15" y="15"/>
                  </a:lnTo>
                  <a:lnTo>
                    <a:pt x="15" y="46"/>
                  </a:lnTo>
                  <a:lnTo>
                    <a:pt x="0" y="46"/>
                  </a:lnTo>
                  <a:lnTo>
                    <a:pt x="0" y="92"/>
                  </a:lnTo>
                  <a:lnTo>
                    <a:pt x="0" y="108"/>
                  </a:lnTo>
                  <a:lnTo>
                    <a:pt x="0" y="139"/>
                  </a:lnTo>
                  <a:lnTo>
                    <a:pt x="15" y="169"/>
                  </a:lnTo>
                  <a:lnTo>
                    <a:pt x="60" y="200"/>
                  </a:lnTo>
                  <a:lnTo>
                    <a:pt x="90" y="215"/>
                  </a:lnTo>
                  <a:lnTo>
                    <a:pt x="105" y="200"/>
                  </a:lnTo>
                  <a:lnTo>
                    <a:pt x="254" y="277"/>
                  </a:lnTo>
                  <a:lnTo>
                    <a:pt x="254" y="262"/>
                  </a:lnTo>
                  <a:lnTo>
                    <a:pt x="269" y="262"/>
                  </a:lnTo>
                  <a:lnTo>
                    <a:pt x="269" y="231"/>
                  </a:lnTo>
                  <a:lnTo>
                    <a:pt x="269" y="92"/>
                  </a:lnTo>
                  <a:lnTo>
                    <a:pt x="254" y="62"/>
                  </a:lnTo>
                  <a:lnTo>
                    <a:pt x="269" y="31"/>
                  </a:lnTo>
                  <a:lnTo>
                    <a:pt x="209" y="0"/>
                  </a:lnTo>
                  <a:lnTo>
                    <a:pt x="179" y="15"/>
                  </a:lnTo>
                  <a:lnTo>
                    <a:pt x="194" y="46"/>
                  </a:lnTo>
                  <a:lnTo>
                    <a:pt x="164" y="62"/>
                  </a:lnTo>
                  <a:lnTo>
                    <a:pt x="105" y="31"/>
                  </a:lnTo>
                  <a:lnTo>
                    <a:pt x="45"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29" name="Freeform 154"/>
            <p:cNvSpPr>
              <a:spLocks/>
            </p:cNvSpPr>
            <p:nvPr/>
          </p:nvSpPr>
          <p:spPr bwMode="auto">
            <a:xfrm>
              <a:off x="1204" y="1512"/>
              <a:ext cx="71" cy="53"/>
            </a:xfrm>
            <a:custGeom>
              <a:avLst/>
              <a:gdLst>
                <a:gd name="T0" fmla="*/ 1 w 165"/>
                <a:gd name="T1" fmla="*/ 0 h 139"/>
                <a:gd name="T2" fmla="*/ 3 w 165"/>
                <a:gd name="T3" fmla="*/ 0 h 139"/>
                <a:gd name="T4" fmla="*/ 3 w 165"/>
                <a:gd name="T5" fmla="*/ 0 h 139"/>
                <a:gd name="T6" fmla="*/ 4 w 165"/>
                <a:gd name="T7" fmla="*/ 0 h 139"/>
                <a:gd name="T8" fmla="*/ 5 w 165"/>
                <a:gd name="T9" fmla="*/ 1 h 139"/>
                <a:gd name="T10" fmla="*/ 5 w 165"/>
                <a:gd name="T11" fmla="*/ 1 h 139"/>
                <a:gd name="T12" fmla="*/ 5 w 165"/>
                <a:gd name="T13" fmla="*/ 2 h 139"/>
                <a:gd name="T14" fmla="*/ 6 w 165"/>
                <a:gd name="T15" fmla="*/ 2 h 139"/>
                <a:gd name="T16" fmla="*/ 5 w 165"/>
                <a:gd name="T17" fmla="*/ 3 h 139"/>
                <a:gd name="T18" fmla="*/ 4 w 165"/>
                <a:gd name="T19" fmla="*/ 2 h 139"/>
                <a:gd name="T20" fmla="*/ 3 w 165"/>
                <a:gd name="T21" fmla="*/ 2 h 139"/>
                <a:gd name="T22" fmla="*/ 2 w 165"/>
                <a:gd name="T23" fmla="*/ 1 h 139"/>
                <a:gd name="T24" fmla="*/ 1 w 165"/>
                <a:gd name="T25" fmla="*/ 1 h 139"/>
                <a:gd name="T26" fmla="*/ 1 w 165"/>
                <a:gd name="T27" fmla="*/ 1 h 139"/>
                <a:gd name="T28" fmla="*/ 0 w 165"/>
                <a:gd name="T29" fmla="*/ 1 h 139"/>
                <a:gd name="T30" fmla="*/ 0 w 165"/>
                <a:gd name="T31" fmla="*/ 1 h 139"/>
                <a:gd name="T32" fmla="*/ 0 w 165"/>
                <a:gd name="T33" fmla="*/ 1 h 139"/>
                <a:gd name="T34" fmla="*/ 0 w 165"/>
                <a:gd name="T35" fmla="*/ 0 h 139"/>
                <a:gd name="T36" fmla="*/ 0 w 165"/>
                <a:gd name="T37" fmla="*/ 0 h 139"/>
                <a:gd name="T38" fmla="*/ 1 w 165"/>
                <a:gd name="T39" fmla="*/ 0 h 1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5" h="139">
                  <a:moveTo>
                    <a:pt x="45" y="0"/>
                  </a:moveTo>
                  <a:lnTo>
                    <a:pt x="75" y="15"/>
                  </a:lnTo>
                  <a:lnTo>
                    <a:pt x="89" y="0"/>
                  </a:lnTo>
                  <a:lnTo>
                    <a:pt x="119" y="15"/>
                  </a:lnTo>
                  <a:lnTo>
                    <a:pt x="149" y="31"/>
                  </a:lnTo>
                  <a:lnTo>
                    <a:pt x="149" y="46"/>
                  </a:lnTo>
                  <a:lnTo>
                    <a:pt x="149" y="77"/>
                  </a:lnTo>
                  <a:lnTo>
                    <a:pt x="164" y="107"/>
                  </a:lnTo>
                  <a:lnTo>
                    <a:pt x="134" y="138"/>
                  </a:lnTo>
                  <a:lnTo>
                    <a:pt x="119" y="92"/>
                  </a:lnTo>
                  <a:lnTo>
                    <a:pt x="104" y="107"/>
                  </a:lnTo>
                  <a:lnTo>
                    <a:pt x="60" y="61"/>
                  </a:lnTo>
                  <a:lnTo>
                    <a:pt x="45" y="61"/>
                  </a:lnTo>
                  <a:lnTo>
                    <a:pt x="30" y="46"/>
                  </a:lnTo>
                  <a:lnTo>
                    <a:pt x="15" y="31"/>
                  </a:lnTo>
                  <a:lnTo>
                    <a:pt x="15" y="46"/>
                  </a:lnTo>
                  <a:lnTo>
                    <a:pt x="0" y="31"/>
                  </a:lnTo>
                  <a:lnTo>
                    <a:pt x="0" y="15"/>
                  </a:lnTo>
                  <a:lnTo>
                    <a:pt x="0" y="0"/>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30" name="Freeform 155"/>
            <p:cNvSpPr>
              <a:spLocks/>
            </p:cNvSpPr>
            <p:nvPr/>
          </p:nvSpPr>
          <p:spPr bwMode="auto">
            <a:xfrm>
              <a:off x="1262" y="1547"/>
              <a:ext cx="38" cy="47"/>
            </a:xfrm>
            <a:custGeom>
              <a:avLst/>
              <a:gdLst>
                <a:gd name="T0" fmla="*/ 0 w 91"/>
                <a:gd name="T1" fmla="*/ 1 h 123"/>
                <a:gd name="T2" fmla="*/ 0 w 91"/>
                <a:gd name="T3" fmla="*/ 2 h 123"/>
                <a:gd name="T4" fmla="*/ 0 w 91"/>
                <a:gd name="T5" fmla="*/ 2 h 123"/>
                <a:gd name="T6" fmla="*/ 1 w 91"/>
                <a:gd name="T7" fmla="*/ 2 h 123"/>
                <a:gd name="T8" fmla="*/ 0 w 91"/>
                <a:gd name="T9" fmla="*/ 2 h 123"/>
                <a:gd name="T10" fmla="*/ 1 w 91"/>
                <a:gd name="T11" fmla="*/ 3 h 123"/>
                <a:gd name="T12" fmla="*/ 1 w 91"/>
                <a:gd name="T13" fmla="*/ 2 h 123"/>
                <a:gd name="T14" fmla="*/ 1 w 91"/>
                <a:gd name="T15" fmla="*/ 2 h 123"/>
                <a:gd name="T16" fmla="*/ 2 w 91"/>
                <a:gd name="T17" fmla="*/ 2 h 123"/>
                <a:gd name="T18" fmla="*/ 2 w 91"/>
                <a:gd name="T19" fmla="*/ 2 h 123"/>
                <a:gd name="T20" fmla="*/ 1 w 91"/>
                <a:gd name="T21" fmla="*/ 1 h 123"/>
                <a:gd name="T22" fmla="*/ 1 w 91"/>
                <a:gd name="T23" fmla="*/ 1 h 123"/>
                <a:gd name="T24" fmla="*/ 2 w 91"/>
                <a:gd name="T25" fmla="*/ 1 h 123"/>
                <a:gd name="T26" fmla="*/ 2 w 91"/>
                <a:gd name="T27" fmla="*/ 0 h 123"/>
                <a:gd name="T28" fmla="*/ 3 w 91"/>
                <a:gd name="T29" fmla="*/ 1 h 123"/>
                <a:gd name="T30" fmla="*/ 3 w 91"/>
                <a:gd name="T31" fmla="*/ 0 h 123"/>
                <a:gd name="T32" fmla="*/ 2 w 91"/>
                <a:gd name="T33" fmla="*/ 0 h 123"/>
                <a:gd name="T34" fmla="*/ 2 w 91"/>
                <a:gd name="T35" fmla="*/ 0 h 123"/>
                <a:gd name="T36" fmla="*/ 1 w 91"/>
                <a:gd name="T37" fmla="*/ 0 h 123"/>
                <a:gd name="T38" fmla="*/ 0 w 91"/>
                <a:gd name="T39" fmla="*/ 1 h 123"/>
                <a:gd name="T40" fmla="*/ 0 w 91"/>
                <a:gd name="T41" fmla="*/ 1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3">
                  <a:moveTo>
                    <a:pt x="0" y="61"/>
                  </a:moveTo>
                  <a:lnTo>
                    <a:pt x="0" y="76"/>
                  </a:lnTo>
                  <a:lnTo>
                    <a:pt x="15" y="92"/>
                  </a:lnTo>
                  <a:lnTo>
                    <a:pt x="30" y="92"/>
                  </a:lnTo>
                  <a:lnTo>
                    <a:pt x="15" y="92"/>
                  </a:lnTo>
                  <a:lnTo>
                    <a:pt x="30" y="122"/>
                  </a:lnTo>
                  <a:lnTo>
                    <a:pt x="45" y="107"/>
                  </a:lnTo>
                  <a:lnTo>
                    <a:pt x="45" y="92"/>
                  </a:lnTo>
                  <a:lnTo>
                    <a:pt x="60" y="107"/>
                  </a:lnTo>
                  <a:lnTo>
                    <a:pt x="60" y="76"/>
                  </a:lnTo>
                  <a:lnTo>
                    <a:pt x="45" y="61"/>
                  </a:lnTo>
                  <a:lnTo>
                    <a:pt x="30" y="31"/>
                  </a:lnTo>
                  <a:lnTo>
                    <a:pt x="60" y="46"/>
                  </a:lnTo>
                  <a:lnTo>
                    <a:pt x="60" y="15"/>
                  </a:lnTo>
                  <a:lnTo>
                    <a:pt x="90" y="31"/>
                  </a:lnTo>
                  <a:lnTo>
                    <a:pt x="90" y="15"/>
                  </a:lnTo>
                  <a:lnTo>
                    <a:pt x="75" y="15"/>
                  </a:lnTo>
                  <a:lnTo>
                    <a:pt x="60" y="0"/>
                  </a:lnTo>
                  <a:lnTo>
                    <a:pt x="30" y="15"/>
                  </a:lnTo>
                  <a:lnTo>
                    <a:pt x="0" y="46"/>
                  </a:lnTo>
                  <a:lnTo>
                    <a:pt x="0" y="6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31" name="Freeform 156"/>
            <p:cNvSpPr>
              <a:spLocks/>
            </p:cNvSpPr>
            <p:nvPr/>
          </p:nvSpPr>
          <p:spPr bwMode="auto">
            <a:xfrm>
              <a:off x="1256" y="1494"/>
              <a:ext cx="64" cy="41"/>
            </a:xfrm>
            <a:custGeom>
              <a:avLst/>
              <a:gdLst>
                <a:gd name="T0" fmla="*/ 1 w 150"/>
                <a:gd name="T1" fmla="*/ 0 h 108"/>
                <a:gd name="T2" fmla="*/ 0 w 150"/>
                <a:gd name="T3" fmla="*/ 1 h 108"/>
                <a:gd name="T4" fmla="*/ 0 w 150"/>
                <a:gd name="T5" fmla="*/ 1 h 108"/>
                <a:gd name="T6" fmla="*/ 1 w 150"/>
                <a:gd name="T7" fmla="*/ 2 h 108"/>
                <a:gd name="T8" fmla="*/ 1 w 150"/>
                <a:gd name="T9" fmla="*/ 2 h 108"/>
                <a:gd name="T10" fmla="*/ 1 w 150"/>
                <a:gd name="T11" fmla="*/ 2 h 108"/>
                <a:gd name="T12" fmla="*/ 3 w 150"/>
                <a:gd name="T13" fmla="*/ 2 h 108"/>
                <a:gd name="T14" fmla="*/ 3 w 150"/>
                <a:gd name="T15" fmla="*/ 2 h 108"/>
                <a:gd name="T16" fmla="*/ 4 w 150"/>
                <a:gd name="T17" fmla="*/ 2 h 108"/>
                <a:gd name="T18" fmla="*/ 4 w 150"/>
                <a:gd name="T19" fmla="*/ 2 h 108"/>
                <a:gd name="T20" fmla="*/ 5 w 150"/>
                <a:gd name="T21" fmla="*/ 1 h 108"/>
                <a:gd name="T22" fmla="*/ 4 w 150"/>
                <a:gd name="T23" fmla="*/ 1 h 108"/>
                <a:gd name="T24" fmla="*/ 4 w 150"/>
                <a:gd name="T25" fmla="*/ 1 h 108"/>
                <a:gd name="T26" fmla="*/ 3 w 150"/>
                <a:gd name="T27" fmla="*/ 0 h 108"/>
                <a:gd name="T28" fmla="*/ 3 w 150"/>
                <a:gd name="T29" fmla="*/ 0 h 108"/>
                <a:gd name="T30" fmla="*/ 1 w 150"/>
                <a:gd name="T31" fmla="*/ 0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0" h="108">
                  <a:moveTo>
                    <a:pt x="30" y="15"/>
                  </a:moveTo>
                  <a:lnTo>
                    <a:pt x="15" y="31"/>
                  </a:lnTo>
                  <a:lnTo>
                    <a:pt x="0" y="61"/>
                  </a:lnTo>
                  <a:lnTo>
                    <a:pt x="30" y="76"/>
                  </a:lnTo>
                  <a:lnTo>
                    <a:pt x="30" y="92"/>
                  </a:lnTo>
                  <a:lnTo>
                    <a:pt x="45" y="107"/>
                  </a:lnTo>
                  <a:lnTo>
                    <a:pt x="89" y="107"/>
                  </a:lnTo>
                  <a:lnTo>
                    <a:pt x="104" y="92"/>
                  </a:lnTo>
                  <a:lnTo>
                    <a:pt x="134" y="107"/>
                  </a:lnTo>
                  <a:lnTo>
                    <a:pt x="134" y="76"/>
                  </a:lnTo>
                  <a:lnTo>
                    <a:pt x="149" y="61"/>
                  </a:lnTo>
                  <a:lnTo>
                    <a:pt x="119" y="61"/>
                  </a:lnTo>
                  <a:lnTo>
                    <a:pt x="119" y="31"/>
                  </a:lnTo>
                  <a:lnTo>
                    <a:pt x="89" y="0"/>
                  </a:lnTo>
                  <a:lnTo>
                    <a:pt x="75" y="15"/>
                  </a:lnTo>
                  <a:lnTo>
                    <a:pt x="3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32" name="Freeform 157"/>
            <p:cNvSpPr>
              <a:spLocks/>
            </p:cNvSpPr>
            <p:nvPr/>
          </p:nvSpPr>
          <p:spPr bwMode="auto">
            <a:xfrm>
              <a:off x="1269" y="1530"/>
              <a:ext cx="45" cy="23"/>
            </a:xfrm>
            <a:custGeom>
              <a:avLst/>
              <a:gdLst>
                <a:gd name="T0" fmla="*/ 3 w 105"/>
                <a:gd name="T1" fmla="*/ 0 h 62"/>
                <a:gd name="T2" fmla="*/ 3 w 105"/>
                <a:gd name="T3" fmla="*/ 0 h 62"/>
                <a:gd name="T4" fmla="*/ 2 w 105"/>
                <a:gd name="T5" fmla="*/ 0 h 62"/>
                <a:gd name="T6" fmla="*/ 0 w 105"/>
                <a:gd name="T7" fmla="*/ 0 h 62"/>
                <a:gd name="T8" fmla="*/ 0 w 105"/>
                <a:gd name="T9" fmla="*/ 0 h 62"/>
                <a:gd name="T10" fmla="*/ 0 w 105"/>
                <a:gd name="T11" fmla="*/ 0 h 62"/>
                <a:gd name="T12" fmla="*/ 0 w 105"/>
                <a:gd name="T13" fmla="*/ 1 h 62"/>
                <a:gd name="T14" fmla="*/ 1 w 105"/>
                <a:gd name="T15" fmla="*/ 1 h 62"/>
                <a:gd name="T16" fmla="*/ 2 w 105"/>
                <a:gd name="T17" fmla="*/ 1 h 62"/>
                <a:gd name="T18" fmla="*/ 3 w 105"/>
                <a:gd name="T19" fmla="*/ 1 h 62"/>
                <a:gd name="T20" fmla="*/ 3 w 105"/>
                <a:gd name="T21" fmla="*/ 1 h 62"/>
                <a:gd name="T22" fmla="*/ 3 w 105"/>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5" h="62">
                  <a:moveTo>
                    <a:pt x="104" y="15"/>
                  </a:moveTo>
                  <a:lnTo>
                    <a:pt x="74" y="0"/>
                  </a:lnTo>
                  <a:lnTo>
                    <a:pt x="59" y="15"/>
                  </a:lnTo>
                  <a:lnTo>
                    <a:pt x="15" y="15"/>
                  </a:lnTo>
                  <a:lnTo>
                    <a:pt x="0" y="0"/>
                  </a:lnTo>
                  <a:lnTo>
                    <a:pt x="0" y="31"/>
                  </a:lnTo>
                  <a:lnTo>
                    <a:pt x="15" y="61"/>
                  </a:lnTo>
                  <a:lnTo>
                    <a:pt x="45" y="46"/>
                  </a:lnTo>
                  <a:lnTo>
                    <a:pt x="59" y="61"/>
                  </a:lnTo>
                  <a:lnTo>
                    <a:pt x="74" y="61"/>
                  </a:lnTo>
                  <a:lnTo>
                    <a:pt x="89" y="46"/>
                  </a:lnTo>
                  <a:lnTo>
                    <a:pt x="104"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33" name="Freeform 158"/>
            <p:cNvSpPr>
              <a:spLocks/>
            </p:cNvSpPr>
            <p:nvPr/>
          </p:nvSpPr>
          <p:spPr bwMode="auto">
            <a:xfrm>
              <a:off x="1287" y="1634"/>
              <a:ext cx="91" cy="81"/>
            </a:xfrm>
            <a:custGeom>
              <a:avLst/>
              <a:gdLst>
                <a:gd name="T0" fmla="*/ 0 w 211"/>
                <a:gd name="T1" fmla="*/ 0 h 216"/>
                <a:gd name="T2" fmla="*/ 0 w 211"/>
                <a:gd name="T3" fmla="*/ 1 h 216"/>
                <a:gd name="T4" fmla="*/ 0 w 211"/>
                <a:gd name="T5" fmla="*/ 2 h 216"/>
                <a:gd name="T6" fmla="*/ 0 w 211"/>
                <a:gd name="T7" fmla="*/ 4 h 216"/>
                <a:gd name="T8" fmla="*/ 6 w 211"/>
                <a:gd name="T9" fmla="*/ 4 h 216"/>
                <a:gd name="T10" fmla="*/ 6 w 211"/>
                <a:gd name="T11" fmla="*/ 4 h 216"/>
                <a:gd name="T12" fmla="*/ 7 w 211"/>
                <a:gd name="T13" fmla="*/ 4 h 216"/>
                <a:gd name="T14" fmla="*/ 5 w 211"/>
                <a:gd name="T15" fmla="*/ 1 h 216"/>
                <a:gd name="T16" fmla="*/ 5 w 211"/>
                <a:gd name="T17" fmla="*/ 1 h 216"/>
                <a:gd name="T18" fmla="*/ 6 w 211"/>
                <a:gd name="T19" fmla="*/ 2 h 216"/>
                <a:gd name="T20" fmla="*/ 6 w 211"/>
                <a:gd name="T21" fmla="*/ 1 h 216"/>
                <a:gd name="T22" fmla="*/ 6 w 211"/>
                <a:gd name="T23" fmla="*/ 0 h 216"/>
                <a:gd name="T24" fmla="*/ 5 w 211"/>
                <a:gd name="T25" fmla="*/ 0 h 216"/>
                <a:gd name="T26" fmla="*/ 4 w 211"/>
                <a:gd name="T27" fmla="*/ 0 h 216"/>
                <a:gd name="T28" fmla="*/ 3 w 211"/>
                <a:gd name="T29" fmla="*/ 0 h 216"/>
                <a:gd name="T30" fmla="*/ 0 w 211"/>
                <a:gd name="T31" fmla="*/ 0 h 2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1" h="216">
                  <a:moveTo>
                    <a:pt x="15" y="15"/>
                  </a:moveTo>
                  <a:lnTo>
                    <a:pt x="0" y="46"/>
                  </a:lnTo>
                  <a:lnTo>
                    <a:pt x="15" y="77"/>
                  </a:lnTo>
                  <a:lnTo>
                    <a:pt x="15" y="215"/>
                  </a:lnTo>
                  <a:lnTo>
                    <a:pt x="165" y="200"/>
                  </a:lnTo>
                  <a:lnTo>
                    <a:pt x="180" y="215"/>
                  </a:lnTo>
                  <a:lnTo>
                    <a:pt x="210" y="184"/>
                  </a:lnTo>
                  <a:lnTo>
                    <a:pt x="135" y="61"/>
                  </a:lnTo>
                  <a:lnTo>
                    <a:pt x="135" y="46"/>
                  </a:lnTo>
                  <a:lnTo>
                    <a:pt x="165" y="92"/>
                  </a:lnTo>
                  <a:lnTo>
                    <a:pt x="180" y="61"/>
                  </a:lnTo>
                  <a:lnTo>
                    <a:pt x="165" y="15"/>
                  </a:lnTo>
                  <a:lnTo>
                    <a:pt x="150" y="15"/>
                  </a:lnTo>
                  <a:lnTo>
                    <a:pt x="120" y="0"/>
                  </a:lnTo>
                  <a:lnTo>
                    <a:pt x="90" y="15"/>
                  </a:lnTo>
                  <a:lnTo>
                    <a:pt x="15" y="15"/>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34" name="Line 159"/>
            <p:cNvSpPr>
              <a:spLocks noChangeShapeType="1"/>
            </p:cNvSpPr>
            <p:nvPr/>
          </p:nvSpPr>
          <p:spPr bwMode="auto">
            <a:xfrm>
              <a:off x="1358" y="1640"/>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35" name="Line 160"/>
            <p:cNvSpPr>
              <a:spLocks noChangeShapeType="1"/>
            </p:cNvSpPr>
            <p:nvPr/>
          </p:nvSpPr>
          <p:spPr bwMode="auto">
            <a:xfrm>
              <a:off x="1358" y="1646"/>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36" name="Line 161"/>
            <p:cNvSpPr>
              <a:spLocks noChangeShapeType="1"/>
            </p:cNvSpPr>
            <p:nvPr/>
          </p:nvSpPr>
          <p:spPr bwMode="auto">
            <a:xfrm flipV="1">
              <a:off x="1372" y="1646"/>
              <a:ext cx="0" cy="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37" name="Line 162"/>
            <p:cNvSpPr>
              <a:spLocks noChangeShapeType="1"/>
            </p:cNvSpPr>
            <p:nvPr/>
          </p:nvSpPr>
          <p:spPr bwMode="auto">
            <a:xfrm flipV="1">
              <a:off x="1372" y="1640"/>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38" name="Line 163"/>
            <p:cNvSpPr>
              <a:spLocks noChangeShapeType="1"/>
            </p:cNvSpPr>
            <p:nvPr/>
          </p:nvSpPr>
          <p:spPr bwMode="auto">
            <a:xfrm flipV="1">
              <a:off x="1372" y="1634"/>
              <a:ext cx="0" cy="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39" name="Line 164"/>
            <p:cNvSpPr>
              <a:spLocks noChangeShapeType="1"/>
            </p:cNvSpPr>
            <p:nvPr/>
          </p:nvSpPr>
          <p:spPr bwMode="auto">
            <a:xfrm flipV="1">
              <a:off x="1372" y="1617"/>
              <a:ext cx="6" cy="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40" name="Freeform 165"/>
            <p:cNvSpPr>
              <a:spLocks/>
            </p:cNvSpPr>
            <p:nvPr/>
          </p:nvSpPr>
          <p:spPr bwMode="auto">
            <a:xfrm>
              <a:off x="1346" y="1600"/>
              <a:ext cx="12" cy="11"/>
            </a:xfrm>
            <a:custGeom>
              <a:avLst/>
              <a:gdLst>
                <a:gd name="T0" fmla="*/ 1 w 30"/>
                <a:gd name="T1" fmla="*/ 0 h 31"/>
                <a:gd name="T2" fmla="*/ 0 w 30"/>
                <a:gd name="T3" fmla="*/ 0 h 31"/>
                <a:gd name="T4" fmla="*/ 0 w 30"/>
                <a:gd name="T5" fmla="*/ 0 h 31"/>
                <a:gd name="T6" fmla="*/ 1 w 30"/>
                <a:gd name="T7" fmla="*/ 0 h 31"/>
                <a:gd name="T8" fmla="*/ 1 w 30"/>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1">
                  <a:moveTo>
                    <a:pt x="29" y="0"/>
                  </a:moveTo>
                  <a:lnTo>
                    <a:pt x="0" y="15"/>
                  </a:lnTo>
                  <a:lnTo>
                    <a:pt x="0" y="30"/>
                  </a:lnTo>
                  <a:lnTo>
                    <a:pt x="29" y="15"/>
                  </a:lnTo>
                  <a:lnTo>
                    <a:pt x="29" y="0"/>
                  </a:lnTo>
                </a:path>
              </a:pathLst>
            </a:custGeom>
            <a:solidFill>
              <a:srgbClr val="FFFF0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541" name="Freeform 166"/>
            <p:cNvSpPr>
              <a:spLocks/>
            </p:cNvSpPr>
            <p:nvPr/>
          </p:nvSpPr>
          <p:spPr bwMode="auto">
            <a:xfrm>
              <a:off x="1372" y="1617"/>
              <a:ext cx="0" cy="17"/>
            </a:xfrm>
            <a:custGeom>
              <a:avLst/>
              <a:gdLst>
                <a:gd name="T0" fmla="*/ 0 w 1"/>
                <a:gd name="T1" fmla="*/ 0 h 47"/>
                <a:gd name="T2" fmla="*/ 0 w 1"/>
                <a:gd name="T3" fmla="*/ 1 h 47"/>
                <a:gd name="T4" fmla="*/ 0 w 1"/>
                <a:gd name="T5" fmla="*/ 0 h 47"/>
                <a:gd name="T6" fmla="*/ 0 w 1"/>
                <a:gd name="T7" fmla="*/ 0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47">
                  <a:moveTo>
                    <a:pt x="0" y="0"/>
                  </a:moveTo>
                  <a:lnTo>
                    <a:pt x="0" y="46"/>
                  </a:lnTo>
                  <a:lnTo>
                    <a:pt x="0" y="31"/>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42" name="Line 167"/>
            <p:cNvSpPr>
              <a:spLocks noChangeShapeType="1"/>
            </p:cNvSpPr>
            <p:nvPr/>
          </p:nvSpPr>
          <p:spPr bwMode="auto">
            <a:xfrm>
              <a:off x="1372" y="1634"/>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43" name="Line 168"/>
            <p:cNvSpPr>
              <a:spLocks noChangeShapeType="1"/>
            </p:cNvSpPr>
            <p:nvPr/>
          </p:nvSpPr>
          <p:spPr bwMode="auto">
            <a:xfrm>
              <a:off x="1372" y="1628"/>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44" name="Line 169"/>
            <p:cNvSpPr>
              <a:spLocks noChangeShapeType="1"/>
            </p:cNvSpPr>
            <p:nvPr/>
          </p:nvSpPr>
          <p:spPr bwMode="auto">
            <a:xfrm>
              <a:off x="1372" y="1622"/>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45" name="Line 170"/>
            <p:cNvSpPr>
              <a:spLocks noChangeShapeType="1"/>
            </p:cNvSpPr>
            <p:nvPr/>
          </p:nvSpPr>
          <p:spPr bwMode="auto">
            <a:xfrm>
              <a:off x="1372" y="1617"/>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46" name="Line 171"/>
            <p:cNvSpPr>
              <a:spLocks noChangeShapeType="1"/>
            </p:cNvSpPr>
            <p:nvPr/>
          </p:nvSpPr>
          <p:spPr bwMode="auto">
            <a:xfrm>
              <a:off x="1372" y="1617"/>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47" name="Line 172"/>
            <p:cNvSpPr>
              <a:spLocks noChangeShapeType="1"/>
            </p:cNvSpPr>
            <p:nvPr/>
          </p:nvSpPr>
          <p:spPr bwMode="auto">
            <a:xfrm>
              <a:off x="1372" y="1622"/>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48" name="Line 173"/>
            <p:cNvSpPr>
              <a:spLocks noChangeShapeType="1"/>
            </p:cNvSpPr>
            <p:nvPr/>
          </p:nvSpPr>
          <p:spPr bwMode="auto">
            <a:xfrm>
              <a:off x="1372" y="1628"/>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49" name="Line 174"/>
            <p:cNvSpPr>
              <a:spLocks noChangeShapeType="1"/>
            </p:cNvSpPr>
            <p:nvPr/>
          </p:nvSpPr>
          <p:spPr bwMode="auto">
            <a:xfrm flipH="1">
              <a:off x="1365" y="1628"/>
              <a:ext cx="6"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50" name="Line 175"/>
            <p:cNvSpPr>
              <a:spLocks noChangeShapeType="1"/>
            </p:cNvSpPr>
            <p:nvPr/>
          </p:nvSpPr>
          <p:spPr bwMode="auto">
            <a:xfrm>
              <a:off x="1365" y="1634"/>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51" name="Line 176"/>
            <p:cNvSpPr>
              <a:spLocks noChangeShapeType="1"/>
            </p:cNvSpPr>
            <p:nvPr/>
          </p:nvSpPr>
          <p:spPr bwMode="auto">
            <a:xfrm>
              <a:off x="1372" y="1634"/>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52" name="Freeform 177"/>
            <p:cNvSpPr>
              <a:spLocks/>
            </p:cNvSpPr>
            <p:nvPr/>
          </p:nvSpPr>
          <p:spPr bwMode="auto">
            <a:xfrm>
              <a:off x="1358" y="1617"/>
              <a:ext cx="14" cy="41"/>
            </a:xfrm>
            <a:custGeom>
              <a:avLst/>
              <a:gdLst>
                <a:gd name="T0" fmla="*/ 0 w 32"/>
                <a:gd name="T1" fmla="*/ 1 h 108"/>
                <a:gd name="T2" fmla="*/ 0 w 32"/>
                <a:gd name="T3" fmla="*/ 2 h 108"/>
                <a:gd name="T4" fmla="*/ 1 w 32"/>
                <a:gd name="T5" fmla="*/ 1 h 108"/>
                <a:gd name="T6" fmla="*/ 1 w 32"/>
                <a:gd name="T7" fmla="*/ 1 h 108"/>
                <a:gd name="T8" fmla="*/ 1 w 32"/>
                <a:gd name="T9" fmla="*/ 0 h 108"/>
                <a:gd name="T10" fmla="*/ 0 w 32"/>
                <a:gd name="T11" fmla="*/ 1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108">
                  <a:moveTo>
                    <a:pt x="0" y="61"/>
                  </a:moveTo>
                  <a:lnTo>
                    <a:pt x="16" y="107"/>
                  </a:lnTo>
                  <a:lnTo>
                    <a:pt x="31" y="46"/>
                  </a:lnTo>
                  <a:lnTo>
                    <a:pt x="31" y="31"/>
                  </a:lnTo>
                  <a:lnTo>
                    <a:pt x="31" y="0"/>
                  </a:lnTo>
                  <a:lnTo>
                    <a:pt x="0" y="61"/>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53" name="Freeform 178"/>
            <p:cNvSpPr>
              <a:spLocks/>
            </p:cNvSpPr>
            <p:nvPr/>
          </p:nvSpPr>
          <p:spPr bwMode="auto">
            <a:xfrm>
              <a:off x="1372" y="1605"/>
              <a:ext cx="6" cy="12"/>
            </a:xfrm>
            <a:custGeom>
              <a:avLst/>
              <a:gdLst>
                <a:gd name="T0" fmla="*/ 0 w 17"/>
                <a:gd name="T1" fmla="*/ 1 h 32"/>
                <a:gd name="T2" fmla="*/ 0 w 17"/>
                <a:gd name="T3" fmla="*/ 0 h 32"/>
                <a:gd name="T4" fmla="*/ 0 w 17"/>
                <a:gd name="T5" fmla="*/ 0 h 32"/>
                <a:gd name="T6" fmla="*/ 0 w 17"/>
                <a:gd name="T7" fmla="*/ 1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0" y="31"/>
                  </a:moveTo>
                  <a:lnTo>
                    <a:pt x="16" y="16"/>
                  </a:lnTo>
                  <a:lnTo>
                    <a:pt x="0" y="0"/>
                  </a:lnTo>
                  <a:lnTo>
                    <a:pt x="0" y="31"/>
                  </a:lnTo>
                </a:path>
              </a:pathLst>
            </a:custGeom>
            <a:solidFill>
              <a:srgbClr val="FFFF0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554" name="Freeform 179"/>
            <p:cNvSpPr>
              <a:spLocks/>
            </p:cNvSpPr>
            <p:nvPr/>
          </p:nvSpPr>
          <p:spPr bwMode="auto">
            <a:xfrm>
              <a:off x="1217" y="1791"/>
              <a:ext cx="97" cy="70"/>
            </a:xfrm>
            <a:custGeom>
              <a:avLst/>
              <a:gdLst>
                <a:gd name="T0" fmla="*/ 8 w 224"/>
                <a:gd name="T1" fmla="*/ 3 h 185"/>
                <a:gd name="T2" fmla="*/ 7 w 224"/>
                <a:gd name="T3" fmla="*/ 1 h 185"/>
                <a:gd name="T4" fmla="*/ 6 w 224"/>
                <a:gd name="T5" fmla="*/ 1 h 185"/>
                <a:gd name="T6" fmla="*/ 6 w 224"/>
                <a:gd name="T7" fmla="*/ 0 h 185"/>
                <a:gd name="T8" fmla="*/ 5 w 224"/>
                <a:gd name="T9" fmla="*/ 0 h 185"/>
                <a:gd name="T10" fmla="*/ 5 w 224"/>
                <a:gd name="T11" fmla="*/ 0 h 185"/>
                <a:gd name="T12" fmla="*/ 3 w 224"/>
                <a:gd name="T13" fmla="*/ 1 h 185"/>
                <a:gd name="T14" fmla="*/ 0 w 224"/>
                <a:gd name="T15" fmla="*/ 2 h 185"/>
                <a:gd name="T16" fmla="*/ 0 w 224"/>
                <a:gd name="T17" fmla="*/ 2 h 185"/>
                <a:gd name="T18" fmla="*/ 0 w 224"/>
                <a:gd name="T19" fmla="*/ 3 h 185"/>
                <a:gd name="T20" fmla="*/ 1 w 224"/>
                <a:gd name="T21" fmla="*/ 4 h 185"/>
                <a:gd name="T22" fmla="*/ 1 w 224"/>
                <a:gd name="T23" fmla="*/ 3 h 185"/>
                <a:gd name="T24" fmla="*/ 2 w 224"/>
                <a:gd name="T25" fmla="*/ 3 h 185"/>
                <a:gd name="T26" fmla="*/ 3 w 224"/>
                <a:gd name="T27" fmla="*/ 3 h 185"/>
                <a:gd name="T28" fmla="*/ 3 w 224"/>
                <a:gd name="T29" fmla="*/ 3 h 185"/>
                <a:gd name="T30" fmla="*/ 5 w 224"/>
                <a:gd name="T31" fmla="*/ 3 h 185"/>
                <a:gd name="T32" fmla="*/ 5 w 224"/>
                <a:gd name="T33" fmla="*/ 3 h 185"/>
                <a:gd name="T34" fmla="*/ 7 w 224"/>
                <a:gd name="T35" fmla="*/ 3 h 185"/>
                <a:gd name="T36" fmla="*/ 8 w 224"/>
                <a:gd name="T37" fmla="*/ 3 h 1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4" h="185">
                  <a:moveTo>
                    <a:pt x="223" y="123"/>
                  </a:moveTo>
                  <a:lnTo>
                    <a:pt x="193" y="61"/>
                  </a:lnTo>
                  <a:lnTo>
                    <a:pt x="164" y="61"/>
                  </a:lnTo>
                  <a:lnTo>
                    <a:pt x="164" y="15"/>
                  </a:lnTo>
                  <a:lnTo>
                    <a:pt x="149" y="0"/>
                  </a:lnTo>
                  <a:lnTo>
                    <a:pt x="134" y="15"/>
                  </a:lnTo>
                  <a:lnTo>
                    <a:pt x="104" y="46"/>
                  </a:lnTo>
                  <a:lnTo>
                    <a:pt x="15" y="77"/>
                  </a:lnTo>
                  <a:lnTo>
                    <a:pt x="0" y="107"/>
                  </a:lnTo>
                  <a:lnTo>
                    <a:pt x="15" y="153"/>
                  </a:lnTo>
                  <a:lnTo>
                    <a:pt x="30" y="184"/>
                  </a:lnTo>
                  <a:lnTo>
                    <a:pt x="45" y="153"/>
                  </a:lnTo>
                  <a:lnTo>
                    <a:pt x="59" y="153"/>
                  </a:lnTo>
                  <a:lnTo>
                    <a:pt x="74" y="123"/>
                  </a:lnTo>
                  <a:lnTo>
                    <a:pt x="89" y="123"/>
                  </a:lnTo>
                  <a:lnTo>
                    <a:pt x="134" y="138"/>
                  </a:lnTo>
                  <a:lnTo>
                    <a:pt x="149" y="123"/>
                  </a:lnTo>
                  <a:lnTo>
                    <a:pt x="193" y="123"/>
                  </a:lnTo>
                  <a:lnTo>
                    <a:pt x="223" y="123"/>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55" name="Freeform 180"/>
            <p:cNvSpPr>
              <a:spLocks/>
            </p:cNvSpPr>
            <p:nvPr/>
          </p:nvSpPr>
          <p:spPr bwMode="auto">
            <a:xfrm>
              <a:off x="1332" y="1878"/>
              <a:ext cx="7" cy="18"/>
            </a:xfrm>
            <a:custGeom>
              <a:avLst/>
              <a:gdLst>
                <a:gd name="T0" fmla="*/ 0 w 17"/>
                <a:gd name="T1" fmla="*/ 0 h 47"/>
                <a:gd name="T2" fmla="*/ 0 w 17"/>
                <a:gd name="T3" fmla="*/ 1 h 47"/>
                <a:gd name="T4" fmla="*/ 0 w 17"/>
                <a:gd name="T5" fmla="*/ 1 h 47"/>
                <a:gd name="T6" fmla="*/ 0 w 17"/>
                <a:gd name="T7" fmla="*/ 0 h 47"/>
                <a:gd name="T8" fmla="*/ 0 w 17"/>
                <a:gd name="T9" fmla="*/ 0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47">
                  <a:moveTo>
                    <a:pt x="0" y="0"/>
                  </a:moveTo>
                  <a:lnTo>
                    <a:pt x="0" y="46"/>
                  </a:lnTo>
                  <a:lnTo>
                    <a:pt x="16" y="31"/>
                  </a:lnTo>
                  <a:lnTo>
                    <a:pt x="16" y="15"/>
                  </a:lnTo>
                  <a:lnTo>
                    <a:pt x="0"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56" name="Freeform 181"/>
            <p:cNvSpPr>
              <a:spLocks/>
            </p:cNvSpPr>
            <p:nvPr/>
          </p:nvSpPr>
          <p:spPr bwMode="auto">
            <a:xfrm>
              <a:off x="1192" y="1849"/>
              <a:ext cx="51" cy="58"/>
            </a:xfrm>
            <a:custGeom>
              <a:avLst/>
              <a:gdLst>
                <a:gd name="T0" fmla="*/ 4 w 120"/>
                <a:gd name="T1" fmla="*/ 0 h 154"/>
                <a:gd name="T2" fmla="*/ 3 w 120"/>
                <a:gd name="T3" fmla="*/ 0 h 154"/>
                <a:gd name="T4" fmla="*/ 3 w 120"/>
                <a:gd name="T5" fmla="*/ 1 h 154"/>
                <a:gd name="T6" fmla="*/ 1 w 120"/>
                <a:gd name="T7" fmla="*/ 1 h 154"/>
                <a:gd name="T8" fmla="*/ 2 w 120"/>
                <a:gd name="T9" fmla="*/ 1 h 154"/>
                <a:gd name="T10" fmla="*/ 1 w 120"/>
                <a:gd name="T11" fmla="*/ 1 h 154"/>
                <a:gd name="T12" fmla="*/ 1 w 120"/>
                <a:gd name="T13" fmla="*/ 2 h 154"/>
                <a:gd name="T14" fmla="*/ 0 w 120"/>
                <a:gd name="T15" fmla="*/ 2 h 154"/>
                <a:gd name="T16" fmla="*/ 0 w 120"/>
                <a:gd name="T17" fmla="*/ 2 h 154"/>
                <a:gd name="T18" fmla="*/ 0 w 120"/>
                <a:gd name="T19" fmla="*/ 3 h 154"/>
                <a:gd name="T20" fmla="*/ 0 w 120"/>
                <a:gd name="T21" fmla="*/ 3 h 154"/>
                <a:gd name="T22" fmla="*/ 1 w 120"/>
                <a:gd name="T23" fmla="*/ 3 h 154"/>
                <a:gd name="T24" fmla="*/ 2 w 120"/>
                <a:gd name="T25" fmla="*/ 3 h 154"/>
                <a:gd name="T26" fmla="*/ 3 w 120"/>
                <a:gd name="T27" fmla="*/ 3 h 154"/>
                <a:gd name="T28" fmla="*/ 3 w 120"/>
                <a:gd name="T29" fmla="*/ 2 h 154"/>
                <a:gd name="T30" fmla="*/ 4 w 120"/>
                <a:gd name="T31" fmla="*/ 2 h 154"/>
                <a:gd name="T32" fmla="*/ 4 w 120"/>
                <a:gd name="T33" fmla="*/ 1 h 154"/>
                <a:gd name="T34" fmla="*/ 4 w 120"/>
                <a:gd name="T35" fmla="*/ 0 h 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0" h="154">
                  <a:moveTo>
                    <a:pt x="119" y="0"/>
                  </a:moveTo>
                  <a:lnTo>
                    <a:pt x="104" y="0"/>
                  </a:lnTo>
                  <a:lnTo>
                    <a:pt x="89" y="31"/>
                  </a:lnTo>
                  <a:lnTo>
                    <a:pt x="30" y="31"/>
                  </a:lnTo>
                  <a:lnTo>
                    <a:pt x="60" y="46"/>
                  </a:lnTo>
                  <a:lnTo>
                    <a:pt x="45" y="61"/>
                  </a:lnTo>
                  <a:lnTo>
                    <a:pt x="45" y="92"/>
                  </a:lnTo>
                  <a:lnTo>
                    <a:pt x="15" y="107"/>
                  </a:lnTo>
                  <a:lnTo>
                    <a:pt x="15" y="122"/>
                  </a:lnTo>
                  <a:lnTo>
                    <a:pt x="0" y="138"/>
                  </a:lnTo>
                  <a:lnTo>
                    <a:pt x="15" y="153"/>
                  </a:lnTo>
                  <a:lnTo>
                    <a:pt x="30" y="153"/>
                  </a:lnTo>
                  <a:lnTo>
                    <a:pt x="60" y="153"/>
                  </a:lnTo>
                  <a:lnTo>
                    <a:pt x="74" y="138"/>
                  </a:lnTo>
                  <a:lnTo>
                    <a:pt x="89" y="92"/>
                  </a:lnTo>
                  <a:lnTo>
                    <a:pt x="119" y="77"/>
                  </a:lnTo>
                  <a:lnTo>
                    <a:pt x="119" y="31"/>
                  </a:lnTo>
                  <a:lnTo>
                    <a:pt x="119"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57" name="Freeform 182"/>
            <p:cNvSpPr>
              <a:spLocks/>
            </p:cNvSpPr>
            <p:nvPr/>
          </p:nvSpPr>
          <p:spPr bwMode="auto">
            <a:xfrm>
              <a:off x="1173" y="1780"/>
              <a:ext cx="57" cy="81"/>
            </a:xfrm>
            <a:custGeom>
              <a:avLst/>
              <a:gdLst>
                <a:gd name="T0" fmla="*/ 0 w 134"/>
                <a:gd name="T1" fmla="*/ 4 h 216"/>
                <a:gd name="T2" fmla="*/ 1 w 134"/>
                <a:gd name="T3" fmla="*/ 4 h 216"/>
                <a:gd name="T4" fmla="*/ 3 w 134"/>
                <a:gd name="T5" fmla="*/ 4 h 216"/>
                <a:gd name="T6" fmla="*/ 4 w 134"/>
                <a:gd name="T7" fmla="*/ 4 h 216"/>
                <a:gd name="T8" fmla="*/ 4 w 134"/>
                <a:gd name="T9" fmla="*/ 4 h 216"/>
                <a:gd name="T10" fmla="*/ 3 w 134"/>
                <a:gd name="T11" fmla="*/ 3 h 216"/>
                <a:gd name="T12" fmla="*/ 4 w 134"/>
                <a:gd name="T13" fmla="*/ 2 h 216"/>
                <a:gd name="T14" fmla="*/ 3 w 134"/>
                <a:gd name="T15" fmla="*/ 2 h 216"/>
                <a:gd name="T16" fmla="*/ 4 w 134"/>
                <a:gd name="T17" fmla="*/ 1 h 216"/>
                <a:gd name="T18" fmla="*/ 3 w 134"/>
                <a:gd name="T19" fmla="*/ 0 h 216"/>
                <a:gd name="T20" fmla="*/ 3 w 134"/>
                <a:gd name="T21" fmla="*/ 1 h 216"/>
                <a:gd name="T22" fmla="*/ 3 w 134"/>
                <a:gd name="T23" fmla="*/ 2 h 216"/>
                <a:gd name="T24" fmla="*/ 1 w 134"/>
                <a:gd name="T25" fmla="*/ 2 h 216"/>
                <a:gd name="T26" fmla="*/ 1 w 134"/>
                <a:gd name="T27" fmla="*/ 2 h 216"/>
                <a:gd name="T28" fmla="*/ 0 w 134"/>
                <a:gd name="T29" fmla="*/ 3 h 216"/>
                <a:gd name="T30" fmla="*/ 0 w 134"/>
                <a:gd name="T31" fmla="*/ 3 h 216"/>
                <a:gd name="T32" fmla="*/ 0 w 134"/>
                <a:gd name="T33" fmla="*/ 4 h 216"/>
                <a:gd name="T34" fmla="*/ 0 w 134"/>
                <a:gd name="T35" fmla="*/ 4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4" h="216">
                  <a:moveTo>
                    <a:pt x="15" y="215"/>
                  </a:moveTo>
                  <a:lnTo>
                    <a:pt x="44" y="215"/>
                  </a:lnTo>
                  <a:lnTo>
                    <a:pt x="74" y="215"/>
                  </a:lnTo>
                  <a:lnTo>
                    <a:pt x="133" y="215"/>
                  </a:lnTo>
                  <a:lnTo>
                    <a:pt x="118" y="184"/>
                  </a:lnTo>
                  <a:lnTo>
                    <a:pt x="103" y="138"/>
                  </a:lnTo>
                  <a:lnTo>
                    <a:pt x="118" y="108"/>
                  </a:lnTo>
                  <a:lnTo>
                    <a:pt x="89" y="77"/>
                  </a:lnTo>
                  <a:lnTo>
                    <a:pt x="118" y="61"/>
                  </a:lnTo>
                  <a:lnTo>
                    <a:pt x="103" y="0"/>
                  </a:lnTo>
                  <a:lnTo>
                    <a:pt x="103" y="31"/>
                  </a:lnTo>
                  <a:lnTo>
                    <a:pt x="74" y="77"/>
                  </a:lnTo>
                  <a:lnTo>
                    <a:pt x="44" y="123"/>
                  </a:lnTo>
                  <a:lnTo>
                    <a:pt x="30" y="123"/>
                  </a:lnTo>
                  <a:lnTo>
                    <a:pt x="0" y="138"/>
                  </a:lnTo>
                  <a:lnTo>
                    <a:pt x="0" y="169"/>
                  </a:lnTo>
                  <a:lnTo>
                    <a:pt x="15" y="184"/>
                  </a:lnTo>
                  <a:lnTo>
                    <a:pt x="15" y="215"/>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58" name="Freeform 183"/>
            <p:cNvSpPr>
              <a:spLocks/>
            </p:cNvSpPr>
            <p:nvPr/>
          </p:nvSpPr>
          <p:spPr bwMode="auto">
            <a:xfrm>
              <a:off x="1269" y="1704"/>
              <a:ext cx="134" cy="157"/>
            </a:xfrm>
            <a:custGeom>
              <a:avLst/>
              <a:gdLst>
                <a:gd name="T0" fmla="*/ 9 w 314"/>
                <a:gd name="T1" fmla="*/ 0 h 416"/>
                <a:gd name="T2" fmla="*/ 7 w 314"/>
                <a:gd name="T3" fmla="*/ 1 h 416"/>
                <a:gd name="T4" fmla="*/ 7 w 314"/>
                <a:gd name="T5" fmla="*/ 0 h 416"/>
                <a:gd name="T6" fmla="*/ 2 w 314"/>
                <a:gd name="T7" fmla="*/ 1 h 416"/>
                <a:gd name="T8" fmla="*/ 2 w 314"/>
                <a:gd name="T9" fmla="*/ 1 h 416"/>
                <a:gd name="T10" fmla="*/ 1 w 314"/>
                <a:gd name="T11" fmla="*/ 1 h 416"/>
                <a:gd name="T12" fmla="*/ 1 w 314"/>
                <a:gd name="T13" fmla="*/ 2 h 416"/>
                <a:gd name="T14" fmla="*/ 1 w 314"/>
                <a:gd name="T15" fmla="*/ 3 h 416"/>
                <a:gd name="T16" fmla="*/ 0 w 314"/>
                <a:gd name="T17" fmla="*/ 3 h 416"/>
                <a:gd name="T18" fmla="*/ 0 w 314"/>
                <a:gd name="T19" fmla="*/ 3 h 416"/>
                <a:gd name="T20" fmla="*/ 0 w 314"/>
                <a:gd name="T21" fmla="*/ 4 h 416"/>
                <a:gd name="T22" fmla="*/ 0 w 314"/>
                <a:gd name="T23" fmla="*/ 5 h 416"/>
                <a:gd name="T24" fmla="*/ 1 w 314"/>
                <a:gd name="T25" fmla="*/ 5 h 416"/>
                <a:gd name="T26" fmla="*/ 1 w 314"/>
                <a:gd name="T27" fmla="*/ 5 h 416"/>
                <a:gd name="T28" fmla="*/ 1 w 314"/>
                <a:gd name="T29" fmla="*/ 6 h 416"/>
                <a:gd name="T30" fmla="*/ 3 w 314"/>
                <a:gd name="T31" fmla="*/ 6 h 416"/>
                <a:gd name="T32" fmla="*/ 3 w 314"/>
                <a:gd name="T33" fmla="*/ 7 h 416"/>
                <a:gd name="T34" fmla="*/ 4 w 314"/>
                <a:gd name="T35" fmla="*/ 8 h 416"/>
                <a:gd name="T36" fmla="*/ 5 w 314"/>
                <a:gd name="T37" fmla="*/ 8 h 416"/>
                <a:gd name="T38" fmla="*/ 6 w 314"/>
                <a:gd name="T39" fmla="*/ 8 h 416"/>
                <a:gd name="T40" fmla="*/ 6 w 314"/>
                <a:gd name="T41" fmla="*/ 8 h 416"/>
                <a:gd name="T42" fmla="*/ 6 w 314"/>
                <a:gd name="T43" fmla="*/ 8 h 416"/>
                <a:gd name="T44" fmla="*/ 6 w 314"/>
                <a:gd name="T45" fmla="*/ 8 h 416"/>
                <a:gd name="T46" fmla="*/ 7 w 314"/>
                <a:gd name="T47" fmla="*/ 8 h 416"/>
                <a:gd name="T48" fmla="*/ 9 w 314"/>
                <a:gd name="T49" fmla="*/ 8 h 416"/>
                <a:gd name="T50" fmla="*/ 8 w 314"/>
                <a:gd name="T51" fmla="*/ 6 h 416"/>
                <a:gd name="T52" fmla="*/ 7 w 314"/>
                <a:gd name="T53" fmla="*/ 6 h 416"/>
                <a:gd name="T54" fmla="*/ 8 w 314"/>
                <a:gd name="T55" fmla="*/ 6 h 416"/>
                <a:gd name="T56" fmla="*/ 8 w 314"/>
                <a:gd name="T57" fmla="*/ 5 h 416"/>
                <a:gd name="T58" fmla="*/ 8 w 314"/>
                <a:gd name="T59" fmla="*/ 5 h 416"/>
                <a:gd name="T60" fmla="*/ 9 w 314"/>
                <a:gd name="T61" fmla="*/ 4 h 416"/>
                <a:gd name="T62" fmla="*/ 9 w 314"/>
                <a:gd name="T63" fmla="*/ 3 h 416"/>
                <a:gd name="T64" fmla="*/ 9 w 314"/>
                <a:gd name="T65" fmla="*/ 2 h 416"/>
                <a:gd name="T66" fmla="*/ 10 w 314"/>
                <a:gd name="T67" fmla="*/ 2 h 416"/>
                <a:gd name="T68" fmla="*/ 9 w 314"/>
                <a:gd name="T69" fmla="*/ 2 h 416"/>
                <a:gd name="T70" fmla="*/ 9 w 314"/>
                <a:gd name="T71" fmla="*/ 1 h 416"/>
                <a:gd name="T72" fmla="*/ 9 w 314"/>
                <a:gd name="T73" fmla="*/ 0 h 41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14" h="416">
                  <a:moveTo>
                    <a:pt x="253" y="0"/>
                  </a:moveTo>
                  <a:lnTo>
                    <a:pt x="224" y="31"/>
                  </a:lnTo>
                  <a:lnTo>
                    <a:pt x="209" y="15"/>
                  </a:lnTo>
                  <a:lnTo>
                    <a:pt x="60" y="31"/>
                  </a:lnTo>
                  <a:lnTo>
                    <a:pt x="60" y="61"/>
                  </a:lnTo>
                  <a:lnTo>
                    <a:pt x="45" y="61"/>
                  </a:lnTo>
                  <a:lnTo>
                    <a:pt x="45" y="77"/>
                  </a:lnTo>
                  <a:lnTo>
                    <a:pt x="45" y="154"/>
                  </a:lnTo>
                  <a:lnTo>
                    <a:pt x="15" y="138"/>
                  </a:lnTo>
                  <a:lnTo>
                    <a:pt x="15" y="169"/>
                  </a:lnTo>
                  <a:lnTo>
                    <a:pt x="15" y="184"/>
                  </a:lnTo>
                  <a:lnTo>
                    <a:pt x="0" y="215"/>
                  </a:lnTo>
                  <a:lnTo>
                    <a:pt x="30" y="231"/>
                  </a:lnTo>
                  <a:lnTo>
                    <a:pt x="45" y="246"/>
                  </a:lnTo>
                  <a:lnTo>
                    <a:pt x="45" y="292"/>
                  </a:lnTo>
                  <a:lnTo>
                    <a:pt x="75" y="292"/>
                  </a:lnTo>
                  <a:lnTo>
                    <a:pt x="104" y="354"/>
                  </a:lnTo>
                  <a:lnTo>
                    <a:pt x="119" y="369"/>
                  </a:lnTo>
                  <a:lnTo>
                    <a:pt x="149" y="369"/>
                  </a:lnTo>
                  <a:lnTo>
                    <a:pt x="164" y="384"/>
                  </a:lnTo>
                  <a:lnTo>
                    <a:pt x="179" y="415"/>
                  </a:lnTo>
                  <a:lnTo>
                    <a:pt x="179" y="400"/>
                  </a:lnTo>
                  <a:lnTo>
                    <a:pt x="179" y="384"/>
                  </a:lnTo>
                  <a:lnTo>
                    <a:pt x="224" y="369"/>
                  </a:lnTo>
                  <a:lnTo>
                    <a:pt x="268" y="369"/>
                  </a:lnTo>
                  <a:lnTo>
                    <a:pt x="238" y="307"/>
                  </a:lnTo>
                  <a:lnTo>
                    <a:pt x="209" y="292"/>
                  </a:lnTo>
                  <a:lnTo>
                    <a:pt x="238" y="277"/>
                  </a:lnTo>
                  <a:lnTo>
                    <a:pt x="238" y="246"/>
                  </a:lnTo>
                  <a:lnTo>
                    <a:pt x="238" y="215"/>
                  </a:lnTo>
                  <a:lnTo>
                    <a:pt x="268" y="200"/>
                  </a:lnTo>
                  <a:lnTo>
                    <a:pt x="268" y="138"/>
                  </a:lnTo>
                  <a:lnTo>
                    <a:pt x="283" y="123"/>
                  </a:lnTo>
                  <a:lnTo>
                    <a:pt x="313" y="108"/>
                  </a:lnTo>
                  <a:lnTo>
                    <a:pt x="283" y="92"/>
                  </a:lnTo>
                  <a:lnTo>
                    <a:pt x="268" y="31"/>
                  </a:lnTo>
                  <a:lnTo>
                    <a:pt x="253"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59" name="Freeform 184"/>
            <p:cNvSpPr>
              <a:spLocks/>
            </p:cNvSpPr>
            <p:nvPr/>
          </p:nvSpPr>
          <p:spPr bwMode="auto">
            <a:xfrm>
              <a:off x="1435" y="1965"/>
              <a:ext cx="59" cy="99"/>
            </a:xfrm>
            <a:custGeom>
              <a:avLst/>
              <a:gdLst>
                <a:gd name="T0" fmla="*/ 4 w 135"/>
                <a:gd name="T1" fmla="*/ 0 h 263"/>
                <a:gd name="T2" fmla="*/ 3 w 135"/>
                <a:gd name="T3" fmla="*/ 0 h 263"/>
                <a:gd name="T4" fmla="*/ 3 w 135"/>
                <a:gd name="T5" fmla="*/ 1 h 263"/>
                <a:gd name="T6" fmla="*/ 3 w 135"/>
                <a:gd name="T7" fmla="*/ 1 h 263"/>
                <a:gd name="T8" fmla="*/ 1 w 135"/>
                <a:gd name="T9" fmla="*/ 2 h 263"/>
                <a:gd name="T10" fmla="*/ 0 w 135"/>
                <a:gd name="T11" fmla="*/ 2 h 263"/>
                <a:gd name="T12" fmla="*/ 0 w 135"/>
                <a:gd name="T13" fmla="*/ 3 h 263"/>
                <a:gd name="T14" fmla="*/ 0 w 135"/>
                <a:gd name="T15" fmla="*/ 4 h 263"/>
                <a:gd name="T16" fmla="*/ 0 w 135"/>
                <a:gd name="T17" fmla="*/ 4 h 263"/>
                <a:gd name="T18" fmla="*/ 0 w 135"/>
                <a:gd name="T19" fmla="*/ 5 h 263"/>
                <a:gd name="T20" fmla="*/ 0 w 135"/>
                <a:gd name="T21" fmla="*/ 5 h 263"/>
                <a:gd name="T22" fmla="*/ 2 w 135"/>
                <a:gd name="T23" fmla="*/ 5 h 263"/>
                <a:gd name="T24" fmla="*/ 3 w 135"/>
                <a:gd name="T25" fmla="*/ 3 h 263"/>
                <a:gd name="T26" fmla="*/ 4 w 135"/>
                <a:gd name="T27" fmla="*/ 2 h 263"/>
                <a:gd name="T28" fmla="*/ 5 w 135"/>
                <a:gd name="T29" fmla="*/ 1 h 263"/>
                <a:gd name="T30" fmla="*/ 4 w 135"/>
                <a:gd name="T31" fmla="*/ 0 h 2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5" h="263">
                  <a:moveTo>
                    <a:pt x="104" y="0"/>
                  </a:moveTo>
                  <a:lnTo>
                    <a:pt x="89" y="15"/>
                  </a:lnTo>
                  <a:lnTo>
                    <a:pt x="89" y="31"/>
                  </a:lnTo>
                  <a:lnTo>
                    <a:pt x="74" y="62"/>
                  </a:lnTo>
                  <a:lnTo>
                    <a:pt x="30" y="77"/>
                  </a:lnTo>
                  <a:lnTo>
                    <a:pt x="15" y="108"/>
                  </a:lnTo>
                  <a:lnTo>
                    <a:pt x="15" y="170"/>
                  </a:lnTo>
                  <a:lnTo>
                    <a:pt x="15" y="185"/>
                  </a:lnTo>
                  <a:lnTo>
                    <a:pt x="0" y="185"/>
                  </a:lnTo>
                  <a:lnTo>
                    <a:pt x="0" y="247"/>
                  </a:lnTo>
                  <a:lnTo>
                    <a:pt x="15" y="262"/>
                  </a:lnTo>
                  <a:lnTo>
                    <a:pt x="60" y="262"/>
                  </a:lnTo>
                  <a:lnTo>
                    <a:pt x="89" y="170"/>
                  </a:lnTo>
                  <a:lnTo>
                    <a:pt x="119" y="77"/>
                  </a:lnTo>
                  <a:lnTo>
                    <a:pt x="134" y="62"/>
                  </a:lnTo>
                  <a:lnTo>
                    <a:pt x="104"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60" name="Freeform 185"/>
            <p:cNvSpPr>
              <a:spLocks/>
            </p:cNvSpPr>
            <p:nvPr/>
          </p:nvSpPr>
          <p:spPr bwMode="auto">
            <a:xfrm>
              <a:off x="1192" y="1994"/>
              <a:ext cx="103" cy="94"/>
            </a:xfrm>
            <a:custGeom>
              <a:avLst/>
              <a:gdLst>
                <a:gd name="T0" fmla="*/ 0 w 239"/>
                <a:gd name="T1" fmla="*/ 0 h 247"/>
                <a:gd name="T2" fmla="*/ 0 w 239"/>
                <a:gd name="T3" fmla="*/ 1 h 247"/>
                <a:gd name="T4" fmla="*/ 1 w 239"/>
                <a:gd name="T5" fmla="*/ 1 h 247"/>
                <a:gd name="T6" fmla="*/ 1 w 239"/>
                <a:gd name="T7" fmla="*/ 3 h 247"/>
                <a:gd name="T8" fmla="*/ 2 w 239"/>
                <a:gd name="T9" fmla="*/ 4 h 247"/>
                <a:gd name="T10" fmla="*/ 3 w 239"/>
                <a:gd name="T11" fmla="*/ 5 h 247"/>
                <a:gd name="T12" fmla="*/ 3 w 239"/>
                <a:gd name="T13" fmla="*/ 5 h 247"/>
                <a:gd name="T14" fmla="*/ 3 w 239"/>
                <a:gd name="T15" fmla="*/ 5 h 247"/>
                <a:gd name="T16" fmla="*/ 5 w 239"/>
                <a:gd name="T17" fmla="*/ 5 h 247"/>
                <a:gd name="T18" fmla="*/ 5 w 239"/>
                <a:gd name="T19" fmla="*/ 3 h 247"/>
                <a:gd name="T20" fmla="*/ 5 w 239"/>
                <a:gd name="T21" fmla="*/ 2 h 247"/>
                <a:gd name="T22" fmla="*/ 6 w 239"/>
                <a:gd name="T23" fmla="*/ 2 h 247"/>
                <a:gd name="T24" fmla="*/ 6 w 239"/>
                <a:gd name="T25" fmla="*/ 1 h 247"/>
                <a:gd name="T26" fmla="*/ 7 w 239"/>
                <a:gd name="T27" fmla="*/ 1 h 247"/>
                <a:gd name="T28" fmla="*/ 8 w 239"/>
                <a:gd name="T29" fmla="*/ 1 h 247"/>
                <a:gd name="T30" fmla="*/ 8 w 239"/>
                <a:gd name="T31" fmla="*/ 0 h 247"/>
                <a:gd name="T32" fmla="*/ 7 w 239"/>
                <a:gd name="T33" fmla="*/ 0 h 247"/>
                <a:gd name="T34" fmla="*/ 6 w 239"/>
                <a:gd name="T35" fmla="*/ 1 h 247"/>
                <a:gd name="T36" fmla="*/ 4 w 239"/>
                <a:gd name="T37" fmla="*/ 0 h 247"/>
                <a:gd name="T38" fmla="*/ 1 w 239"/>
                <a:gd name="T39" fmla="*/ 0 h 247"/>
                <a:gd name="T40" fmla="*/ 1 w 239"/>
                <a:gd name="T41" fmla="*/ 0 h 247"/>
                <a:gd name="T42" fmla="*/ 0 w 239"/>
                <a:gd name="T43" fmla="*/ 0 h 2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39" h="247">
                  <a:moveTo>
                    <a:pt x="15" y="0"/>
                  </a:moveTo>
                  <a:lnTo>
                    <a:pt x="0" y="31"/>
                  </a:lnTo>
                  <a:lnTo>
                    <a:pt x="30" y="46"/>
                  </a:lnTo>
                  <a:lnTo>
                    <a:pt x="45" y="123"/>
                  </a:lnTo>
                  <a:lnTo>
                    <a:pt x="60" y="185"/>
                  </a:lnTo>
                  <a:lnTo>
                    <a:pt x="89" y="246"/>
                  </a:lnTo>
                  <a:lnTo>
                    <a:pt x="104" y="231"/>
                  </a:lnTo>
                  <a:lnTo>
                    <a:pt x="104" y="246"/>
                  </a:lnTo>
                  <a:lnTo>
                    <a:pt x="149" y="231"/>
                  </a:lnTo>
                  <a:lnTo>
                    <a:pt x="149" y="169"/>
                  </a:lnTo>
                  <a:lnTo>
                    <a:pt x="149" y="108"/>
                  </a:lnTo>
                  <a:lnTo>
                    <a:pt x="164" y="108"/>
                  </a:lnTo>
                  <a:lnTo>
                    <a:pt x="164" y="46"/>
                  </a:lnTo>
                  <a:lnTo>
                    <a:pt x="193" y="31"/>
                  </a:lnTo>
                  <a:lnTo>
                    <a:pt x="238" y="31"/>
                  </a:lnTo>
                  <a:lnTo>
                    <a:pt x="238" y="15"/>
                  </a:lnTo>
                  <a:lnTo>
                    <a:pt x="208" y="15"/>
                  </a:lnTo>
                  <a:lnTo>
                    <a:pt x="179" y="31"/>
                  </a:lnTo>
                  <a:lnTo>
                    <a:pt x="119" y="15"/>
                  </a:lnTo>
                  <a:lnTo>
                    <a:pt x="45" y="15"/>
                  </a:lnTo>
                  <a:lnTo>
                    <a:pt x="30" y="0"/>
                  </a:lnTo>
                  <a:lnTo>
                    <a:pt x="15"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61" name="Freeform 186"/>
            <p:cNvSpPr>
              <a:spLocks/>
            </p:cNvSpPr>
            <p:nvPr/>
          </p:nvSpPr>
          <p:spPr bwMode="auto">
            <a:xfrm>
              <a:off x="1230" y="2041"/>
              <a:ext cx="122" cy="93"/>
            </a:xfrm>
            <a:custGeom>
              <a:avLst/>
              <a:gdLst>
                <a:gd name="T0" fmla="*/ 0 w 284"/>
                <a:gd name="T1" fmla="*/ 3 h 246"/>
                <a:gd name="T2" fmla="*/ 0 w 284"/>
                <a:gd name="T3" fmla="*/ 3 h 246"/>
                <a:gd name="T4" fmla="*/ 0 w 284"/>
                <a:gd name="T5" fmla="*/ 4 h 246"/>
                <a:gd name="T6" fmla="*/ 0 w 284"/>
                <a:gd name="T7" fmla="*/ 5 h 246"/>
                <a:gd name="T8" fmla="*/ 1 w 284"/>
                <a:gd name="T9" fmla="*/ 5 h 246"/>
                <a:gd name="T10" fmla="*/ 3 w 284"/>
                <a:gd name="T11" fmla="*/ 5 h 246"/>
                <a:gd name="T12" fmla="*/ 3 w 284"/>
                <a:gd name="T13" fmla="*/ 5 h 246"/>
                <a:gd name="T14" fmla="*/ 4 w 284"/>
                <a:gd name="T15" fmla="*/ 5 h 246"/>
                <a:gd name="T16" fmla="*/ 5 w 284"/>
                <a:gd name="T17" fmla="*/ 5 h 246"/>
                <a:gd name="T18" fmla="*/ 5 w 284"/>
                <a:gd name="T19" fmla="*/ 5 h 246"/>
                <a:gd name="T20" fmla="*/ 6 w 284"/>
                <a:gd name="T21" fmla="*/ 5 h 246"/>
                <a:gd name="T22" fmla="*/ 8 w 284"/>
                <a:gd name="T23" fmla="*/ 4 h 246"/>
                <a:gd name="T24" fmla="*/ 9 w 284"/>
                <a:gd name="T25" fmla="*/ 3 h 246"/>
                <a:gd name="T26" fmla="*/ 9 w 284"/>
                <a:gd name="T27" fmla="*/ 3 h 246"/>
                <a:gd name="T28" fmla="*/ 9 w 284"/>
                <a:gd name="T29" fmla="*/ 2 h 246"/>
                <a:gd name="T30" fmla="*/ 9 w 284"/>
                <a:gd name="T31" fmla="*/ 2 h 246"/>
                <a:gd name="T32" fmla="*/ 9 w 284"/>
                <a:gd name="T33" fmla="*/ 2 h 246"/>
                <a:gd name="T34" fmla="*/ 8 w 284"/>
                <a:gd name="T35" fmla="*/ 2 h 246"/>
                <a:gd name="T36" fmla="*/ 9 w 284"/>
                <a:gd name="T37" fmla="*/ 1 h 246"/>
                <a:gd name="T38" fmla="*/ 9 w 284"/>
                <a:gd name="T39" fmla="*/ 1 h 246"/>
                <a:gd name="T40" fmla="*/ 9 w 284"/>
                <a:gd name="T41" fmla="*/ 0 h 246"/>
                <a:gd name="T42" fmla="*/ 9 w 284"/>
                <a:gd name="T43" fmla="*/ 0 h 246"/>
                <a:gd name="T44" fmla="*/ 8 w 284"/>
                <a:gd name="T45" fmla="*/ 0 h 246"/>
                <a:gd name="T46" fmla="*/ 8 w 284"/>
                <a:gd name="T47" fmla="*/ 0 h 246"/>
                <a:gd name="T48" fmla="*/ 6 w 284"/>
                <a:gd name="T49" fmla="*/ 0 h 246"/>
                <a:gd name="T50" fmla="*/ 6 w 284"/>
                <a:gd name="T51" fmla="*/ 1 h 246"/>
                <a:gd name="T52" fmla="*/ 5 w 284"/>
                <a:gd name="T53" fmla="*/ 1 h 246"/>
                <a:gd name="T54" fmla="*/ 3 w 284"/>
                <a:gd name="T55" fmla="*/ 1 h 246"/>
                <a:gd name="T56" fmla="*/ 3 w 284"/>
                <a:gd name="T57" fmla="*/ 2 h 246"/>
                <a:gd name="T58" fmla="*/ 3 w 284"/>
                <a:gd name="T59" fmla="*/ 1 h 246"/>
                <a:gd name="T60" fmla="*/ 2 w 284"/>
                <a:gd name="T61" fmla="*/ 1 h 246"/>
                <a:gd name="T62" fmla="*/ 2 w 284"/>
                <a:gd name="T63" fmla="*/ 2 h 246"/>
                <a:gd name="T64" fmla="*/ 0 w 284"/>
                <a:gd name="T65" fmla="*/ 3 h 246"/>
                <a:gd name="T66" fmla="*/ 0 w 284"/>
                <a:gd name="T67" fmla="*/ 2 h 246"/>
                <a:gd name="T68" fmla="*/ 0 w 284"/>
                <a:gd name="T69" fmla="*/ 3 h 2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84" h="246">
                  <a:moveTo>
                    <a:pt x="0" y="123"/>
                  </a:moveTo>
                  <a:lnTo>
                    <a:pt x="0" y="153"/>
                  </a:lnTo>
                  <a:lnTo>
                    <a:pt x="15" y="199"/>
                  </a:lnTo>
                  <a:lnTo>
                    <a:pt x="15" y="230"/>
                  </a:lnTo>
                  <a:lnTo>
                    <a:pt x="30" y="245"/>
                  </a:lnTo>
                  <a:lnTo>
                    <a:pt x="89" y="230"/>
                  </a:lnTo>
                  <a:lnTo>
                    <a:pt x="104" y="245"/>
                  </a:lnTo>
                  <a:lnTo>
                    <a:pt x="119" y="230"/>
                  </a:lnTo>
                  <a:lnTo>
                    <a:pt x="134" y="230"/>
                  </a:lnTo>
                  <a:lnTo>
                    <a:pt x="149" y="230"/>
                  </a:lnTo>
                  <a:lnTo>
                    <a:pt x="164" y="230"/>
                  </a:lnTo>
                  <a:lnTo>
                    <a:pt x="223" y="184"/>
                  </a:lnTo>
                  <a:lnTo>
                    <a:pt x="253" y="138"/>
                  </a:lnTo>
                  <a:lnTo>
                    <a:pt x="268" y="123"/>
                  </a:lnTo>
                  <a:lnTo>
                    <a:pt x="283" y="92"/>
                  </a:lnTo>
                  <a:lnTo>
                    <a:pt x="268" y="92"/>
                  </a:lnTo>
                  <a:lnTo>
                    <a:pt x="253" y="92"/>
                  </a:lnTo>
                  <a:lnTo>
                    <a:pt x="238" y="77"/>
                  </a:lnTo>
                  <a:lnTo>
                    <a:pt x="253" y="61"/>
                  </a:lnTo>
                  <a:lnTo>
                    <a:pt x="268" y="61"/>
                  </a:lnTo>
                  <a:lnTo>
                    <a:pt x="268" y="15"/>
                  </a:lnTo>
                  <a:lnTo>
                    <a:pt x="268" y="0"/>
                  </a:lnTo>
                  <a:lnTo>
                    <a:pt x="238" y="0"/>
                  </a:lnTo>
                  <a:lnTo>
                    <a:pt x="223" y="0"/>
                  </a:lnTo>
                  <a:lnTo>
                    <a:pt x="179" y="15"/>
                  </a:lnTo>
                  <a:lnTo>
                    <a:pt x="179" y="46"/>
                  </a:lnTo>
                  <a:lnTo>
                    <a:pt x="149" y="61"/>
                  </a:lnTo>
                  <a:lnTo>
                    <a:pt x="104" y="46"/>
                  </a:lnTo>
                  <a:lnTo>
                    <a:pt x="74" y="77"/>
                  </a:lnTo>
                  <a:lnTo>
                    <a:pt x="74" y="61"/>
                  </a:lnTo>
                  <a:lnTo>
                    <a:pt x="60" y="46"/>
                  </a:lnTo>
                  <a:lnTo>
                    <a:pt x="60" y="107"/>
                  </a:lnTo>
                  <a:lnTo>
                    <a:pt x="15" y="123"/>
                  </a:lnTo>
                  <a:lnTo>
                    <a:pt x="15" y="107"/>
                  </a:lnTo>
                  <a:lnTo>
                    <a:pt x="0" y="123"/>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62" name="Freeform 187"/>
            <p:cNvSpPr>
              <a:spLocks/>
            </p:cNvSpPr>
            <p:nvPr/>
          </p:nvSpPr>
          <p:spPr bwMode="auto">
            <a:xfrm>
              <a:off x="1307" y="2088"/>
              <a:ext cx="20" cy="12"/>
            </a:xfrm>
            <a:custGeom>
              <a:avLst/>
              <a:gdLst>
                <a:gd name="T0" fmla="*/ 1 w 46"/>
                <a:gd name="T1" fmla="*/ 0 h 31"/>
                <a:gd name="T2" fmla="*/ 0 w 46"/>
                <a:gd name="T3" fmla="*/ 0 h 31"/>
                <a:gd name="T4" fmla="*/ 0 w 46"/>
                <a:gd name="T5" fmla="*/ 0 h 31"/>
                <a:gd name="T6" fmla="*/ 0 w 46"/>
                <a:gd name="T7" fmla="*/ 1 h 31"/>
                <a:gd name="T8" fmla="*/ 0 w 46"/>
                <a:gd name="T9" fmla="*/ 1 h 31"/>
                <a:gd name="T10" fmla="*/ 1 w 46"/>
                <a:gd name="T11" fmla="*/ 1 h 31"/>
                <a:gd name="T12" fmla="*/ 2 w 46"/>
                <a:gd name="T13" fmla="*/ 0 h 31"/>
                <a:gd name="T14" fmla="*/ 1 w 46"/>
                <a:gd name="T15" fmla="*/ 0 h 3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31">
                  <a:moveTo>
                    <a:pt x="30" y="0"/>
                  </a:moveTo>
                  <a:lnTo>
                    <a:pt x="15" y="0"/>
                  </a:lnTo>
                  <a:lnTo>
                    <a:pt x="0" y="15"/>
                  </a:lnTo>
                  <a:lnTo>
                    <a:pt x="0" y="30"/>
                  </a:lnTo>
                  <a:lnTo>
                    <a:pt x="15" y="30"/>
                  </a:lnTo>
                  <a:lnTo>
                    <a:pt x="30" y="30"/>
                  </a:lnTo>
                  <a:lnTo>
                    <a:pt x="45" y="15"/>
                  </a:lnTo>
                  <a:lnTo>
                    <a:pt x="30"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63" name="Freeform 188"/>
            <p:cNvSpPr>
              <a:spLocks/>
            </p:cNvSpPr>
            <p:nvPr/>
          </p:nvSpPr>
          <p:spPr bwMode="auto">
            <a:xfrm>
              <a:off x="1332" y="2064"/>
              <a:ext cx="14" cy="12"/>
            </a:xfrm>
            <a:custGeom>
              <a:avLst/>
              <a:gdLst>
                <a:gd name="T0" fmla="*/ 1 w 32"/>
                <a:gd name="T1" fmla="*/ 1 h 32"/>
                <a:gd name="T2" fmla="*/ 1 w 32"/>
                <a:gd name="T3" fmla="*/ 0 h 32"/>
                <a:gd name="T4" fmla="*/ 0 w 32"/>
                <a:gd name="T5" fmla="*/ 0 h 32"/>
                <a:gd name="T6" fmla="*/ 0 w 32"/>
                <a:gd name="T7" fmla="*/ 0 h 32"/>
                <a:gd name="T8" fmla="*/ 0 w 32"/>
                <a:gd name="T9" fmla="*/ 1 h 32"/>
                <a:gd name="T10" fmla="*/ 1 w 32"/>
                <a:gd name="T11" fmla="*/ 1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32">
                  <a:moveTo>
                    <a:pt x="31" y="31"/>
                  </a:moveTo>
                  <a:lnTo>
                    <a:pt x="31" y="0"/>
                  </a:lnTo>
                  <a:lnTo>
                    <a:pt x="16" y="0"/>
                  </a:lnTo>
                  <a:lnTo>
                    <a:pt x="0" y="16"/>
                  </a:lnTo>
                  <a:lnTo>
                    <a:pt x="16" y="31"/>
                  </a:lnTo>
                  <a:lnTo>
                    <a:pt x="31" y="31"/>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64" name="Freeform 189"/>
            <p:cNvSpPr>
              <a:spLocks/>
            </p:cNvSpPr>
            <p:nvPr/>
          </p:nvSpPr>
          <p:spPr bwMode="auto">
            <a:xfrm>
              <a:off x="1256" y="2006"/>
              <a:ext cx="71" cy="65"/>
            </a:xfrm>
            <a:custGeom>
              <a:avLst/>
              <a:gdLst>
                <a:gd name="T0" fmla="*/ 6 w 165"/>
                <a:gd name="T1" fmla="*/ 2 h 170"/>
                <a:gd name="T2" fmla="*/ 5 w 165"/>
                <a:gd name="T3" fmla="*/ 1 h 170"/>
                <a:gd name="T4" fmla="*/ 5 w 165"/>
                <a:gd name="T5" fmla="*/ 1 h 170"/>
                <a:gd name="T6" fmla="*/ 4 w 165"/>
                <a:gd name="T7" fmla="*/ 1 h 170"/>
                <a:gd name="T8" fmla="*/ 4 w 165"/>
                <a:gd name="T9" fmla="*/ 1 h 170"/>
                <a:gd name="T10" fmla="*/ 3 w 165"/>
                <a:gd name="T11" fmla="*/ 0 h 170"/>
                <a:gd name="T12" fmla="*/ 1 w 165"/>
                <a:gd name="T13" fmla="*/ 0 h 170"/>
                <a:gd name="T14" fmla="*/ 0 w 165"/>
                <a:gd name="T15" fmla="*/ 0 h 170"/>
                <a:gd name="T16" fmla="*/ 0 w 165"/>
                <a:gd name="T17" fmla="*/ 2 h 170"/>
                <a:gd name="T18" fmla="*/ 0 w 165"/>
                <a:gd name="T19" fmla="*/ 2 h 170"/>
                <a:gd name="T20" fmla="*/ 0 w 165"/>
                <a:gd name="T21" fmla="*/ 3 h 170"/>
                <a:gd name="T22" fmla="*/ 0 w 165"/>
                <a:gd name="T23" fmla="*/ 3 h 170"/>
                <a:gd name="T24" fmla="*/ 0 w 165"/>
                <a:gd name="T25" fmla="*/ 4 h 170"/>
                <a:gd name="T26" fmla="*/ 1 w 165"/>
                <a:gd name="T27" fmla="*/ 3 h 170"/>
                <a:gd name="T28" fmla="*/ 3 w 165"/>
                <a:gd name="T29" fmla="*/ 3 h 170"/>
                <a:gd name="T30" fmla="*/ 4 w 165"/>
                <a:gd name="T31" fmla="*/ 3 h 170"/>
                <a:gd name="T32" fmla="*/ 4 w 165"/>
                <a:gd name="T33" fmla="*/ 2 h 170"/>
                <a:gd name="T34" fmla="*/ 6 w 165"/>
                <a:gd name="T35" fmla="*/ 2 h 1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5" h="170">
                  <a:moveTo>
                    <a:pt x="164" y="92"/>
                  </a:moveTo>
                  <a:lnTo>
                    <a:pt x="134" y="61"/>
                  </a:lnTo>
                  <a:lnTo>
                    <a:pt x="134" y="46"/>
                  </a:lnTo>
                  <a:lnTo>
                    <a:pt x="119" y="46"/>
                  </a:lnTo>
                  <a:lnTo>
                    <a:pt x="119" y="31"/>
                  </a:lnTo>
                  <a:lnTo>
                    <a:pt x="89" y="0"/>
                  </a:lnTo>
                  <a:lnTo>
                    <a:pt x="45" y="0"/>
                  </a:lnTo>
                  <a:lnTo>
                    <a:pt x="15" y="15"/>
                  </a:lnTo>
                  <a:lnTo>
                    <a:pt x="15" y="77"/>
                  </a:lnTo>
                  <a:lnTo>
                    <a:pt x="0" y="77"/>
                  </a:lnTo>
                  <a:lnTo>
                    <a:pt x="0" y="138"/>
                  </a:lnTo>
                  <a:lnTo>
                    <a:pt x="15" y="154"/>
                  </a:lnTo>
                  <a:lnTo>
                    <a:pt x="15" y="169"/>
                  </a:lnTo>
                  <a:lnTo>
                    <a:pt x="45" y="138"/>
                  </a:lnTo>
                  <a:lnTo>
                    <a:pt x="89" y="154"/>
                  </a:lnTo>
                  <a:lnTo>
                    <a:pt x="119" y="138"/>
                  </a:lnTo>
                  <a:lnTo>
                    <a:pt x="119" y="108"/>
                  </a:lnTo>
                  <a:lnTo>
                    <a:pt x="164" y="92"/>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65" name="Freeform 190"/>
            <p:cNvSpPr>
              <a:spLocks/>
            </p:cNvSpPr>
            <p:nvPr/>
          </p:nvSpPr>
          <p:spPr bwMode="auto">
            <a:xfrm>
              <a:off x="1338" y="1953"/>
              <a:ext cx="72" cy="123"/>
            </a:xfrm>
            <a:custGeom>
              <a:avLst/>
              <a:gdLst>
                <a:gd name="T0" fmla="*/ 6 w 166"/>
                <a:gd name="T1" fmla="*/ 0 h 324"/>
                <a:gd name="T2" fmla="*/ 4 w 166"/>
                <a:gd name="T3" fmla="*/ 0 h 324"/>
                <a:gd name="T4" fmla="*/ 3 w 166"/>
                <a:gd name="T5" fmla="*/ 0 h 324"/>
                <a:gd name="T6" fmla="*/ 3 w 166"/>
                <a:gd name="T7" fmla="*/ 1 h 324"/>
                <a:gd name="T8" fmla="*/ 3 w 166"/>
                <a:gd name="T9" fmla="*/ 1 h 324"/>
                <a:gd name="T10" fmla="*/ 3 w 166"/>
                <a:gd name="T11" fmla="*/ 1 h 324"/>
                <a:gd name="T12" fmla="*/ 3 w 166"/>
                <a:gd name="T13" fmla="*/ 1 h 324"/>
                <a:gd name="T14" fmla="*/ 3 w 166"/>
                <a:gd name="T15" fmla="*/ 2 h 324"/>
                <a:gd name="T16" fmla="*/ 3 w 166"/>
                <a:gd name="T17" fmla="*/ 3 h 324"/>
                <a:gd name="T18" fmla="*/ 3 w 166"/>
                <a:gd name="T19" fmla="*/ 3 h 324"/>
                <a:gd name="T20" fmla="*/ 2 w 166"/>
                <a:gd name="T21" fmla="*/ 2 h 324"/>
                <a:gd name="T22" fmla="*/ 2 w 166"/>
                <a:gd name="T23" fmla="*/ 2 h 324"/>
                <a:gd name="T24" fmla="*/ 2 w 166"/>
                <a:gd name="T25" fmla="*/ 1 h 324"/>
                <a:gd name="T26" fmla="*/ 0 w 166"/>
                <a:gd name="T27" fmla="*/ 2 h 324"/>
                <a:gd name="T28" fmla="*/ 1 w 166"/>
                <a:gd name="T29" fmla="*/ 3 h 324"/>
                <a:gd name="T30" fmla="*/ 1 w 166"/>
                <a:gd name="T31" fmla="*/ 4 h 324"/>
                <a:gd name="T32" fmla="*/ 1 w 166"/>
                <a:gd name="T33" fmla="*/ 4 h 324"/>
                <a:gd name="T34" fmla="*/ 0 w 166"/>
                <a:gd name="T35" fmla="*/ 5 h 324"/>
                <a:gd name="T36" fmla="*/ 0 w 166"/>
                <a:gd name="T37" fmla="*/ 5 h 324"/>
                <a:gd name="T38" fmla="*/ 0 w 166"/>
                <a:gd name="T39" fmla="*/ 6 h 324"/>
                <a:gd name="T40" fmla="*/ 0 w 166"/>
                <a:gd name="T41" fmla="*/ 7 h 324"/>
                <a:gd name="T42" fmla="*/ 1 w 166"/>
                <a:gd name="T43" fmla="*/ 7 h 324"/>
                <a:gd name="T44" fmla="*/ 1 w 166"/>
                <a:gd name="T45" fmla="*/ 6 h 324"/>
                <a:gd name="T46" fmla="*/ 3 w 166"/>
                <a:gd name="T47" fmla="*/ 6 h 324"/>
                <a:gd name="T48" fmla="*/ 3 w 166"/>
                <a:gd name="T49" fmla="*/ 5 h 324"/>
                <a:gd name="T50" fmla="*/ 3 w 166"/>
                <a:gd name="T51" fmla="*/ 5 h 324"/>
                <a:gd name="T52" fmla="*/ 2 w 166"/>
                <a:gd name="T53" fmla="*/ 4 h 324"/>
                <a:gd name="T54" fmla="*/ 5 w 166"/>
                <a:gd name="T55" fmla="*/ 3 h 324"/>
                <a:gd name="T56" fmla="*/ 5 w 166"/>
                <a:gd name="T57" fmla="*/ 3 h 324"/>
                <a:gd name="T58" fmla="*/ 6 w 166"/>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66" h="324">
                  <a:moveTo>
                    <a:pt x="165" y="0"/>
                  </a:moveTo>
                  <a:lnTo>
                    <a:pt x="105" y="15"/>
                  </a:lnTo>
                  <a:lnTo>
                    <a:pt x="75" y="15"/>
                  </a:lnTo>
                  <a:lnTo>
                    <a:pt x="75" y="31"/>
                  </a:lnTo>
                  <a:lnTo>
                    <a:pt x="75" y="46"/>
                  </a:lnTo>
                  <a:lnTo>
                    <a:pt x="75" y="62"/>
                  </a:lnTo>
                  <a:lnTo>
                    <a:pt x="90" y="62"/>
                  </a:lnTo>
                  <a:lnTo>
                    <a:pt x="90" y="108"/>
                  </a:lnTo>
                  <a:lnTo>
                    <a:pt x="75" y="123"/>
                  </a:lnTo>
                  <a:lnTo>
                    <a:pt x="75" y="138"/>
                  </a:lnTo>
                  <a:lnTo>
                    <a:pt x="60" y="108"/>
                  </a:lnTo>
                  <a:lnTo>
                    <a:pt x="60" y="77"/>
                  </a:lnTo>
                  <a:lnTo>
                    <a:pt x="45" y="62"/>
                  </a:lnTo>
                  <a:lnTo>
                    <a:pt x="0" y="92"/>
                  </a:lnTo>
                  <a:lnTo>
                    <a:pt x="30" y="123"/>
                  </a:lnTo>
                  <a:lnTo>
                    <a:pt x="30" y="185"/>
                  </a:lnTo>
                  <a:lnTo>
                    <a:pt x="30" y="200"/>
                  </a:lnTo>
                  <a:lnTo>
                    <a:pt x="15" y="231"/>
                  </a:lnTo>
                  <a:lnTo>
                    <a:pt x="15" y="246"/>
                  </a:lnTo>
                  <a:lnTo>
                    <a:pt x="15" y="292"/>
                  </a:lnTo>
                  <a:lnTo>
                    <a:pt x="15" y="323"/>
                  </a:lnTo>
                  <a:lnTo>
                    <a:pt x="30" y="323"/>
                  </a:lnTo>
                  <a:lnTo>
                    <a:pt x="30" y="292"/>
                  </a:lnTo>
                  <a:lnTo>
                    <a:pt x="75" y="277"/>
                  </a:lnTo>
                  <a:lnTo>
                    <a:pt x="75" y="261"/>
                  </a:lnTo>
                  <a:lnTo>
                    <a:pt x="75" y="231"/>
                  </a:lnTo>
                  <a:lnTo>
                    <a:pt x="60" y="185"/>
                  </a:lnTo>
                  <a:lnTo>
                    <a:pt x="135" y="123"/>
                  </a:lnTo>
                  <a:lnTo>
                    <a:pt x="150" y="123"/>
                  </a:lnTo>
                  <a:lnTo>
                    <a:pt x="165"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66" name="Freeform 191"/>
            <p:cNvSpPr>
              <a:spLocks/>
            </p:cNvSpPr>
            <p:nvPr/>
          </p:nvSpPr>
          <p:spPr bwMode="auto">
            <a:xfrm>
              <a:off x="1294" y="1982"/>
              <a:ext cx="58" cy="60"/>
            </a:xfrm>
            <a:custGeom>
              <a:avLst/>
              <a:gdLst>
                <a:gd name="T0" fmla="*/ 3 w 134"/>
                <a:gd name="T1" fmla="*/ 0 h 155"/>
                <a:gd name="T2" fmla="*/ 3 w 134"/>
                <a:gd name="T3" fmla="*/ 0 h 155"/>
                <a:gd name="T4" fmla="*/ 3 w 134"/>
                <a:gd name="T5" fmla="*/ 1 h 155"/>
                <a:gd name="T6" fmla="*/ 2 w 134"/>
                <a:gd name="T7" fmla="*/ 1 h 155"/>
                <a:gd name="T8" fmla="*/ 1 w 134"/>
                <a:gd name="T9" fmla="*/ 1 h 155"/>
                <a:gd name="T10" fmla="*/ 0 w 134"/>
                <a:gd name="T11" fmla="*/ 1 h 155"/>
                <a:gd name="T12" fmla="*/ 1 w 134"/>
                <a:gd name="T13" fmla="*/ 2 h 155"/>
                <a:gd name="T14" fmla="*/ 1 w 134"/>
                <a:gd name="T15" fmla="*/ 2 h 155"/>
                <a:gd name="T16" fmla="*/ 1 w 134"/>
                <a:gd name="T17" fmla="*/ 2 h 155"/>
                <a:gd name="T18" fmla="*/ 1 w 134"/>
                <a:gd name="T19" fmla="*/ 3 h 155"/>
                <a:gd name="T20" fmla="*/ 3 w 134"/>
                <a:gd name="T21" fmla="*/ 3 h 155"/>
                <a:gd name="T22" fmla="*/ 3 w 134"/>
                <a:gd name="T23" fmla="*/ 3 h 155"/>
                <a:gd name="T24" fmla="*/ 4 w 134"/>
                <a:gd name="T25" fmla="*/ 3 h 155"/>
                <a:gd name="T26" fmla="*/ 5 w 134"/>
                <a:gd name="T27" fmla="*/ 3 h 155"/>
                <a:gd name="T28" fmla="*/ 5 w 134"/>
                <a:gd name="T29" fmla="*/ 2 h 155"/>
                <a:gd name="T30" fmla="*/ 5 w 134"/>
                <a:gd name="T31" fmla="*/ 1 h 155"/>
                <a:gd name="T32" fmla="*/ 3 w 134"/>
                <a:gd name="T33" fmla="*/ 0 h 1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4" h="155">
                  <a:moveTo>
                    <a:pt x="103" y="15"/>
                  </a:moveTo>
                  <a:lnTo>
                    <a:pt x="74" y="0"/>
                  </a:lnTo>
                  <a:lnTo>
                    <a:pt x="74" y="31"/>
                  </a:lnTo>
                  <a:lnTo>
                    <a:pt x="59" y="31"/>
                  </a:lnTo>
                  <a:lnTo>
                    <a:pt x="30" y="62"/>
                  </a:lnTo>
                  <a:lnTo>
                    <a:pt x="0" y="62"/>
                  </a:lnTo>
                  <a:lnTo>
                    <a:pt x="30" y="92"/>
                  </a:lnTo>
                  <a:lnTo>
                    <a:pt x="30" y="108"/>
                  </a:lnTo>
                  <a:lnTo>
                    <a:pt x="44" y="108"/>
                  </a:lnTo>
                  <a:lnTo>
                    <a:pt x="44" y="123"/>
                  </a:lnTo>
                  <a:lnTo>
                    <a:pt x="74" y="154"/>
                  </a:lnTo>
                  <a:lnTo>
                    <a:pt x="89" y="154"/>
                  </a:lnTo>
                  <a:lnTo>
                    <a:pt x="118" y="154"/>
                  </a:lnTo>
                  <a:lnTo>
                    <a:pt x="133" y="123"/>
                  </a:lnTo>
                  <a:lnTo>
                    <a:pt x="133" y="108"/>
                  </a:lnTo>
                  <a:lnTo>
                    <a:pt x="133" y="46"/>
                  </a:lnTo>
                  <a:lnTo>
                    <a:pt x="103" y="15"/>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67" name="Oval 192"/>
            <p:cNvSpPr>
              <a:spLocks noChangeArrowheads="1"/>
            </p:cNvSpPr>
            <p:nvPr/>
          </p:nvSpPr>
          <p:spPr bwMode="auto">
            <a:xfrm>
              <a:off x="1506" y="2006"/>
              <a:ext cx="6" cy="6"/>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568" name="Oval 193"/>
            <p:cNvSpPr>
              <a:spLocks noChangeArrowheads="1"/>
            </p:cNvSpPr>
            <p:nvPr/>
          </p:nvSpPr>
          <p:spPr bwMode="auto">
            <a:xfrm>
              <a:off x="1499" y="2018"/>
              <a:ext cx="7" cy="5"/>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569" name="Freeform 194"/>
            <p:cNvSpPr>
              <a:spLocks/>
            </p:cNvSpPr>
            <p:nvPr/>
          </p:nvSpPr>
          <p:spPr bwMode="auto">
            <a:xfrm>
              <a:off x="1499" y="2017"/>
              <a:ext cx="8" cy="7"/>
            </a:xfrm>
            <a:custGeom>
              <a:avLst/>
              <a:gdLst>
                <a:gd name="T0" fmla="*/ 1 w 17"/>
                <a:gd name="T1" fmla="*/ 0 h 17"/>
                <a:gd name="T2" fmla="*/ 0 w 17"/>
                <a:gd name="T3" fmla="*/ 0 h 17"/>
                <a:gd name="T4" fmla="*/ 1 w 17"/>
                <a:gd name="T5" fmla="*/ 0 h 17"/>
                <a:gd name="T6" fmla="*/ 1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16" y="0"/>
                  </a:moveTo>
                  <a:lnTo>
                    <a:pt x="0" y="0"/>
                  </a:lnTo>
                  <a:lnTo>
                    <a:pt x="16" y="16"/>
                  </a:lnTo>
                  <a:lnTo>
                    <a:pt x="16" y="0"/>
                  </a:lnTo>
                </a:path>
              </a:pathLst>
            </a:custGeom>
            <a:solidFill>
              <a:srgbClr val="00FF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70" name="Line 195"/>
            <p:cNvSpPr>
              <a:spLocks noChangeShapeType="1"/>
            </p:cNvSpPr>
            <p:nvPr/>
          </p:nvSpPr>
          <p:spPr bwMode="auto">
            <a:xfrm>
              <a:off x="1512" y="2006"/>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71" name="Line 196"/>
            <p:cNvSpPr>
              <a:spLocks noChangeShapeType="1"/>
            </p:cNvSpPr>
            <p:nvPr/>
          </p:nvSpPr>
          <p:spPr bwMode="auto">
            <a:xfrm>
              <a:off x="1365" y="1652"/>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72" name="Line 197"/>
            <p:cNvSpPr>
              <a:spLocks noChangeShapeType="1"/>
            </p:cNvSpPr>
            <p:nvPr/>
          </p:nvSpPr>
          <p:spPr bwMode="auto">
            <a:xfrm>
              <a:off x="1365" y="1652"/>
              <a:ext cx="0" cy="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73" name="Line 198"/>
            <p:cNvSpPr>
              <a:spLocks noChangeShapeType="1"/>
            </p:cNvSpPr>
            <p:nvPr/>
          </p:nvSpPr>
          <p:spPr bwMode="auto">
            <a:xfrm>
              <a:off x="1372" y="1652"/>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74" name="Freeform 199"/>
            <p:cNvSpPr>
              <a:spLocks/>
            </p:cNvSpPr>
            <p:nvPr/>
          </p:nvSpPr>
          <p:spPr bwMode="auto">
            <a:xfrm>
              <a:off x="1429" y="1785"/>
              <a:ext cx="13" cy="12"/>
            </a:xfrm>
            <a:custGeom>
              <a:avLst/>
              <a:gdLst>
                <a:gd name="T0" fmla="*/ 0 w 31"/>
                <a:gd name="T1" fmla="*/ 0 h 31"/>
                <a:gd name="T2" fmla="*/ 0 w 31"/>
                <a:gd name="T3" fmla="*/ 0 h 31"/>
                <a:gd name="T4" fmla="*/ 0 w 31"/>
                <a:gd name="T5" fmla="*/ 0 h 31"/>
                <a:gd name="T6" fmla="*/ 0 w 31"/>
                <a:gd name="T7" fmla="*/ 1 h 31"/>
                <a:gd name="T8" fmla="*/ 1 w 31"/>
                <a:gd name="T9" fmla="*/ 0 h 31"/>
                <a:gd name="T10" fmla="*/ 0 w 31"/>
                <a:gd name="T11" fmla="*/ 0 h 31"/>
                <a:gd name="T12" fmla="*/ 0 w 31"/>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31">
                  <a:moveTo>
                    <a:pt x="15" y="0"/>
                  </a:moveTo>
                  <a:lnTo>
                    <a:pt x="0" y="0"/>
                  </a:lnTo>
                  <a:lnTo>
                    <a:pt x="0" y="15"/>
                  </a:lnTo>
                  <a:lnTo>
                    <a:pt x="0" y="30"/>
                  </a:lnTo>
                  <a:lnTo>
                    <a:pt x="30" y="15"/>
                  </a:lnTo>
                  <a:lnTo>
                    <a:pt x="15" y="15"/>
                  </a:lnTo>
                  <a:lnTo>
                    <a:pt x="15"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75" name="Freeform 200"/>
            <p:cNvSpPr>
              <a:spLocks/>
            </p:cNvSpPr>
            <p:nvPr/>
          </p:nvSpPr>
          <p:spPr bwMode="auto">
            <a:xfrm>
              <a:off x="1358" y="1744"/>
              <a:ext cx="116" cy="106"/>
            </a:xfrm>
            <a:custGeom>
              <a:avLst/>
              <a:gdLst>
                <a:gd name="T0" fmla="*/ 6 w 270"/>
                <a:gd name="T1" fmla="*/ 2 h 278"/>
                <a:gd name="T2" fmla="*/ 6 w 270"/>
                <a:gd name="T3" fmla="*/ 2 h 278"/>
                <a:gd name="T4" fmla="*/ 5 w 270"/>
                <a:gd name="T5" fmla="*/ 1 h 278"/>
                <a:gd name="T6" fmla="*/ 4 w 270"/>
                <a:gd name="T7" fmla="*/ 1 h 278"/>
                <a:gd name="T8" fmla="*/ 3 w 270"/>
                <a:gd name="T9" fmla="*/ 0 h 278"/>
                <a:gd name="T10" fmla="*/ 3 w 270"/>
                <a:gd name="T11" fmla="*/ 0 h 278"/>
                <a:gd name="T12" fmla="*/ 2 w 270"/>
                <a:gd name="T13" fmla="*/ 1 h 278"/>
                <a:gd name="T14" fmla="*/ 2 w 270"/>
                <a:gd name="T15" fmla="*/ 2 h 278"/>
                <a:gd name="T16" fmla="*/ 1 w 270"/>
                <a:gd name="T17" fmla="*/ 2 h 278"/>
                <a:gd name="T18" fmla="*/ 1 w 270"/>
                <a:gd name="T19" fmla="*/ 3 h 278"/>
                <a:gd name="T20" fmla="*/ 1 w 270"/>
                <a:gd name="T21" fmla="*/ 3 h 278"/>
                <a:gd name="T22" fmla="*/ 0 w 270"/>
                <a:gd name="T23" fmla="*/ 4 h 278"/>
                <a:gd name="T24" fmla="*/ 1 w 270"/>
                <a:gd name="T25" fmla="*/ 4 h 278"/>
                <a:gd name="T26" fmla="*/ 2 w 270"/>
                <a:gd name="T27" fmla="*/ 5 h 278"/>
                <a:gd name="T28" fmla="*/ 3 w 270"/>
                <a:gd name="T29" fmla="*/ 5 h 278"/>
                <a:gd name="T30" fmla="*/ 4 w 270"/>
                <a:gd name="T31" fmla="*/ 6 h 278"/>
                <a:gd name="T32" fmla="*/ 5 w 270"/>
                <a:gd name="T33" fmla="*/ 5 h 278"/>
                <a:gd name="T34" fmla="*/ 5 w 270"/>
                <a:gd name="T35" fmla="*/ 5 h 278"/>
                <a:gd name="T36" fmla="*/ 6 w 270"/>
                <a:gd name="T37" fmla="*/ 5 h 278"/>
                <a:gd name="T38" fmla="*/ 6 w 270"/>
                <a:gd name="T39" fmla="*/ 5 h 278"/>
                <a:gd name="T40" fmla="*/ 8 w 270"/>
                <a:gd name="T41" fmla="*/ 5 h 278"/>
                <a:gd name="T42" fmla="*/ 9 w 270"/>
                <a:gd name="T43" fmla="*/ 4 h 278"/>
                <a:gd name="T44" fmla="*/ 8 w 270"/>
                <a:gd name="T45" fmla="*/ 4 h 278"/>
                <a:gd name="T46" fmla="*/ 6 w 270"/>
                <a:gd name="T47" fmla="*/ 3 h 278"/>
                <a:gd name="T48" fmla="*/ 6 w 270"/>
                <a:gd name="T49" fmla="*/ 3 h 278"/>
                <a:gd name="T50" fmla="*/ 6 w 270"/>
                <a:gd name="T51" fmla="*/ 3 h 278"/>
                <a:gd name="T52" fmla="*/ 6 w 270"/>
                <a:gd name="T53" fmla="*/ 2 h 27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70" h="278">
                  <a:moveTo>
                    <a:pt x="164" y="108"/>
                  </a:moveTo>
                  <a:lnTo>
                    <a:pt x="179" y="108"/>
                  </a:lnTo>
                  <a:lnTo>
                    <a:pt x="149" y="62"/>
                  </a:lnTo>
                  <a:lnTo>
                    <a:pt x="120" y="62"/>
                  </a:lnTo>
                  <a:lnTo>
                    <a:pt x="105" y="0"/>
                  </a:lnTo>
                  <a:lnTo>
                    <a:pt x="75" y="15"/>
                  </a:lnTo>
                  <a:lnTo>
                    <a:pt x="60" y="31"/>
                  </a:lnTo>
                  <a:lnTo>
                    <a:pt x="60" y="92"/>
                  </a:lnTo>
                  <a:lnTo>
                    <a:pt x="30" y="108"/>
                  </a:lnTo>
                  <a:lnTo>
                    <a:pt x="30" y="139"/>
                  </a:lnTo>
                  <a:lnTo>
                    <a:pt x="30" y="169"/>
                  </a:lnTo>
                  <a:lnTo>
                    <a:pt x="0" y="185"/>
                  </a:lnTo>
                  <a:lnTo>
                    <a:pt x="30" y="200"/>
                  </a:lnTo>
                  <a:lnTo>
                    <a:pt x="60" y="262"/>
                  </a:lnTo>
                  <a:lnTo>
                    <a:pt x="90" y="262"/>
                  </a:lnTo>
                  <a:lnTo>
                    <a:pt x="120" y="277"/>
                  </a:lnTo>
                  <a:lnTo>
                    <a:pt x="135" y="262"/>
                  </a:lnTo>
                  <a:lnTo>
                    <a:pt x="149" y="262"/>
                  </a:lnTo>
                  <a:lnTo>
                    <a:pt x="164" y="262"/>
                  </a:lnTo>
                  <a:lnTo>
                    <a:pt x="179" y="246"/>
                  </a:lnTo>
                  <a:lnTo>
                    <a:pt x="224" y="246"/>
                  </a:lnTo>
                  <a:lnTo>
                    <a:pt x="269" y="185"/>
                  </a:lnTo>
                  <a:lnTo>
                    <a:pt x="239" y="200"/>
                  </a:lnTo>
                  <a:lnTo>
                    <a:pt x="194" y="169"/>
                  </a:lnTo>
                  <a:lnTo>
                    <a:pt x="164" y="139"/>
                  </a:lnTo>
                  <a:lnTo>
                    <a:pt x="164" y="123"/>
                  </a:lnTo>
                  <a:lnTo>
                    <a:pt x="164" y="108"/>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76" name="Freeform 201"/>
            <p:cNvSpPr>
              <a:spLocks/>
            </p:cNvSpPr>
            <p:nvPr/>
          </p:nvSpPr>
          <p:spPr bwMode="auto">
            <a:xfrm>
              <a:off x="1332" y="1878"/>
              <a:ext cx="78" cy="82"/>
            </a:xfrm>
            <a:custGeom>
              <a:avLst/>
              <a:gdLst>
                <a:gd name="T0" fmla="*/ 6 w 181"/>
                <a:gd name="T1" fmla="*/ 2 h 216"/>
                <a:gd name="T2" fmla="*/ 5 w 181"/>
                <a:gd name="T3" fmla="*/ 1 h 216"/>
                <a:gd name="T4" fmla="*/ 5 w 181"/>
                <a:gd name="T5" fmla="*/ 1 h 216"/>
                <a:gd name="T6" fmla="*/ 3 w 181"/>
                <a:gd name="T7" fmla="*/ 0 h 216"/>
                <a:gd name="T8" fmla="*/ 3 w 181"/>
                <a:gd name="T9" fmla="*/ 0 h 216"/>
                <a:gd name="T10" fmla="*/ 3 w 181"/>
                <a:gd name="T11" fmla="*/ 1 h 216"/>
                <a:gd name="T12" fmla="*/ 1 w 181"/>
                <a:gd name="T13" fmla="*/ 1 h 216"/>
                <a:gd name="T14" fmla="*/ 1 w 181"/>
                <a:gd name="T15" fmla="*/ 0 h 216"/>
                <a:gd name="T16" fmla="*/ 0 w 181"/>
                <a:gd name="T17" fmla="*/ 0 h 216"/>
                <a:gd name="T18" fmla="*/ 0 w 181"/>
                <a:gd name="T19" fmla="*/ 1 h 216"/>
                <a:gd name="T20" fmla="*/ 1 w 181"/>
                <a:gd name="T21" fmla="*/ 1 h 216"/>
                <a:gd name="T22" fmla="*/ 0 w 181"/>
                <a:gd name="T23" fmla="*/ 1 h 216"/>
                <a:gd name="T24" fmla="*/ 0 w 181"/>
                <a:gd name="T25" fmla="*/ 1 h 216"/>
                <a:gd name="T26" fmla="*/ 0 w 181"/>
                <a:gd name="T27" fmla="*/ 2 h 216"/>
                <a:gd name="T28" fmla="*/ 0 w 181"/>
                <a:gd name="T29" fmla="*/ 2 h 216"/>
                <a:gd name="T30" fmla="*/ 1 w 181"/>
                <a:gd name="T31" fmla="*/ 3 h 216"/>
                <a:gd name="T32" fmla="*/ 1 w 181"/>
                <a:gd name="T33" fmla="*/ 3 h 216"/>
                <a:gd name="T34" fmla="*/ 2 w 181"/>
                <a:gd name="T35" fmla="*/ 3 h 216"/>
                <a:gd name="T36" fmla="*/ 3 w 181"/>
                <a:gd name="T37" fmla="*/ 4 h 216"/>
                <a:gd name="T38" fmla="*/ 3 w 181"/>
                <a:gd name="T39" fmla="*/ 4 h 216"/>
                <a:gd name="T40" fmla="*/ 3 w 181"/>
                <a:gd name="T41" fmla="*/ 5 h 216"/>
                <a:gd name="T42" fmla="*/ 4 w 181"/>
                <a:gd name="T43" fmla="*/ 5 h 216"/>
                <a:gd name="T44" fmla="*/ 6 w 181"/>
                <a:gd name="T45" fmla="*/ 4 h 216"/>
                <a:gd name="T46" fmla="*/ 6 w 181"/>
                <a:gd name="T47" fmla="*/ 3 h 216"/>
                <a:gd name="T48" fmla="*/ 6 w 181"/>
                <a:gd name="T49" fmla="*/ 3 h 216"/>
                <a:gd name="T50" fmla="*/ 6 w 181"/>
                <a:gd name="T51" fmla="*/ 3 h 216"/>
                <a:gd name="T52" fmla="*/ 6 w 181"/>
                <a:gd name="T53" fmla="*/ 2 h 216"/>
                <a:gd name="T54" fmla="*/ 6 w 181"/>
                <a:gd name="T55" fmla="*/ 2 h 2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81" h="216">
                  <a:moveTo>
                    <a:pt x="180" y="77"/>
                  </a:moveTo>
                  <a:lnTo>
                    <a:pt x="150" y="61"/>
                  </a:lnTo>
                  <a:lnTo>
                    <a:pt x="135" y="46"/>
                  </a:lnTo>
                  <a:lnTo>
                    <a:pt x="90" y="0"/>
                  </a:lnTo>
                  <a:lnTo>
                    <a:pt x="75" y="15"/>
                  </a:lnTo>
                  <a:lnTo>
                    <a:pt x="75" y="31"/>
                  </a:lnTo>
                  <a:lnTo>
                    <a:pt x="45" y="46"/>
                  </a:lnTo>
                  <a:lnTo>
                    <a:pt x="45" y="15"/>
                  </a:lnTo>
                  <a:lnTo>
                    <a:pt x="15" y="15"/>
                  </a:lnTo>
                  <a:lnTo>
                    <a:pt x="15" y="31"/>
                  </a:lnTo>
                  <a:lnTo>
                    <a:pt x="30" y="46"/>
                  </a:lnTo>
                  <a:lnTo>
                    <a:pt x="15" y="61"/>
                  </a:lnTo>
                  <a:lnTo>
                    <a:pt x="0" y="61"/>
                  </a:lnTo>
                  <a:lnTo>
                    <a:pt x="15" y="108"/>
                  </a:lnTo>
                  <a:lnTo>
                    <a:pt x="0" y="108"/>
                  </a:lnTo>
                  <a:lnTo>
                    <a:pt x="30" y="123"/>
                  </a:lnTo>
                  <a:lnTo>
                    <a:pt x="30" y="138"/>
                  </a:lnTo>
                  <a:lnTo>
                    <a:pt x="60" y="169"/>
                  </a:lnTo>
                  <a:lnTo>
                    <a:pt x="75" y="184"/>
                  </a:lnTo>
                  <a:lnTo>
                    <a:pt x="90" y="184"/>
                  </a:lnTo>
                  <a:lnTo>
                    <a:pt x="90" y="215"/>
                  </a:lnTo>
                  <a:lnTo>
                    <a:pt x="120" y="215"/>
                  </a:lnTo>
                  <a:lnTo>
                    <a:pt x="180" y="200"/>
                  </a:lnTo>
                  <a:lnTo>
                    <a:pt x="180" y="169"/>
                  </a:lnTo>
                  <a:lnTo>
                    <a:pt x="165" y="154"/>
                  </a:lnTo>
                  <a:lnTo>
                    <a:pt x="180" y="123"/>
                  </a:lnTo>
                  <a:lnTo>
                    <a:pt x="165" y="108"/>
                  </a:lnTo>
                  <a:lnTo>
                    <a:pt x="180" y="77"/>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77" name="Freeform 202"/>
            <p:cNvSpPr>
              <a:spLocks/>
            </p:cNvSpPr>
            <p:nvPr/>
          </p:nvSpPr>
          <p:spPr bwMode="auto">
            <a:xfrm>
              <a:off x="1422" y="1785"/>
              <a:ext cx="77" cy="99"/>
            </a:xfrm>
            <a:custGeom>
              <a:avLst/>
              <a:gdLst>
                <a:gd name="T0" fmla="*/ 6 w 180"/>
                <a:gd name="T1" fmla="*/ 0 h 262"/>
                <a:gd name="T2" fmla="*/ 6 w 180"/>
                <a:gd name="T3" fmla="*/ 0 h 262"/>
                <a:gd name="T4" fmla="*/ 5 w 180"/>
                <a:gd name="T5" fmla="*/ 0 h 262"/>
                <a:gd name="T6" fmla="*/ 4 w 180"/>
                <a:gd name="T7" fmla="*/ 0 h 262"/>
                <a:gd name="T8" fmla="*/ 4 w 180"/>
                <a:gd name="T9" fmla="*/ 0 h 262"/>
                <a:gd name="T10" fmla="*/ 3 w 180"/>
                <a:gd name="T11" fmla="*/ 1 h 262"/>
                <a:gd name="T12" fmla="*/ 2 w 180"/>
                <a:gd name="T13" fmla="*/ 1 h 262"/>
                <a:gd name="T14" fmla="*/ 1 w 180"/>
                <a:gd name="T15" fmla="*/ 0 h 262"/>
                <a:gd name="T16" fmla="*/ 0 w 180"/>
                <a:gd name="T17" fmla="*/ 1 h 262"/>
                <a:gd name="T18" fmla="*/ 1 w 180"/>
                <a:gd name="T19" fmla="*/ 1 h 262"/>
                <a:gd name="T20" fmla="*/ 3 w 180"/>
                <a:gd name="T21" fmla="*/ 2 h 262"/>
                <a:gd name="T22" fmla="*/ 4 w 180"/>
                <a:gd name="T23" fmla="*/ 2 h 262"/>
                <a:gd name="T24" fmla="*/ 3 w 180"/>
                <a:gd name="T25" fmla="*/ 3 h 262"/>
                <a:gd name="T26" fmla="*/ 1 w 180"/>
                <a:gd name="T27" fmla="*/ 3 h 262"/>
                <a:gd name="T28" fmla="*/ 0 w 180"/>
                <a:gd name="T29" fmla="*/ 3 h 262"/>
                <a:gd name="T30" fmla="*/ 0 w 180"/>
                <a:gd name="T31" fmla="*/ 3 h 262"/>
                <a:gd name="T32" fmla="*/ 0 w 180"/>
                <a:gd name="T33" fmla="*/ 3 h 262"/>
                <a:gd name="T34" fmla="*/ 0 w 180"/>
                <a:gd name="T35" fmla="*/ 5 h 262"/>
                <a:gd name="T36" fmla="*/ 0 w 180"/>
                <a:gd name="T37" fmla="*/ 5 h 262"/>
                <a:gd name="T38" fmla="*/ 0 w 180"/>
                <a:gd name="T39" fmla="*/ 5 h 262"/>
                <a:gd name="T40" fmla="*/ 1 w 180"/>
                <a:gd name="T41" fmla="*/ 5 h 262"/>
                <a:gd name="T42" fmla="*/ 2 w 180"/>
                <a:gd name="T43" fmla="*/ 5 h 262"/>
                <a:gd name="T44" fmla="*/ 4 w 180"/>
                <a:gd name="T45" fmla="*/ 3 h 262"/>
                <a:gd name="T46" fmla="*/ 4 w 180"/>
                <a:gd name="T47" fmla="*/ 3 h 262"/>
                <a:gd name="T48" fmla="*/ 5 w 180"/>
                <a:gd name="T49" fmla="*/ 2 h 262"/>
                <a:gd name="T50" fmla="*/ 5 w 180"/>
                <a:gd name="T51" fmla="*/ 2 h 262"/>
                <a:gd name="T52" fmla="*/ 6 w 180"/>
                <a:gd name="T53" fmla="*/ 1 h 262"/>
                <a:gd name="T54" fmla="*/ 6 w 180"/>
                <a:gd name="T55" fmla="*/ 0 h 2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80" h="262">
                  <a:moveTo>
                    <a:pt x="179" y="0"/>
                  </a:moveTo>
                  <a:lnTo>
                    <a:pt x="164" y="0"/>
                  </a:lnTo>
                  <a:lnTo>
                    <a:pt x="149" y="15"/>
                  </a:lnTo>
                  <a:lnTo>
                    <a:pt x="134" y="15"/>
                  </a:lnTo>
                  <a:lnTo>
                    <a:pt x="119" y="15"/>
                  </a:lnTo>
                  <a:lnTo>
                    <a:pt x="75" y="31"/>
                  </a:lnTo>
                  <a:lnTo>
                    <a:pt x="60" y="31"/>
                  </a:lnTo>
                  <a:lnTo>
                    <a:pt x="45" y="15"/>
                  </a:lnTo>
                  <a:lnTo>
                    <a:pt x="15" y="31"/>
                  </a:lnTo>
                  <a:lnTo>
                    <a:pt x="45" y="61"/>
                  </a:lnTo>
                  <a:lnTo>
                    <a:pt x="90" y="92"/>
                  </a:lnTo>
                  <a:lnTo>
                    <a:pt x="119" y="77"/>
                  </a:lnTo>
                  <a:lnTo>
                    <a:pt x="75" y="138"/>
                  </a:lnTo>
                  <a:lnTo>
                    <a:pt x="30" y="138"/>
                  </a:lnTo>
                  <a:lnTo>
                    <a:pt x="15" y="154"/>
                  </a:lnTo>
                  <a:lnTo>
                    <a:pt x="0" y="154"/>
                  </a:lnTo>
                  <a:lnTo>
                    <a:pt x="0" y="169"/>
                  </a:lnTo>
                  <a:lnTo>
                    <a:pt x="0" y="261"/>
                  </a:lnTo>
                  <a:lnTo>
                    <a:pt x="15" y="261"/>
                  </a:lnTo>
                  <a:lnTo>
                    <a:pt x="15" y="246"/>
                  </a:lnTo>
                  <a:lnTo>
                    <a:pt x="45" y="230"/>
                  </a:lnTo>
                  <a:lnTo>
                    <a:pt x="60" y="215"/>
                  </a:lnTo>
                  <a:lnTo>
                    <a:pt x="119" y="154"/>
                  </a:lnTo>
                  <a:lnTo>
                    <a:pt x="119" y="138"/>
                  </a:lnTo>
                  <a:lnTo>
                    <a:pt x="149" y="92"/>
                  </a:lnTo>
                  <a:lnTo>
                    <a:pt x="149" y="77"/>
                  </a:lnTo>
                  <a:lnTo>
                    <a:pt x="179" y="61"/>
                  </a:lnTo>
                  <a:lnTo>
                    <a:pt x="179"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78" name="Freeform 203"/>
            <p:cNvSpPr>
              <a:spLocks/>
            </p:cNvSpPr>
            <p:nvPr/>
          </p:nvSpPr>
          <p:spPr bwMode="auto">
            <a:xfrm>
              <a:off x="1365" y="1843"/>
              <a:ext cx="65" cy="64"/>
            </a:xfrm>
            <a:custGeom>
              <a:avLst/>
              <a:gdLst>
                <a:gd name="T0" fmla="*/ 5 w 150"/>
                <a:gd name="T1" fmla="*/ 2 h 170"/>
                <a:gd name="T2" fmla="*/ 5 w 150"/>
                <a:gd name="T3" fmla="*/ 2 h 170"/>
                <a:gd name="T4" fmla="*/ 5 w 150"/>
                <a:gd name="T5" fmla="*/ 0 h 170"/>
                <a:gd name="T6" fmla="*/ 5 w 150"/>
                <a:gd name="T7" fmla="*/ 0 h 170"/>
                <a:gd name="T8" fmla="*/ 4 w 150"/>
                <a:gd name="T9" fmla="*/ 0 h 170"/>
                <a:gd name="T10" fmla="*/ 4 w 150"/>
                <a:gd name="T11" fmla="*/ 0 h 170"/>
                <a:gd name="T12" fmla="*/ 3 w 150"/>
                <a:gd name="T13" fmla="*/ 0 h 170"/>
                <a:gd name="T14" fmla="*/ 2 w 150"/>
                <a:gd name="T15" fmla="*/ 0 h 170"/>
                <a:gd name="T16" fmla="*/ 0 w 150"/>
                <a:gd name="T17" fmla="*/ 0 h 170"/>
                <a:gd name="T18" fmla="*/ 0 w 150"/>
                <a:gd name="T19" fmla="*/ 0 h 170"/>
                <a:gd name="T20" fmla="*/ 0 w 150"/>
                <a:gd name="T21" fmla="*/ 1 h 170"/>
                <a:gd name="T22" fmla="*/ 0 w 150"/>
                <a:gd name="T23" fmla="*/ 2 h 170"/>
                <a:gd name="T24" fmla="*/ 0 w 150"/>
                <a:gd name="T25" fmla="*/ 2 h 170"/>
                <a:gd name="T26" fmla="*/ 2 w 150"/>
                <a:gd name="T27" fmla="*/ 3 h 170"/>
                <a:gd name="T28" fmla="*/ 3 w 150"/>
                <a:gd name="T29" fmla="*/ 3 h 170"/>
                <a:gd name="T30" fmla="*/ 4 w 150"/>
                <a:gd name="T31" fmla="*/ 3 h 170"/>
                <a:gd name="T32" fmla="*/ 4 w 150"/>
                <a:gd name="T33" fmla="*/ 3 h 170"/>
                <a:gd name="T34" fmla="*/ 5 w 150"/>
                <a:gd name="T35" fmla="*/ 3 h 170"/>
                <a:gd name="T36" fmla="*/ 5 w 150"/>
                <a:gd name="T37" fmla="*/ 2 h 1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0" h="170">
                  <a:moveTo>
                    <a:pt x="149" y="108"/>
                  </a:moveTo>
                  <a:lnTo>
                    <a:pt x="134" y="108"/>
                  </a:lnTo>
                  <a:lnTo>
                    <a:pt x="134" y="15"/>
                  </a:lnTo>
                  <a:lnTo>
                    <a:pt x="134" y="0"/>
                  </a:lnTo>
                  <a:lnTo>
                    <a:pt x="119" y="0"/>
                  </a:lnTo>
                  <a:lnTo>
                    <a:pt x="104" y="15"/>
                  </a:lnTo>
                  <a:lnTo>
                    <a:pt x="75" y="0"/>
                  </a:lnTo>
                  <a:lnTo>
                    <a:pt x="45" y="0"/>
                  </a:lnTo>
                  <a:lnTo>
                    <a:pt x="0" y="0"/>
                  </a:lnTo>
                  <a:lnTo>
                    <a:pt x="15" y="15"/>
                  </a:lnTo>
                  <a:lnTo>
                    <a:pt x="15" y="61"/>
                  </a:lnTo>
                  <a:lnTo>
                    <a:pt x="15" y="77"/>
                  </a:lnTo>
                  <a:lnTo>
                    <a:pt x="15" y="92"/>
                  </a:lnTo>
                  <a:lnTo>
                    <a:pt x="60" y="138"/>
                  </a:lnTo>
                  <a:lnTo>
                    <a:pt x="75" y="154"/>
                  </a:lnTo>
                  <a:lnTo>
                    <a:pt x="104" y="169"/>
                  </a:lnTo>
                  <a:lnTo>
                    <a:pt x="119" y="138"/>
                  </a:lnTo>
                  <a:lnTo>
                    <a:pt x="134" y="138"/>
                  </a:lnTo>
                  <a:lnTo>
                    <a:pt x="149" y="108"/>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79" name="Oval 204"/>
            <p:cNvSpPr>
              <a:spLocks noChangeArrowheads="1"/>
            </p:cNvSpPr>
            <p:nvPr/>
          </p:nvSpPr>
          <p:spPr bwMode="auto">
            <a:xfrm>
              <a:off x="1448" y="1948"/>
              <a:ext cx="0" cy="5"/>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580" name="Oval 205"/>
            <p:cNvSpPr>
              <a:spLocks noChangeArrowheads="1"/>
            </p:cNvSpPr>
            <p:nvPr/>
          </p:nvSpPr>
          <p:spPr bwMode="auto">
            <a:xfrm>
              <a:off x="1506" y="1901"/>
              <a:ext cx="1" cy="6"/>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581" name="Freeform 206"/>
            <p:cNvSpPr>
              <a:spLocks/>
            </p:cNvSpPr>
            <p:nvPr/>
          </p:nvSpPr>
          <p:spPr bwMode="auto">
            <a:xfrm>
              <a:off x="1435" y="1744"/>
              <a:ext cx="33" cy="36"/>
            </a:xfrm>
            <a:custGeom>
              <a:avLst/>
              <a:gdLst>
                <a:gd name="T0" fmla="*/ 1 w 76"/>
                <a:gd name="T1" fmla="*/ 2 h 93"/>
                <a:gd name="T2" fmla="*/ 0 w 76"/>
                <a:gd name="T3" fmla="*/ 1 h 93"/>
                <a:gd name="T4" fmla="*/ 0 w 76"/>
                <a:gd name="T5" fmla="*/ 1 h 93"/>
                <a:gd name="T6" fmla="*/ 0 w 76"/>
                <a:gd name="T7" fmla="*/ 0 h 93"/>
                <a:gd name="T8" fmla="*/ 0 w 76"/>
                <a:gd name="T9" fmla="*/ 0 h 93"/>
                <a:gd name="T10" fmla="*/ 3 w 76"/>
                <a:gd name="T11" fmla="*/ 0 h 93"/>
                <a:gd name="T12" fmla="*/ 2 w 76"/>
                <a:gd name="T13" fmla="*/ 2 h 93"/>
                <a:gd name="T14" fmla="*/ 1 w 76"/>
                <a:gd name="T15" fmla="*/ 2 h 9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6" h="93">
                  <a:moveTo>
                    <a:pt x="30" y="77"/>
                  </a:moveTo>
                  <a:lnTo>
                    <a:pt x="15" y="61"/>
                  </a:lnTo>
                  <a:lnTo>
                    <a:pt x="0" y="31"/>
                  </a:lnTo>
                  <a:lnTo>
                    <a:pt x="0" y="15"/>
                  </a:lnTo>
                  <a:lnTo>
                    <a:pt x="15" y="0"/>
                  </a:lnTo>
                  <a:lnTo>
                    <a:pt x="75" y="15"/>
                  </a:lnTo>
                  <a:lnTo>
                    <a:pt x="45" y="92"/>
                  </a:lnTo>
                  <a:lnTo>
                    <a:pt x="30" y="77"/>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82" name="Line 207"/>
            <p:cNvSpPr>
              <a:spLocks noChangeShapeType="1"/>
            </p:cNvSpPr>
            <p:nvPr/>
          </p:nvSpPr>
          <p:spPr bwMode="auto">
            <a:xfrm>
              <a:off x="1435" y="1744"/>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83" name="Line 208"/>
            <p:cNvSpPr>
              <a:spLocks noChangeShapeType="1"/>
            </p:cNvSpPr>
            <p:nvPr/>
          </p:nvSpPr>
          <p:spPr bwMode="auto">
            <a:xfrm flipV="1">
              <a:off x="1442" y="1738"/>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84" name="Line 209"/>
            <p:cNvSpPr>
              <a:spLocks noChangeShapeType="1"/>
            </p:cNvSpPr>
            <p:nvPr/>
          </p:nvSpPr>
          <p:spPr bwMode="auto">
            <a:xfrm>
              <a:off x="1448" y="1739"/>
              <a:ext cx="0" cy="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85" name="Freeform 210"/>
            <p:cNvSpPr>
              <a:spLocks/>
            </p:cNvSpPr>
            <p:nvPr/>
          </p:nvSpPr>
          <p:spPr bwMode="auto">
            <a:xfrm>
              <a:off x="1486" y="1664"/>
              <a:ext cx="8" cy="11"/>
            </a:xfrm>
            <a:custGeom>
              <a:avLst/>
              <a:gdLst>
                <a:gd name="T0" fmla="*/ 1 w 17"/>
                <a:gd name="T1" fmla="*/ 0 h 31"/>
                <a:gd name="T2" fmla="*/ 0 w 17"/>
                <a:gd name="T3" fmla="*/ 0 h 31"/>
                <a:gd name="T4" fmla="*/ 1 w 17"/>
                <a:gd name="T5" fmla="*/ 0 h 31"/>
                <a:gd name="T6" fmla="*/ 1 w 17"/>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1">
                  <a:moveTo>
                    <a:pt x="16" y="0"/>
                  </a:moveTo>
                  <a:lnTo>
                    <a:pt x="0" y="15"/>
                  </a:lnTo>
                  <a:lnTo>
                    <a:pt x="16" y="30"/>
                  </a:lnTo>
                  <a:lnTo>
                    <a:pt x="16" y="0"/>
                  </a:lnTo>
                </a:path>
              </a:pathLst>
            </a:custGeom>
            <a:solidFill>
              <a:srgbClr val="FFFF0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586" name="Freeform 211"/>
            <p:cNvSpPr>
              <a:spLocks/>
            </p:cNvSpPr>
            <p:nvPr/>
          </p:nvSpPr>
          <p:spPr bwMode="auto">
            <a:xfrm>
              <a:off x="1442" y="1652"/>
              <a:ext cx="32" cy="6"/>
            </a:xfrm>
            <a:custGeom>
              <a:avLst/>
              <a:gdLst>
                <a:gd name="T0" fmla="*/ 3 w 75"/>
                <a:gd name="T1" fmla="*/ 0 h 17"/>
                <a:gd name="T2" fmla="*/ 2 w 75"/>
                <a:gd name="T3" fmla="*/ 0 h 17"/>
                <a:gd name="T4" fmla="*/ 1 w 75"/>
                <a:gd name="T5" fmla="*/ 0 h 17"/>
                <a:gd name="T6" fmla="*/ 1 w 75"/>
                <a:gd name="T7" fmla="*/ 0 h 17"/>
                <a:gd name="T8" fmla="*/ 0 w 75"/>
                <a:gd name="T9" fmla="*/ 0 h 17"/>
                <a:gd name="T10" fmla="*/ 1 w 75"/>
                <a:gd name="T11" fmla="*/ 0 h 17"/>
                <a:gd name="T12" fmla="*/ 3 w 75"/>
                <a:gd name="T13" fmla="*/ 0 h 1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 h="17">
                  <a:moveTo>
                    <a:pt x="74" y="16"/>
                  </a:moveTo>
                  <a:lnTo>
                    <a:pt x="59" y="16"/>
                  </a:lnTo>
                  <a:lnTo>
                    <a:pt x="44" y="16"/>
                  </a:lnTo>
                  <a:lnTo>
                    <a:pt x="30" y="0"/>
                  </a:lnTo>
                  <a:lnTo>
                    <a:pt x="0" y="0"/>
                  </a:lnTo>
                  <a:lnTo>
                    <a:pt x="44" y="0"/>
                  </a:lnTo>
                  <a:lnTo>
                    <a:pt x="74" y="16"/>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87" name="Line 212"/>
            <p:cNvSpPr>
              <a:spLocks noChangeShapeType="1"/>
            </p:cNvSpPr>
            <p:nvPr/>
          </p:nvSpPr>
          <p:spPr bwMode="auto">
            <a:xfrm>
              <a:off x="1454" y="1744"/>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88" name="Line 213"/>
            <p:cNvSpPr>
              <a:spLocks noChangeShapeType="1"/>
            </p:cNvSpPr>
            <p:nvPr/>
          </p:nvSpPr>
          <p:spPr bwMode="auto">
            <a:xfrm>
              <a:off x="1468" y="1744"/>
              <a:ext cx="0" cy="7"/>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89" name="Line 214"/>
            <p:cNvSpPr>
              <a:spLocks noChangeShapeType="1"/>
            </p:cNvSpPr>
            <p:nvPr/>
          </p:nvSpPr>
          <p:spPr bwMode="auto">
            <a:xfrm>
              <a:off x="1474" y="1744"/>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90" name="Line 215"/>
            <p:cNvSpPr>
              <a:spLocks noChangeShapeType="1"/>
            </p:cNvSpPr>
            <p:nvPr/>
          </p:nvSpPr>
          <p:spPr bwMode="auto">
            <a:xfrm flipV="1">
              <a:off x="1480" y="1738"/>
              <a:ext cx="6"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91" name="Freeform 216"/>
            <p:cNvSpPr>
              <a:spLocks/>
            </p:cNvSpPr>
            <p:nvPr/>
          </p:nvSpPr>
          <p:spPr bwMode="auto">
            <a:xfrm>
              <a:off x="1454" y="1733"/>
              <a:ext cx="65" cy="47"/>
            </a:xfrm>
            <a:custGeom>
              <a:avLst/>
              <a:gdLst>
                <a:gd name="T0" fmla="*/ 1 w 151"/>
                <a:gd name="T1" fmla="*/ 1 h 123"/>
                <a:gd name="T2" fmla="*/ 0 w 151"/>
                <a:gd name="T3" fmla="*/ 3 h 123"/>
                <a:gd name="T4" fmla="*/ 1 w 151"/>
                <a:gd name="T5" fmla="*/ 2 h 123"/>
                <a:gd name="T6" fmla="*/ 4 w 151"/>
                <a:gd name="T7" fmla="*/ 1 h 123"/>
                <a:gd name="T8" fmla="*/ 5 w 151"/>
                <a:gd name="T9" fmla="*/ 1 h 123"/>
                <a:gd name="T10" fmla="*/ 5 w 151"/>
                <a:gd name="T11" fmla="*/ 1 h 123"/>
                <a:gd name="T12" fmla="*/ 5 w 151"/>
                <a:gd name="T13" fmla="*/ 0 h 123"/>
                <a:gd name="T14" fmla="*/ 2 w 151"/>
                <a:gd name="T15" fmla="*/ 1 h 123"/>
                <a:gd name="T16" fmla="*/ 1 w 151"/>
                <a:gd name="T17" fmla="*/ 1 h 1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123">
                  <a:moveTo>
                    <a:pt x="30" y="46"/>
                  </a:moveTo>
                  <a:lnTo>
                    <a:pt x="0" y="122"/>
                  </a:lnTo>
                  <a:lnTo>
                    <a:pt x="30" y="107"/>
                  </a:lnTo>
                  <a:lnTo>
                    <a:pt x="120" y="61"/>
                  </a:lnTo>
                  <a:lnTo>
                    <a:pt x="135" y="46"/>
                  </a:lnTo>
                  <a:lnTo>
                    <a:pt x="150" y="31"/>
                  </a:lnTo>
                  <a:lnTo>
                    <a:pt x="135" y="0"/>
                  </a:lnTo>
                  <a:lnTo>
                    <a:pt x="60" y="31"/>
                  </a:lnTo>
                  <a:lnTo>
                    <a:pt x="30" y="46"/>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92" name="Line 217"/>
            <p:cNvSpPr>
              <a:spLocks noChangeShapeType="1"/>
            </p:cNvSpPr>
            <p:nvPr/>
          </p:nvSpPr>
          <p:spPr bwMode="auto">
            <a:xfrm>
              <a:off x="1486" y="1739"/>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593" name="Freeform 218"/>
            <p:cNvSpPr>
              <a:spLocks/>
            </p:cNvSpPr>
            <p:nvPr/>
          </p:nvSpPr>
          <p:spPr bwMode="auto">
            <a:xfrm>
              <a:off x="1204" y="1419"/>
              <a:ext cx="71" cy="76"/>
            </a:xfrm>
            <a:custGeom>
              <a:avLst/>
              <a:gdLst>
                <a:gd name="T0" fmla="*/ 0 w 165"/>
                <a:gd name="T1" fmla="*/ 2 h 202"/>
                <a:gd name="T2" fmla="*/ 0 w 165"/>
                <a:gd name="T3" fmla="*/ 2 h 202"/>
                <a:gd name="T4" fmla="*/ 0 w 165"/>
                <a:gd name="T5" fmla="*/ 3 h 202"/>
                <a:gd name="T6" fmla="*/ 2 w 165"/>
                <a:gd name="T7" fmla="*/ 3 h 202"/>
                <a:gd name="T8" fmla="*/ 3 w 165"/>
                <a:gd name="T9" fmla="*/ 3 h 202"/>
                <a:gd name="T10" fmla="*/ 4 w 165"/>
                <a:gd name="T11" fmla="*/ 3 h 202"/>
                <a:gd name="T12" fmla="*/ 5 w 165"/>
                <a:gd name="T13" fmla="*/ 4 h 202"/>
                <a:gd name="T14" fmla="*/ 6 w 165"/>
                <a:gd name="T15" fmla="*/ 3 h 202"/>
                <a:gd name="T16" fmla="*/ 5 w 165"/>
                <a:gd name="T17" fmla="*/ 2 h 202"/>
                <a:gd name="T18" fmla="*/ 5 w 165"/>
                <a:gd name="T19" fmla="*/ 2 h 202"/>
                <a:gd name="T20" fmla="*/ 3 w 165"/>
                <a:gd name="T21" fmla="*/ 0 h 202"/>
                <a:gd name="T22" fmla="*/ 3 w 165"/>
                <a:gd name="T23" fmla="*/ 1 h 202"/>
                <a:gd name="T24" fmla="*/ 3 w 165"/>
                <a:gd name="T25" fmla="*/ 1 h 202"/>
                <a:gd name="T26" fmla="*/ 2 w 165"/>
                <a:gd name="T27" fmla="*/ 1 h 202"/>
                <a:gd name="T28" fmla="*/ 0 w 165"/>
                <a:gd name="T29" fmla="*/ 2 h 2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5" h="202">
                  <a:moveTo>
                    <a:pt x="15" y="77"/>
                  </a:moveTo>
                  <a:lnTo>
                    <a:pt x="0" y="93"/>
                  </a:lnTo>
                  <a:lnTo>
                    <a:pt x="15" y="139"/>
                  </a:lnTo>
                  <a:lnTo>
                    <a:pt x="60" y="155"/>
                  </a:lnTo>
                  <a:lnTo>
                    <a:pt x="89" y="170"/>
                  </a:lnTo>
                  <a:lnTo>
                    <a:pt x="119" y="170"/>
                  </a:lnTo>
                  <a:lnTo>
                    <a:pt x="149" y="201"/>
                  </a:lnTo>
                  <a:lnTo>
                    <a:pt x="164" y="139"/>
                  </a:lnTo>
                  <a:lnTo>
                    <a:pt x="149" y="108"/>
                  </a:lnTo>
                  <a:lnTo>
                    <a:pt x="149" y="77"/>
                  </a:lnTo>
                  <a:lnTo>
                    <a:pt x="104" y="0"/>
                  </a:lnTo>
                  <a:lnTo>
                    <a:pt x="104" y="46"/>
                  </a:lnTo>
                  <a:lnTo>
                    <a:pt x="75" y="62"/>
                  </a:lnTo>
                  <a:lnTo>
                    <a:pt x="60" y="46"/>
                  </a:lnTo>
                  <a:lnTo>
                    <a:pt x="15"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94" name="Freeform 219"/>
            <p:cNvSpPr>
              <a:spLocks/>
            </p:cNvSpPr>
            <p:nvPr/>
          </p:nvSpPr>
          <p:spPr bwMode="auto">
            <a:xfrm>
              <a:off x="1282" y="1605"/>
              <a:ext cx="18" cy="0"/>
            </a:xfrm>
            <a:custGeom>
              <a:avLst/>
              <a:gdLst>
                <a:gd name="T0" fmla="*/ 1 w 46"/>
                <a:gd name="T1" fmla="*/ 0 h 1"/>
                <a:gd name="T2" fmla="*/ 1 w 46"/>
                <a:gd name="T3" fmla="*/ 0 h 1"/>
                <a:gd name="T4" fmla="*/ 0 w 46"/>
                <a:gd name="T5" fmla="*/ 0 h 1"/>
                <a:gd name="T6" fmla="*/ 1 w 46"/>
                <a:gd name="T7" fmla="*/ 0 h 1"/>
                <a:gd name="T8" fmla="*/ 1 w 46"/>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1">
                  <a:moveTo>
                    <a:pt x="45" y="0"/>
                  </a:moveTo>
                  <a:lnTo>
                    <a:pt x="30" y="0"/>
                  </a:lnTo>
                  <a:lnTo>
                    <a:pt x="0" y="0"/>
                  </a:lnTo>
                  <a:lnTo>
                    <a:pt x="30" y="0"/>
                  </a:lnTo>
                  <a:lnTo>
                    <a:pt x="45" y="0"/>
                  </a:lnTo>
                </a:path>
              </a:pathLst>
            </a:custGeom>
            <a:solidFill>
              <a:srgbClr val="00FF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95" name="Freeform 220"/>
            <p:cNvSpPr>
              <a:spLocks/>
            </p:cNvSpPr>
            <p:nvPr/>
          </p:nvSpPr>
          <p:spPr bwMode="auto">
            <a:xfrm>
              <a:off x="1372" y="1582"/>
              <a:ext cx="50" cy="47"/>
            </a:xfrm>
            <a:custGeom>
              <a:avLst/>
              <a:gdLst>
                <a:gd name="T0" fmla="*/ 0 w 120"/>
                <a:gd name="T1" fmla="*/ 1 h 124"/>
                <a:gd name="T2" fmla="*/ 0 w 120"/>
                <a:gd name="T3" fmla="*/ 2 h 124"/>
                <a:gd name="T4" fmla="*/ 0 w 120"/>
                <a:gd name="T5" fmla="*/ 2 h 124"/>
                <a:gd name="T6" fmla="*/ 0 w 120"/>
                <a:gd name="T7" fmla="*/ 3 h 124"/>
                <a:gd name="T8" fmla="*/ 1 w 120"/>
                <a:gd name="T9" fmla="*/ 3 h 124"/>
                <a:gd name="T10" fmla="*/ 1 w 120"/>
                <a:gd name="T11" fmla="*/ 2 h 124"/>
                <a:gd name="T12" fmla="*/ 3 w 120"/>
                <a:gd name="T13" fmla="*/ 1 h 124"/>
                <a:gd name="T14" fmla="*/ 3 w 120"/>
                <a:gd name="T15" fmla="*/ 1 h 124"/>
                <a:gd name="T16" fmla="*/ 4 w 120"/>
                <a:gd name="T17" fmla="*/ 0 h 124"/>
                <a:gd name="T18" fmla="*/ 3 w 120"/>
                <a:gd name="T19" fmla="*/ 0 h 124"/>
                <a:gd name="T20" fmla="*/ 1 w 120"/>
                <a:gd name="T21" fmla="*/ 1 h 124"/>
                <a:gd name="T22" fmla="*/ 0 w 120"/>
                <a:gd name="T23" fmla="*/ 1 h 124"/>
                <a:gd name="T24" fmla="*/ 0 w 120"/>
                <a:gd name="T25" fmla="*/ 1 h 124"/>
                <a:gd name="T26" fmla="*/ 0 w 120"/>
                <a:gd name="T27" fmla="*/ 1 h 1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0" h="124">
                  <a:moveTo>
                    <a:pt x="0" y="62"/>
                  </a:moveTo>
                  <a:lnTo>
                    <a:pt x="15" y="77"/>
                  </a:lnTo>
                  <a:lnTo>
                    <a:pt x="0" y="92"/>
                  </a:lnTo>
                  <a:lnTo>
                    <a:pt x="0" y="123"/>
                  </a:lnTo>
                  <a:lnTo>
                    <a:pt x="30" y="123"/>
                  </a:lnTo>
                  <a:lnTo>
                    <a:pt x="45" y="92"/>
                  </a:lnTo>
                  <a:lnTo>
                    <a:pt x="89" y="62"/>
                  </a:lnTo>
                  <a:lnTo>
                    <a:pt x="104" y="31"/>
                  </a:lnTo>
                  <a:lnTo>
                    <a:pt x="119" y="15"/>
                  </a:lnTo>
                  <a:lnTo>
                    <a:pt x="104" y="0"/>
                  </a:lnTo>
                  <a:lnTo>
                    <a:pt x="30" y="31"/>
                  </a:lnTo>
                  <a:lnTo>
                    <a:pt x="15" y="46"/>
                  </a:lnTo>
                  <a:lnTo>
                    <a:pt x="0" y="46"/>
                  </a:lnTo>
                  <a:lnTo>
                    <a:pt x="0" y="62"/>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96" name="Freeform 221"/>
            <p:cNvSpPr>
              <a:spLocks/>
            </p:cNvSpPr>
            <p:nvPr/>
          </p:nvSpPr>
          <p:spPr bwMode="auto">
            <a:xfrm>
              <a:off x="1365" y="1617"/>
              <a:ext cx="33" cy="41"/>
            </a:xfrm>
            <a:custGeom>
              <a:avLst/>
              <a:gdLst>
                <a:gd name="T0" fmla="*/ 3 w 76"/>
                <a:gd name="T1" fmla="*/ 0 h 108"/>
                <a:gd name="T2" fmla="*/ 2 w 76"/>
                <a:gd name="T3" fmla="*/ 0 h 108"/>
                <a:gd name="T4" fmla="*/ 2 w 76"/>
                <a:gd name="T5" fmla="*/ 1 h 108"/>
                <a:gd name="T6" fmla="*/ 0 w 76"/>
                <a:gd name="T7" fmla="*/ 1 h 108"/>
                <a:gd name="T8" fmla="*/ 0 w 76"/>
                <a:gd name="T9" fmla="*/ 1 h 108"/>
                <a:gd name="T10" fmla="*/ 0 w 76"/>
                <a:gd name="T11" fmla="*/ 2 h 108"/>
                <a:gd name="T12" fmla="*/ 2 w 76"/>
                <a:gd name="T13" fmla="*/ 2 h 108"/>
                <a:gd name="T14" fmla="*/ 3 w 76"/>
                <a:gd name="T15" fmla="*/ 1 h 108"/>
                <a:gd name="T16" fmla="*/ 2 w 76"/>
                <a:gd name="T17" fmla="*/ 1 h 108"/>
                <a:gd name="T18" fmla="*/ 3 w 76"/>
                <a:gd name="T19" fmla="*/ 0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6" h="108">
                  <a:moveTo>
                    <a:pt x="75" y="15"/>
                  </a:moveTo>
                  <a:lnTo>
                    <a:pt x="60" y="0"/>
                  </a:lnTo>
                  <a:lnTo>
                    <a:pt x="45" y="31"/>
                  </a:lnTo>
                  <a:lnTo>
                    <a:pt x="15" y="31"/>
                  </a:lnTo>
                  <a:lnTo>
                    <a:pt x="15" y="46"/>
                  </a:lnTo>
                  <a:lnTo>
                    <a:pt x="0" y="107"/>
                  </a:lnTo>
                  <a:lnTo>
                    <a:pt x="60" y="76"/>
                  </a:lnTo>
                  <a:lnTo>
                    <a:pt x="75" y="61"/>
                  </a:lnTo>
                  <a:lnTo>
                    <a:pt x="45" y="31"/>
                  </a:lnTo>
                  <a:lnTo>
                    <a:pt x="75" y="15"/>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97" name="Freeform 222"/>
            <p:cNvSpPr>
              <a:spLocks/>
            </p:cNvSpPr>
            <p:nvPr/>
          </p:nvSpPr>
          <p:spPr bwMode="auto">
            <a:xfrm>
              <a:off x="1300" y="1547"/>
              <a:ext cx="135" cy="53"/>
            </a:xfrm>
            <a:custGeom>
              <a:avLst/>
              <a:gdLst>
                <a:gd name="T0" fmla="*/ 6 w 315"/>
                <a:gd name="T1" fmla="*/ 3 h 139"/>
                <a:gd name="T2" fmla="*/ 6 w 315"/>
                <a:gd name="T3" fmla="*/ 3 h 139"/>
                <a:gd name="T4" fmla="*/ 6 w 315"/>
                <a:gd name="T5" fmla="*/ 3 h 139"/>
                <a:gd name="T6" fmla="*/ 9 w 315"/>
                <a:gd name="T7" fmla="*/ 2 h 139"/>
                <a:gd name="T8" fmla="*/ 11 w 315"/>
                <a:gd name="T9" fmla="*/ 2 h 139"/>
                <a:gd name="T10" fmla="*/ 10 w 315"/>
                <a:gd name="T11" fmla="*/ 1 h 139"/>
                <a:gd name="T12" fmla="*/ 11 w 315"/>
                <a:gd name="T13" fmla="*/ 1 h 139"/>
                <a:gd name="T14" fmla="*/ 11 w 315"/>
                <a:gd name="T15" fmla="*/ 1 h 139"/>
                <a:gd name="T16" fmla="*/ 10 w 315"/>
                <a:gd name="T17" fmla="*/ 1 h 139"/>
                <a:gd name="T18" fmla="*/ 10 w 315"/>
                <a:gd name="T19" fmla="*/ 0 h 139"/>
                <a:gd name="T20" fmla="*/ 9 w 315"/>
                <a:gd name="T21" fmla="*/ 0 h 139"/>
                <a:gd name="T22" fmla="*/ 9 w 315"/>
                <a:gd name="T23" fmla="*/ 0 h 139"/>
                <a:gd name="T24" fmla="*/ 8 w 315"/>
                <a:gd name="T25" fmla="*/ 1 h 139"/>
                <a:gd name="T26" fmla="*/ 7 w 315"/>
                <a:gd name="T27" fmla="*/ 0 h 139"/>
                <a:gd name="T28" fmla="*/ 7 w 315"/>
                <a:gd name="T29" fmla="*/ 1 h 139"/>
                <a:gd name="T30" fmla="*/ 5 w 315"/>
                <a:gd name="T31" fmla="*/ 0 h 139"/>
                <a:gd name="T32" fmla="*/ 3 w 315"/>
                <a:gd name="T33" fmla="*/ 0 h 139"/>
                <a:gd name="T34" fmla="*/ 3 w 315"/>
                <a:gd name="T35" fmla="*/ 1 h 139"/>
                <a:gd name="T36" fmla="*/ 1 w 315"/>
                <a:gd name="T37" fmla="*/ 1 h 139"/>
                <a:gd name="T38" fmla="*/ 1 w 315"/>
                <a:gd name="T39" fmla="*/ 1 h 139"/>
                <a:gd name="T40" fmla="*/ 0 w 315"/>
                <a:gd name="T41" fmla="*/ 1 h 139"/>
                <a:gd name="T42" fmla="*/ 0 w 315"/>
                <a:gd name="T43" fmla="*/ 1 h 139"/>
                <a:gd name="T44" fmla="*/ 0 w 315"/>
                <a:gd name="T45" fmla="*/ 2 h 139"/>
                <a:gd name="T46" fmla="*/ 0 w 315"/>
                <a:gd name="T47" fmla="*/ 2 h 139"/>
                <a:gd name="T48" fmla="*/ 0 w 315"/>
                <a:gd name="T49" fmla="*/ 2 h 139"/>
                <a:gd name="T50" fmla="*/ 0 w 315"/>
                <a:gd name="T51" fmla="*/ 2 h 139"/>
                <a:gd name="T52" fmla="*/ 0 w 315"/>
                <a:gd name="T53" fmla="*/ 2 h 139"/>
                <a:gd name="T54" fmla="*/ 1 w 315"/>
                <a:gd name="T55" fmla="*/ 3 h 139"/>
                <a:gd name="T56" fmla="*/ 3 w 315"/>
                <a:gd name="T57" fmla="*/ 3 h 139"/>
                <a:gd name="T58" fmla="*/ 3 w 315"/>
                <a:gd name="T59" fmla="*/ 3 h 139"/>
                <a:gd name="T60" fmla="*/ 3 w 315"/>
                <a:gd name="T61" fmla="*/ 3 h 139"/>
                <a:gd name="T62" fmla="*/ 5 w 315"/>
                <a:gd name="T63" fmla="*/ 2 h 139"/>
                <a:gd name="T64" fmla="*/ 6 w 315"/>
                <a:gd name="T65" fmla="*/ 2 h 139"/>
                <a:gd name="T66" fmla="*/ 6 w 315"/>
                <a:gd name="T67" fmla="*/ 3 h 1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15" h="139">
                  <a:moveTo>
                    <a:pt x="164" y="138"/>
                  </a:moveTo>
                  <a:lnTo>
                    <a:pt x="179" y="138"/>
                  </a:lnTo>
                  <a:lnTo>
                    <a:pt x="194" y="123"/>
                  </a:lnTo>
                  <a:lnTo>
                    <a:pt x="269" y="92"/>
                  </a:lnTo>
                  <a:lnTo>
                    <a:pt x="314" y="92"/>
                  </a:lnTo>
                  <a:lnTo>
                    <a:pt x="299" y="61"/>
                  </a:lnTo>
                  <a:lnTo>
                    <a:pt x="314" y="46"/>
                  </a:lnTo>
                  <a:lnTo>
                    <a:pt x="314" y="31"/>
                  </a:lnTo>
                  <a:lnTo>
                    <a:pt x="299" y="31"/>
                  </a:lnTo>
                  <a:lnTo>
                    <a:pt x="299" y="15"/>
                  </a:lnTo>
                  <a:lnTo>
                    <a:pt x="284" y="0"/>
                  </a:lnTo>
                  <a:lnTo>
                    <a:pt x="254" y="0"/>
                  </a:lnTo>
                  <a:lnTo>
                    <a:pt x="224" y="31"/>
                  </a:lnTo>
                  <a:lnTo>
                    <a:pt x="209" y="15"/>
                  </a:lnTo>
                  <a:lnTo>
                    <a:pt x="209" y="31"/>
                  </a:lnTo>
                  <a:lnTo>
                    <a:pt x="150" y="0"/>
                  </a:lnTo>
                  <a:lnTo>
                    <a:pt x="105" y="0"/>
                  </a:lnTo>
                  <a:lnTo>
                    <a:pt x="75" y="31"/>
                  </a:lnTo>
                  <a:lnTo>
                    <a:pt x="45" y="31"/>
                  </a:lnTo>
                  <a:lnTo>
                    <a:pt x="30" y="46"/>
                  </a:lnTo>
                  <a:lnTo>
                    <a:pt x="0" y="46"/>
                  </a:lnTo>
                  <a:lnTo>
                    <a:pt x="0" y="61"/>
                  </a:lnTo>
                  <a:lnTo>
                    <a:pt x="15" y="77"/>
                  </a:lnTo>
                  <a:lnTo>
                    <a:pt x="0" y="77"/>
                  </a:lnTo>
                  <a:lnTo>
                    <a:pt x="15" y="92"/>
                  </a:lnTo>
                  <a:lnTo>
                    <a:pt x="0" y="92"/>
                  </a:lnTo>
                  <a:lnTo>
                    <a:pt x="15" y="107"/>
                  </a:lnTo>
                  <a:lnTo>
                    <a:pt x="30" y="138"/>
                  </a:lnTo>
                  <a:lnTo>
                    <a:pt x="75" y="138"/>
                  </a:lnTo>
                  <a:lnTo>
                    <a:pt x="90" y="123"/>
                  </a:lnTo>
                  <a:lnTo>
                    <a:pt x="105" y="138"/>
                  </a:lnTo>
                  <a:lnTo>
                    <a:pt x="150" y="107"/>
                  </a:lnTo>
                  <a:lnTo>
                    <a:pt x="164" y="107"/>
                  </a:lnTo>
                  <a:lnTo>
                    <a:pt x="164" y="138"/>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98" name="Freeform 223"/>
            <p:cNvSpPr>
              <a:spLocks/>
            </p:cNvSpPr>
            <p:nvPr/>
          </p:nvSpPr>
          <p:spPr bwMode="auto">
            <a:xfrm>
              <a:off x="1300" y="1547"/>
              <a:ext cx="20" cy="11"/>
            </a:xfrm>
            <a:custGeom>
              <a:avLst/>
              <a:gdLst>
                <a:gd name="T0" fmla="*/ 0 w 46"/>
                <a:gd name="T1" fmla="*/ 0 h 31"/>
                <a:gd name="T2" fmla="*/ 0 w 46"/>
                <a:gd name="T3" fmla="*/ 0 h 31"/>
                <a:gd name="T4" fmla="*/ 0 w 46"/>
                <a:gd name="T5" fmla="*/ 0 h 31"/>
                <a:gd name="T6" fmla="*/ 0 w 46"/>
                <a:gd name="T7" fmla="*/ 0 h 31"/>
                <a:gd name="T8" fmla="*/ 1 w 46"/>
                <a:gd name="T9" fmla="*/ 0 h 31"/>
                <a:gd name="T10" fmla="*/ 2 w 46"/>
                <a:gd name="T11" fmla="*/ 0 h 31"/>
                <a:gd name="T12" fmla="*/ 0 w 46"/>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31">
                  <a:moveTo>
                    <a:pt x="15" y="0"/>
                  </a:moveTo>
                  <a:lnTo>
                    <a:pt x="0" y="15"/>
                  </a:lnTo>
                  <a:lnTo>
                    <a:pt x="0" y="30"/>
                  </a:lnTo>
                  <a:lnTo>
                    <a:pt x="15" y="30"/>
                  </a:lnTo>
                  <a:lnTo>
                    <a:pt x="30" y="30"/>
                  </a:lnTo>
                  <a:lnTo>
                    <a:pt x="45" y="15"/>
                  </a:lnTo>
                  <a:lnTo>
                    <a:pt x="15"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599" name="Freeform 224"/>
            <p:cNvSpPr>
              <a:spLocks/>
            </p:cNvSpPr>
            <p:nvPr/>
          </p:nvSpPr>
          <p:spPr bwMode="auto">
            <a:xfrm>
              <a:off x="1391" y="1582"/>
              <a:ext cx="83" cy="70"/>
            </a:xfrm>
            <a:custGeom>
              <a:avLst/>
              <a:gdLst>
                <a:gd name="T0" fmla="*/ 3 w 194"/>
                <a:gd name="T1" fmla="*/ 0 h 185"/>
                <a:gd name="T2" fmla="*/ 2 w 194"/>
                <a:gd name="T3" fmla="*/ 0 h 185"/>
                <a:gd name="T4" fmla="*/ 3 w 194"/>
                <a:gd name="T5" fmla="*/ 0 h 185"/>
                <a:gd name="T6" fmla="*/ 2 w 194"/>
                <a:gd name="T7" fmla="*/ 1 h 185"/>
                <a:gd name="T8" fmla="*/ 1 w 194"/>
                <a:gd name="T9" fmla="*/ 1 h 185"/>
                <a:gd name="T10" fmla="*/ 0 w 194"/>
                <a:gd name="T11" fmla="*/ 2 h 185"/>
                <a:gd name="T12" fmla="*/ 0 w 194"/>
                <a:gd name="T13" fmla="*/ 2 h 185"/>
                <a:gd name="T14" fmla="*/ 1 w 194"/>
                <a:gd name="T15" fmla="*/ 3 h 185"/>
                <a:gd name="T16" fmla="*/ 3 w 194"/>
                <a:gd name="T17" fmla="*/ 3 h 185"/>
                <a:gd name="T18" fmla="*/ 3 w 194"/>
                <a:gd name="T19" fmla="*/ 3 h 185"/>
                <a:gd name="T20" fmla="*/ 3 w 194"/>
                <a:gd name="T21" fmla="*/ 3 h 185"/>
                <a:gd name="T22" fmla="*/ 4 w 194"/>
                <a:gd name="T23" fmla="*/ 4 h 185"/>
                <a:gd name="T24" fmla="*/ 6 w 194"/>
                <a:gd name="T25" fmla="*/ 4 h 185"/>
                <a:gd name="T26" fmla="*/ 6 w 194"/>
                <a:gd name="T27" fmla="*/ 3 h 185"/>
                <a:gd name="T28" fmla="*/ 6 w 194"/>
                <a:gd name="T29" fmla="*/ 3 h 185"/>
                <a:gd name="T30" fmla="*/ 6 w 194"/>
                <a:gd name="T31" fmla="*/ 3 h 185"/>
                <a:gd name="T32" fmla="*/ 6 w 194"/>
                <a:gd name="T33" fmla="*/ 2 h 185"/>
                <a:gd name="T34" fmla="*/ 4 w 194"/>
                <a:gd name="T35" fmla="*/ 2 h 185"/>
                <a:gd name="T36" fmla="*/ 4 w 194"/>
                <a:gd name="T37" fmla="*/ 1 h 185"/>
                <a:gd name="T38" fmla="*/ 4 w 194"/>
                <a:gd name="T39" fmla="*/ 1 h 185"/>
                <a:gd name="T40" fmla="*/ 4 w 194"/>
                <a:gd name="T41" fmla="*/ 0 h 185"/>
                <a:gd name="T42" fmla="*/ 3 w 194"/>
                <a:gd name="T43" fmla="*/ 0 h 18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4" h="185">
                  <a:moveTo>
                    <a:pt x="104" y="0"/>
                  </a:moveTo>
                  <a:lnTo>
                    <a:pt x="59" y="0"/>
                  </a:lnTo>
                  <a:lnTo>
                    <a:pt x="74" y="15"/>
                  </a:lnTo>
                  <a:lnTo>
                    <a:pt x="59" y="31"/>
                  </a:lnTo>
                  <a:lnTo>
                    <a:pt x="45" y="61"/>
                  </a:lnTo>
                  <a:lnTo>
                    <a:pt x="0" y="92"/>
                  </a:lnTo>
                  <a:lnTo>
                    <a:pt x="15" y="107"/>
                  </a:lnTo>
                  <a:lnTo>
                    <a:pt x="30" y="123"/>
                  </a:lnTo>
                  <a:lnTo>
                    <a:pt x="89" y="138"/>
                  </a:lnTo>
                  <a:lnTo>
                    <a:pt x="89" y="153"/>
                  </a:lnTo>
                  <a:lnTo>
                    <a:pt x="104" y="153"/>
                  </a:lnTo>
                  <a:lnTo>
                    <a:pt x="119" y="184"/>
                  </a:lnTo>
                  <a:lnTo>
                    <a:pt x="163" y="184"/>
                  </a:lnTo>
                  <a:lnTo>
                    <a:pt x="178" y="153"/>
                  </a:lnTo>
                  <a:lnTo>
                    <a:pt x="193" y="169"/>
                  </a:lnTo>
                  <a:lnTo>
                    <a:pt x="193" y="153"/>
                  </a:lnTo>
                  <a:lnTo>
                    <a:pt x="163" y="107"/>
                  </a:lnTo>
                  <a:lnTo>
                    <a:pt x="134" y="77"/>
                  </a:lnTo>
                  <a:lnTo>
                    <a:pt x="134" y="46"/>
                  </a:lnTo>
                  <a:lnTo>
                    <a:pt x="134" y="31"/>
                  </a:lnTo>
                  <a:lnTo>
                    <a:pt x="119" y="15"/>
                  </a:lnTo>
                  <a:lnTo>
                    <a:pt x="104"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00" name="Freeform 225"/>
            <p:cNvSpPr>
              <a:spLocks/>
            </p:cNvSpPr>
            <p:nvPr/>
          </p:nvSpPr>
          <p:spPr bwMode="auto">
            <a:xfrm>
              <a:off x="1365" y="1622"/>
              <a:ext cx="166" cy="129"/>
            </a:xfrm>
            <a:custGeom>
              <a:avLst/>
              <a:gdLst>
                <a:gd name="T0" fmla="*/ 10 w 388"/>
                <a:gd name="T1" fmla="*/ 3 h 340"/>
                <a:gd name="T2" fmla="*/ 10 w 388"/>
                <a:gd name="T3" fmla="*/ 4 h 340"/>
                <a:gd name="T4" fmla="*/ 10 w 388"/>
                <a:gd name="T5" fmla="*/ 3 h 340"/>
                <a:gd name="T6" fmla="*/ 11 w 388"/>
                <a:gd name="T7" fmla="*/ 4 h 340"/>
                <a:gd name="T8" fmla="*/ 11 w 388"/>
                <a:gd name="T9" fmla="*/ 4 h 340"/>
                <a:gd name="T10" fmla="*/ 12 w 388"/>
                <a:gd name="T11" fmla="*/ 4 h 340"/>
                <a:gd name="T12" fmla="*/ 13 w 388"/>
                <a:gd name="T13" fmla="*/ 5 h 340"/>
                <a:gd name="T14" fmla="*/ 13 w 388"/>
                <a:gd name="T15" fmla="*/ 5 h 340"/>
                <a:gd name="T16" fmla="*/ 12 w 388"/>
                <a:gd name="T17" fmla="*/ 6 h 340"/>
                <a:gd name="T18" fmla="*/ 9 w 388"/>
                <a:gd name="T19" fmla="*/ 7 h 340"/>
                <a:gd name="T20" fmla="*/ 8 w 388"/>
                <a:gd name="T21" fmla="*/ 7 h 340"/>
                <a:gd name="T22" fmla="*/ 6 w 388"/>
                <a:gd name="T23" fmla="*/ 7 h 340"/>
                <a:gd name="T24" fmla="*/ 6 w 388"/>
                <a:gd name="T25" fmla="*/ 7 h 340"/>
                <a:gd name="T26" fmla="*/ 4 w 388"/>
                <a:gd name="T27" fmla="*/ 6 h 340"/>
                <a:gd name="T28" fmla="*/ 4 w 388"/>
                <a:gd name="T29" fmla="*/ 5 h 340"/>
                <a:gd name="T30" fmla="*/ 3 w 388"/>
                <a:gd name="T31" fmla="*/ 5 h 340"/>
                <a:gd name="T32" fmla="*/ 3 w 388"/>
                <a:gd name="T33" fmla="*/ 5 h 340"/>
                <a:gd name="T34" fmla="*/ 3 w 388"/>
                <a:gd name="T35" fmla="*/ 5 h 340"/>
                <a:gd name="T36" fmla="*/ 3 w 388"/>
                <a:gd name="T37" fmla="*/ 4 h 340"/>
                <a:gd name="T38" fmla="*/ 2 w 388"/>
                <a:gd name="T39" fmla="*/ 4 h 340"/>
                <a:gd name="T40" fmla="*/ 2 w 388"/>
                <a:gd name="T41" fmla="*/ 3 h 340"/>
                <a:gd name="T42" fmla="*/ 0 w 388"/>
                <a:gd name="T43" fmla="*/ 2 h 340"/>
                <a:gd name="T44" fmla="*/ 0 w 388"/>
                <a:gd name="T45" fmla="*/ 2 h 340"/>
                <a:gd name="T46" fmla="*/ 2 w 388"/>
                <a:gd name="T47" fmla="*/ 1 h 340"/>
                <a:gd name="T48" fmla="*/ 3 w 388"/>
                <a:gd name="T49" fmla="*/ 1 h 340"/>
                <a:gd name="T50" fmla="*/ 1 w 388"/>
                <a:gd name="T51" fmla="*/ 0 h 340"/>
                <a:gd name="T52" fmla="*/ 3 w 388"/>
                <a:gd name="T53" fmla="*/ 0 h 340"/>
                <a:gd name="T54" fmla="*/ 3 w 388"/>
                <a:gd name="T55" fmla="*/ 0 h 340"/>
                <a:gd name="T56" fmla="*/ 5 w 388"/>
                <a:gd name="T57" fmla="*/ 1 h 340"/>
                <a:gd name="T58" fmla="*/ 5 w 388"/>
                <a:gd name="T59" fmla="*/ 1 h 340"/>
                <a:gd name="T60" fmla="*/ 6 w 388"/>
                <a:gd name="T61" fmla="*/ 1 h 340"/>
                <a:gd name="T62" fmla="*/ 6 w 388"/>
                <a:gd name="T63" fmla="*/ 2 h 340"/>
                <a:gd name="T64" fmla="*/ 7 w 388"/>
                <a:gd name="T65" fmla="*/ 2 h 340"/>
                <a:gd name="T66" fmla="*/ 8 w 388"/>
                <a:gd name="T67" fmla="*/ 2 h 340"/>
                <a:gd name="T68" fmla="*/ 8 w 388"/>
                <a:gd name="T69" fmla="*/ 2 h 340"/>
                <a:gd name="T70" fmla="*/ 9 w 388"/>
                <a:gd name="T71" fmla="*/ 2 h 340"/>
                <a:gd name="T72" fmla="*/ 9 w 388"/>
                <a:gd name="T73" fmla="*/ 2 h 340"/>
                <a:gd name="T74" fmla="*/ 10 w 388"/>
                <a:gd name="T75" fmla="*/ 3 h 34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88" h="340">
                  <a:moveTo>
                    <a:pt x="298" y="170"/>
                  </a:moveTo>
                  <a:lnTo>
                    <a:pt x="313" y="185"/>
                  </a:lnTo>
                  <a:lnTo>
                    <a:pt x="298" y="170"/>
                  </a:lnTo>
                  <a:lnTo>
                    <a:pt x="327" y="185"/>
                  </a:lnTo>
                  <a:lnTo>
                    <a:pt x="327" y="200"/>
                  </a:lnTo>
                  <a:lnTo>
                    <a:pt x="372" y="200"/>
                  </a:lnTo>
                  <a:lnTo>
                    <a:pt x="387" y="216"/>
                  </a:lnTo>
                  <a:lnTo>
                    <a:pt x="387" y="247"/>
                  </a:lnTo>
                  <a:lnTo>
                    <a:pt x="342" y="293"/>
                  </a:lnTo>
                  <a:lnTo>
                    <a:pt x="268" y="324"/>
                  </a:lnTo>
                  <a:lnTo>
                    <a:pt x="238" y="339"/>
                  </a:lnTo>
                  <a:lnTo>
                    <a:pt x="179" y="324"/>
                  </a:lnTo>
                  <a:lnTo>
                    <a:pt x="164" y="339"/>
                  </a:lnTo>
                  <a:lnTo>
                    <a:pt x="134" y="308"/>
                  </a:lnTo>
                  <a:lnTo>
                    <a:pt x="119" y="262"/>
                  </a:lnTo>
                  <a:lnTo>
                    <a:pt x="104" y="262"/>
                  </a:lnTo>
                  <a:lnTo>
                    <a:pt x="104" y="231"/>
                  </a:lnTo>
                  <a:lnTo>
                    <a:pt x="104" y="216"/>
                  </a:lnTo>
                  <a:lnTo>
                    <a:pt x="74" y="185"/>
                  </a:lnTo>
                  <a:lnTo>
                    <a:pt x="60" y="185"/>
                  </a:lnTo>
                  <a:lnTo>
                    <a:pt x="60" y="170"/>
                  </a:lnTo>
                  <a:lnTo>
                    <a:pt x="15" y="92"/>
                  </a:lnTo>
                  <a:lnTo>
                    <a:pt x="0" y="92"/>
                  </a:lnTo>
                  <a:lnTo>
                    <a:pt x="60" y="62"/>
                  </a:lnTo>
                  <a:lnTo>
                    <a:pt x="74" y="46"/>
                  </a:lnTo>
                  <a:lnTo>
                    <a:pt x="45" y="15"/>
                  </a:lnTo>
                  <a:lnTo>
                    <a:pt x="74" y="0"/>
                  </a:lnTo>
                  <a:lnTo>
                    <a:pt x="89" y="15"/>
                  </a:lnTo>
                  <a:lnTo>
                    <a:pt x="149" y="31"/>
                  </a:lnTo>
                  <a:lnTo>
                    <a:pt x="149" y="46"/>
                  </a:lnTo>
                  <a:lnTo>
                    <a:pt x="164" y="46"/>
                  </a:lnTo>
                  <a:lnTo>
                    <a:pt x="179" y="77"/>
                  </a:lnTo>
                  <a:lnTo>
                    <a:pt x="208" y="77"/>
                  </a:lnTo>
                  <a:lnTo>
                    <a:pt x="223" y="92"/>
                  </a:lnTo>
                  <a:lnTo>
                    <a:pt x="238" y="92"/>
                  </a:lnTo>
                  <a:lnTo>
                    <a:pt x="253" y="92"/>
                  </a:lnTo>
                  <a:lnTo>
                    <a:pt x="268" y="92"/>
                  </a:lnTo>
                  <a:lnTo>
                    <a:pt x="298" y="17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01" name="Freeform 226"/>
            <p:cNvSpPr>
              <a:spLocks/>
            </p:cNvSpPr>
            <p:nvPr/>
          </p:nvSpPr>
          <p:spPr bwMode="auto">
            <a:xfrm>
              <a:off x="1628" y="1564"/>
              <a:ext cx="205" cy="245"/>
            </a:xfrm>
            <a:custGeom>
              <a:avLst/>
              <a:gdLst>
                <a:gd name="T0" fmla="*/ 5 w 478"/>
                <a:gd name="T1" fmla="*/ 1 h 646"/>
                <a:gd name="T2" fmla="*/ 3 w 478"/>
                <a:gd name="T3" fmla="*/ 2 h 646"/>
                <a:gd name="T4" fmla="*/ 3 w 478"/>
                <a:gd name="T5" fmla="*/ 3 h 646"/>
                <a:gd name="T6" fmla="*/ 3 w 478"/>
                <a:gd name="T7" fmla="*/ 3 h 646"/>
                <a:gd name="T8" fmla="*/ 1 w 478"/>
                <a:gd name="T9" fmla="*/ 5 h 646"/>
                <a:gd name="T10" fmla="*/ 1 w 478"/>
                <a:gd name="T11" fmla="*/ 5 h 646"/>
                <a:gd name="T12" fmla="*/ 0 w 478"/>
                <a:gd name="T13" fmla="*/ 5 h 646"/>
                <a:gd name="T14" fmla="*/ 1 w 478"/>
                <a:gd name="T15" fmla="*/ 6 h 646"/>
                <a:gd name="T16" fmla="*/ 0 w 478"/>
                <a:gd name="T17" fmla="*/ 7 h 646"/>
                <a:gd name="T18" fmla="*/ 1 w 478"/>
                <a:gd name="T19" fmla="*/ 8 h 646"/>
                <a:gd name="T20" fmla="*/ 2 w 478"/>
                <a:gd name="T21" fmla="*/ 8 h 646"/>
                <a:gd name="T22" fmla="*/ 3 w 478"/>
                <a:gd name="T23" fmla="*/ 7 h 646"/>
                <a:gd name="T24" fmla="*/ 3 w 478"/>
                <a:gd name="T25" fmla="*/ 8 h 646"/>
                <a:gd name="T26" fmla="*/ 4 w 478"/>
                <a:gd name="T27" fmla="*/ 11 h 646"/>
                <a:gd name="T28" fmla="*/ 6 w 478"/>
                <a:gd name="T29" fmla="*/ 13 h 646"/>
                <a:gd name="T30" fmla="*/ 6 w 478"/>
                <a:gd name="T31" fmla="*/ 13 h 646"/>
                <a:gd name="T32" fmla="*/ 8 w 478"/>
                <a:gd name="T33" fmla="*/ 13 h 646"/>
                <a:gd name="T34" fmla="*/ 8 w 478"/>
                <a:gd name="T35" fmla="*/ 11 h 646"/>
                <a:gd name="T36" fmla="*/ 8 w 478"/>
                <a:gd name="T37" fmla="*/ 10 h 646"/>
                <a:gd name="T38" fmla="*/ 9 w 478"/>
                <a:gd name="T39" fmla="*/ 9 h 646"/>
                <a:gd name="T40" fmla="*/ 11 w 478"/>
                <a:gd name="T41" fmla="*/ 8 h 646"/>
                <a:gd name="T42" fmla="*/ 12 w 478"/>
                <a:gd name="T43" fmla="*/ 7 h 646"/>
                <a:gd name="T44" fmla="*/ 12 w 478"/>
                <a:gd name="T45" fmla="*/ 6 h 646"/>
                <a:gd name="T46" fmla="*/ 11 w 478"/>
                <a:gd name="T47" fmla="*/ 5 h 646"/>
                <a:gd name="T48" fmla="*/ 13 w 478"/>
                <a:gd name="T49" fmla="*/ 5 h 646"/>
                <a:gd name="T50" fmla="*/ 14 w 478"/>
                <a:gd name="T51" fmla="*/ 6 h 646"/>
                <a:gd name="T52" fmla="*/ 14 w 478"/>
                <a:gd name="T53" fmla="*/ 6 h 646"/>
                <a:gd name="T54" fmla="*/ 15 w 478"/>
                <a:gd name="T55" fmla="*/ 7 h 646"/>
                <a:gd name="T56" fmla="*/ 15 w 478"/>
                <a:gd name="T57" fmla="*/ 6 h 646"/>
                <a:gd name="T58" fmla="*/ 15 w 478"/>
                <a:gd name="T59" fmla="*/ 5 h 646"/>
                <a:gd name="T60" fmla="*/ 16 w 478"/>
                <a:gd name="T61" fmla="*/ 3 h 646"/>
                <a:gd name="T62" fmla="*/ 15 w 478"/>
                <a:gd name="T63" fmla="*/ 4 h 646"/>
                <a:gd name="T64" fmla="*/ 13 w 478"/>
                <a:gd name="T65" fmla="*/ 4 h 646"/>
                <a:gd name="T66" fmla="*/ 13 w 478"/>
                <a:gd name="T67" fmla="*/ 5 h 646"/>
                <a:gd name="T68" fmla="*/ 12 w 478"/>
                <a:gd name="T69" fmla="*/ 5 h 646"/>
                <a:gd name="T70" fmla="*/ 11 w 478"/>
                <a:gd name="T71" fmla="*/ 5 h 646"/>
                <a:gd name="T72" fmla="*/ 9 w 478"/>
                <a:gd name="T73" fmla="*/ 5 h 646"/>
                <a:gd name="T74" fmla="*/ 6 w 478"/>
                <a:gd name="T75" fmla="*/ 4 h 646"/>
                <a:gd name="T76" fmla="*/ 6 w 478"/>
                <a:gd name="T77" fmla="*/ 3 h 6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78" h="646">
                  <a:moveTo>
                    <a:pt x="149" y="108"/>
                  </a:moveTo>
                  <a:lnTo>
                    <a:pt x="149" y="61"/>
                  </a:lnTo>
                  <a:lnTo>
                    <a:pt x="60" y="0"/>
                  </a:lnTo>
                  <a:lnTo>
                    <a:pt x="104" y="77"/>
                  </a:lnTo>
                  <a:lnTo>
                    <a:pt x="75" y="108"/>
                  </a:lnTo>
                  <a:lnTo>
                    <a:pt x="89" y="123"/>
                  </a:lnTo>
                  <a:lnTo>
                    <a:pt x="89" y="138"/>
                  </a:lnTo>
                  <a:lnTo>
                    <a:pt x="75" y="154"/>
                  </a:lnTo>
                  <a:lnTo>
                    <a:pt x="60" y="200"/>
                  </a:lnTo>
                  <a:lnTo>
                    <a:pt x="45" y="215"/>
                  </a:lnTo>
                  <a:lnTo>
                    <a:pt x="45" y="230"/>
                  </a:lnTo>
                  <a:lnTo>
                    <a:pt x="30" y="230"/>
                  </a:lnTo>
                  <a:lnTo>
                    <a:pt x="15" y="230"/>
                  </a:lnTo>
                  <a:lnTo>
                    <a:pt x="15" y="246"/>
                  </a:lnTo>
                  <a:lnTo>
                    <a:pt x="15" y="261"/>
                  </a:lnTo>
                  <a:lnTo>
                    <a:pt x="30" y="292"/>
                  </a:lnTo>
                  <a:lnTo>
                    <a:pt x="0" y="323"/>
                  </a:lnTo>
                  <a:lnTo>
                    <a:pt x="15" y="338"/>
                  </a:lnTo>
                  <a:lnTo>
                    <a:pt x="15" y="353"/>
                  </a:lnTo>
                  <a:lnTo>
                    <a:pt x="30" y="384"/>
                  </a:lnTo>
                  <a:lnTo>
                    <a:pt x="60" y="384"/>
                  </a:lnTo>
                  <a:lnTo>
                    <a:pt x="60" y="369"/>
                  </a:lnTo>
                  <a:lnTo>
                    <a:pt x="60" y="353"/>
                  </a:lnTo>
                  <a:lnTo>
                    <a:pt x="75" y="353"/>
                  </a:lnTo>
                  <a:lnTo>
                    <a:pt x="89" y="399"/>
                  </a:lnTo>
                  <a:lnTo>
                    <a:pt x="75" y="399"/>
                  </a:lnTo>
                  <a:lnTo>
                    <a:pt x="104" y="461"/>
                  </a:lnTo>
                  <a:lnTo>
                    <a:pt x="134" y="522"/>
                  </a:lnTo>
                  <a:lnTo>
                    <a:pt x="149" y="553"/>
                  </a:lnTo>
                  <a:lnTo>
                    <a:pt x="164" y="599"/>
                  </a:lnTo>
                  <a:lnTo>
                    <a:pt x="179" y="645"/>
                  </a:lnTo>
                  <a:lnTo>
                    <a:pt x="194" y="630"/>
                  </a:lnTo>
                  <a:lnTo>
                    <a:pt x="209" y="630"/>
                  </a:lnTo>
                  <a:lnTo>
                    <a:pt x="224" y="599"/>
                  </a:lnTo>
                  <a:lnTo>
                    <a:pt x="224" y="568"/>
                  </a:lnTo>
                  <a:lnTo>
                    <a:pt x="224" y="538"/>
                  </a:lnTo>
                  <a:lnTo>
                    <a:pt x="224" y="476"/>
                  </a:lnTo>
                  <a:lnTo>
                    <a:pt x="239" y="476"/>
                  </a:lnTo>
                  <a:lnTo>
                    <a:pt x="253" y="461"/>
                  </a:lnTo>
                  <a:lnTo>
                    <a:pt x="253" y="445"/>
                  </a:lnTo>
                  <a:lnTo>
                    <a:pt x="283" y="415"/>
                  </a:lnTo>
                  <a:lnTo>
                    <a:pt x="328" y="384"/>
                  </a:lnTo>
                  <a:lnTo>
                    <a:pt x="328" y="353"/>
                  </a:lnTo>
                  <a:lnTo>
                    <a:pt x="343" y="353"/>
                  </a:lnTo>
                  <a:lnTo>
                    <a:pt x="373" y="338"/>
                  </a:lnTo>
                  <a:lnTo>
                    <a:pt x="343" y="292"/>
                  </a:lnTo>
                  <a:lnTo>
                    <a:pt x="343" y="261"/>
                  </a:lnTo>
                  <a:lnTo>
                    <a:pt x="328" y="246"/>
                  </a:lnTo>
                  <a:lnTo>
                    <a:pt x="373" y="246"/>
                  </a:lnTo>
                  <a:lnTo>
                    <a:pt x="373" y="261"/>
                  </a:lnTo>
                  <a:lnTo>
                    <a:pt x="417" y="261"/>
                  </a:lnTo>
                  <a:lnTo>
                    <a:pt x="417" y="292"/>
                  </a:lnTo>
                  <a:lnTo>
                    <a:pt x="402" y="292"/>
                  </a:lnTo>
                  <a:lnTo>
                    <a:pt x="417" y="307"/>
                  </a:lnTo>
                  <a:lnTo>
                    <a:pt x="417" y="338"/>
                  </a:lnTo>
                  <a:lnTo>
                    <a:pt x="432" y="338"/>
                  </a:lnTo>
                  <a:lnTo>
                    <a:pt x="432" y="292"/>
                  </a:lnTo>
                  <a:lnTo>
                    <a:pt x="447" y="292"/>
                  </a:lnTo>
                  <a:lnTo>
                    <a:pt x="447" y="246"/>
                  </a:lnTo>
                  <a:lnTo>
                    <a:pt x="462" y="230"/>
                  </a:lnTo>
                  <a:lnTo>
                    <a:pt x="477" y="184"/>
                  </a:lnTo>
                  <a:lnTo>
                    <a:pt x="477" y="169"/>
                  </a:lnTo>
                  <a:lnTo>
                    <a:pt x="462" y="169"/>
                  </a:lnTo>
                  <a:lnTo>
                    <a:pt x="447" y="184"/>
                  </a:lnTo>
                  <a:lnTo>
                    <a:pt x="432" y="169"/>
                  </a:lnTo>
                  <a:lnTo>
                    <a:pt x="388" y="200"/>
                  </a:lnTo>
                  <a:lnTo>
                    <a:pt x="388" y="215"/>
                  </a:lnTo>
                  <a:lnTo>
                    <a:pt x="388" y="230"/>
                  </a:lnTo>
                  <a:lnTo>
                    <a:pt x="343" y="230"/>
                  </a:lnTo>
                  <a:lnTo>
                    <a:pt x="343" y="215"/>
                  </a:lnTo>
                  <a:lnTo>
                    <a:pt x="328" y="200"/>
                  </a:lnTo>
                  <a:lnTo>
                    <a:pt x="328" y="215"/>
                  </a:lnTo>
                  <a:lnTo>
                    <a:pt x="328" y="230"/>
                  </a:lnTo>
                  <a:lnTo>
                    <a:pt x="283" y="246"/>
                  </a:lnTo>
                  <a:lnTo>
                    <a:pt x="239" y="230"/>
                  </a:lnTo>
                  <a:lnTo>
                    <a:pt x="194" y="200"/>
                  </a:lnTo>
                  <a:lnTo>
                    <a:pt x="194" y="169"/>
                  </a:lnTo>
                  <a:lnTo>
                    <a:pt x="164" y="154"/>
                  </a:lnTo>
                  <a:lnTo>
                    <a:pt x="149" y="108"/>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02" name="Freeform 227"/>
            <p:cNvSpPr>
              <a:spLocks/>
            </p:cNvSpPr>
            <p:nvPr/>
          </p:nvSpPr>
          <p:spPr bwMode="auto">
            <a:xfrm>
              <a:off x="1429" y="1564"/>
              <a:ext cx="153" cy="117"/>
            </a:xfrm>
            <a:custGeom>
              <a:avLst/>
              <a:gdLst>
                <a:gd name="T0" fmla="*/ 0 w 358"/>
                <a:gd name="T1" fmla="*/ 0 h 308"/>
                <a:gd name="T2" fmla="*/ 0 w 358"/>
                <a:gd name="T3" fmla="*/ 0 h 308"/>
                <a:gd name="T4" fmla="*/ 0 w 358"/>
                <a:gd name="T5" fmla="*/ 1 h 308"/>
                <a:gd name="T6" fmla="*/ 1 w 358"/>
                <a:gd name="T7" fmla="*/ 1 h 308"/>
                <a:gd name="T8" fmla="*/ 1 w 358"/>
                <a:gd name="T9" fmla="*/ 2 h 308"/>
                <a:gd name="T10" fmla="*/ 1 w 358"/>
                <a:gd name="T11" fmla="*/ 2 h 308"/>
                <a:gd name="T12" fmla="*/ 1 w 358"/>
                <a:gd name="T13" fmla="*/ 3 h 308"/>
                <a:gd name="T14" fmla="*/ 3 w 358"/>
                <a:gd name="T15" fmla="*/ 3 h 308"/>
                <a:gd name="T16" fmla="*/ 3 w 358"/>
                <a:gd name="T17" fmla="*/ 4 h 308"/>
                <a:gd name="T18" fmla="*/ 4 w 358"/>
                <a:gd name="T19" fmla="*/ 4 h 308"/>
                <a:gd name="T20" fmla="*/ 6 w 358"/>
                <a:gd name="T21" fmla="*/ 5 h 308"/>
                <a:gd name="T22" fmla="*/ 8 w 358"/>
                <a:gd name="T23" fmla="*/ 6 h 308"/>
                <a:gd name="T24" fmla="*/ 8 w 358"/>
                <a:gd name="T25" fmla="*/ 5 h 308"/>
                <a:gd name="T26" fmla="*/ 9 w 358"/>
                <a:gd name="T27" fmla="*/ 5 h 308"/>
                <a:gd name="T28" fmla="*/ 9 w 358"/>
                <a:gd name="T29" fmla="*/ 6 h 308"/>
                <a:gd name="T30" fmla="*/ 11 w 358"/>
                <a:gd name="T31" fmla="*/ 6 h 308"/>
                <a:gd name="T32" fmla="*/ 11 w 358"/>
                <a:gd name="T33" fmla="*/ 6 h 308"/>
                <a:gd name="T34" fmla="*/ 12 w 358"/>
                <a:gd name="T35" fmla="*/ 5 h 308"/>
                <a:gd name="T36" fmla="*/ 11 w 358"/>
                <a:gd name="T37" fmla="*/ 5 h 308"/>
                <a:gd name="T38" fmla="*/ 11 w 358"/>
                <a:gd name="T39" fmla="*/ 5 h 308"/>
                <a:gd name="T40" fmla="*/ 10 w 358"/>
                <a:gd name="T41" fmla="*/ 4 h 308"/>
                <a:gd name="T42" fmla="*/ 11 w 358"/>
                <a:gd name="T43" fmla="*/ 3 h 308"/>
                <a:gd name="T44" fmla="*/ 11 w 358"/>
                <a:gd name="T45" fmla="*/ 3 h 308"/>
                <a:gd name="T46" fmla="*/ 10 w 358"/>
                <a:gd name="T47" fmla="*/ 3 h 308"/>
                <a:gd name="T48" fmla="*/ 10 w 358"/>
                <a:gd name="T49" fmla="*/ 3 h 308"/>
                <a:gd name="T50" fmla="*/ 10 w 358"/>
                <a:gd name="T51" fmla="*/ 2 h 308"/>
                <a:gd name="T52" fmla="*/ 10 w 358"/>
                <a:gd name="T53" fmla="*/ 1 h 308"/>
                <a:gd name="T54" fmla="*/ 10 w 358"/>
                <a:gd name="T55" fmla="*/ 1 h 308"/>
                <a:gd name="T56" fmla="*/ 7 w 358"/>
                <a:gd name="T57" fmla="*/ 0 h 308"/>
                <a:gd name="T58" fmla="*/ 6 w 358"/>
                <a:gd name="T59" fmla="*/ 0 h 308"/>
                <a:gd name="T60" fmla="*/ 6 w 358"/>
                <a:gd name="T61" fmla="*/ 1 h 308"/>
                <a:gd name="T62" fmla="*/ 6 w 358"/>
                <a:gd name="T63" fmla="*/ 1 h 308"/>
                <a:gd name="T64" fmla="*/ 5 w 358"/>
                <a:gd name="T65" fmla="*/ 1 h 308"/>
                <a:gd name="T66" fmla="*/ 4 w 358"/>
                <a:gd name="T67" fmla="*/ 1 h 308"/>
                <a:gd name="T68" fmla="*/ 3 w 358"/>
                <a:gd name="T69" fmla="*/ 1 h 308"/>
                <a:gd name="T70" fmla="*/ 3 w 358"/>
                <a:gd name="T71" fmla="*/ 0 h 308"/>
                <a:gd name="T72" fmla="*/ 1 w 358"/>
                <a:gd name="T73" fmla="*/ 0 h 308"/>
                <a:gd name="T74" fmla="*/ 0 w 358"/>
                <a:gd name="T75" fmla="*/ 0 h 3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8" h="308">
                  <a:moveTo>
                    <a:pt x="15" y="0"/>
                  </a:moveTo>
                  <a:lnTo>
                    <a:pt x="0" y="15"/>
                  </a:lnTo>
                  <a:lnTo>
                    <a:pt x="15" y="46"/>
                  </a:lnTo>
                  <a:lnTo>
                    <a:pt x="30" y="61"/>
                  </a:lnTo>
                  <a:lnTo>
                    <a:pt x="45" y="77"/>
                  </a:lnTo>
                  <a:lnTo>
                    <a:pt x="45" y="92"/>
                  </a:lnTo>
                  <a:lnTo>
                    <a:pt x="45" y="123"/>
                  </a:lnTo>
                  <a:lnTo>
                    <a:pt x="74" y="154"/>
                  </a:lnTo>
                  <a:lnTo>
                    <a:pt x="104" y="200"/>
                  </a:lnTo>
                  <a:lnTo>
                    <a:pt x="134" y="200"/>
                  </a:lnTo>
                  <a:lnTo>
                    <a:pt x="164" y="246"/>
                  </a:lnTo>
                  <a:lnTo>
                    <a:pt x="223" y="276"/>
                  </a:lnTo>
                  <a:lnTo>
                    <a:pt x="238" y="261"/>
                  </a:lnTo>
                  <a:lnTo>
                    <a:pt x="253" y="261"/>
                  </a:lnTo>
                  <a:lnTo>
                    <a:pt x="268" y="292"/>
                  </a:lnTo>
                  <a:lnTo>
                    <a:pt x="327" y="307"/>
                  </a:lnTo>
                  <a:lnTo>
                    <a:pt x="342" y="276"/>
                  </a:lnTo>
                  <a:lnTo>
                    <a:pt x="357" y="261"/>
                  </a:lnTo>
                  <a:lnTo>
                    <a:pt x="342" y="246"/>
                  </a:lnTo>
                  <a:lnTo>
                    <a:pt x="327" y="215"/>
                  </a:lnTo>
                  <a:lnTo>
                    <a:pt x="312" y="184"/>
                  </a:lnTo>
                  <a:lnTo>
                    <a:pt x="327" y="169"/>
                  </a:lnTo>
                  <a:lnTo>
                    <a:pt x="327" y="154"/>
                  </a:lnTo>
                  <a:lnTo>
                    <a:pt x="312" y="154"/>
                  </a:lnTo>
                  <a:lnTo>
                    <a:pt x="298" y="123"/>
                  </a:lnTo>
                  <a:lnTo>
                    <a:pt x="298" y="92"/>
                  </a:lnTo>
                  <a:lnTo>
                    <a:pt x="298" y="61"/>
                  </a:lnTo>
                  <a:lnTo>
                    <a:pt x="298" y="46"/>
                  </a:lnTo>
                  <a:lnTo>
                    <a:pt x="208" y="15"/>
                  </a:lnTo>
                  <a:lnTo>
                    <a:pt x="193" y="15"/>
                  </a:lnTo>
                  <a:lnTo>
                    <a:pt x="179" y="31"/>
                  </a:lnTo>
                  <a:lnTo>
                    <a:pt x="179" y="46"/>
                  </a:lnTo>
                  <a:lnTo>
                    <a:pt x="149" y="61"/>
                  </a:lnTo>
                  <a:lnTo>
                    <a:pt x="119" y="61"/>
                  </a:lnTo>
                  <a:lnTo>
                    <a:pt x="89" y="31"/>
                  </a:lnTo>
                  <a:lnTo>
                    <a:pt x="74" y="0"/>
                  </a:lnTo>
                  <a:lnTo>
                    <a:pt x="30" y="15"/>
                  </a:lnTo>
                  <a:lnTo>
                    <a:pt x="15"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03" name="Line 228"/>
            <p:cNvSpPr>
              <a:spLocks noChangeShapeType="1"/>
            </p:cNvSpPr>
            <p:nvPr/>
          </p:nvSpPr>
          <p:spPr bwMode="auto">
            <a:xfrm>
              <a:off x="1499" y="1733"/>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04" name="Line 229"/>
            <p:cNvSpPr>
              <a:spLocks noChangeShapeType="1"/>
            </p:cNvSpPr>
            <p:nvPr/>
          </p:nvSpPr>
          <p:spPr bwMode="auto">
            <a:xfrm flipV="1">
              <a:off x="1506" y="1727"/>
              <a:ext cx="12"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05" name="Line 230"/>
            <p:cNvSpPr>
              <a:spLocks noChangeShapeType="1"/>
            </p:cNvSpPr>
            <p:nvPr/>
          </p:nvSpPr>
          <p:spPr bwMode="auto">
            <a:xfrm flipV="1">
              <a:off x="1518" y="1715"/>
              <a:ext cx="6"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06" name="Line 231"/>
            <p:cNvSpPr>
              <a:spLocks noChangeShapeType="1"/>
            </p:cNvSpPr>
            <p:nvPr/>
          </p:nvSpPr>
          <p:spPr bwMode="auto">
            <a:xfrm flipV="1">
              <a:off x="1524" y="1710"/>
              <a:ext cx="7" cy="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07" name="Line 232"/>
            <p:cNvSpPr>
              <a:spLocks noChangeShapeType="1"/>
            </p:cNvSpPr>
            <p:nvPr/>
          </p:nvSpPr>
          <p:spPr bwMode="auto">
            <a:xfrm flipH="1" flipV="1">
              <a:off x="1524" y="1703"/>
              <a:ext cx="7"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08" name="Line 233"/>
            <p:cNvSpPr>
              <a:spLocks noChangeShapeType="1"/>
            </p:cNvSpPr>
            <p:nvPr/>
          </p:nvSpPr>
          <p:spPr bwMode="auto">
            <a:xfrm flipH="1">
              <a:off x="1518" y="1704"/>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09" name="Line 234"/>
            <p:cNvSpPr>
              <a:spLocks noChangeShapeType="1"/>
            </p:cNvSpPr>
            <p:nvPr/>
          </p:nvSpPr>
          <p:spPr bwMode="auto">
            <a:xfrm flipH="1">
              <a:off x="1506" y="1698"/>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10" name="Line 235"/>
            <p:cNvSpPr>
              <a:spLocks noChangeShapeType="1"/>
            </p:cNvSpPr>
            <p:nvPr/>
          </p:nvSpPr>
          <p:spPr bwMode="auto">
            <a:xfrm>
              <a:off x="1512" y="1733"/>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11" name="Line 236"/>
            <p:cNvSpPr>
              <a:spLocks noChangeShapeType="1"/>
            </p:cNvSpPr>
            <p:nvPr/>
          </p:nvSpPr>
          <p:spPr bwMode="auto">
            <a:xfrm>
              <a:off x="1512" y="1739"/>
              <a:ext cx="6" cy="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12" name="Freeform 237"/>
            <p:cNvSpPr>
              <a:spLocks/>
            </p:cNvSpPr>
            <p:nvPr/>
          </p:nvSpPr>
          <p:spPr bwMode="auto">
            <a:xfrm>
              <a:off x="1512" y="1680"/>
              <a:ext cx="45" cy="65"/>
            </a:xfrm>
            <a:custGeom>
              <a:avLst/>
              <a:gdLst>
                <a:gd name="T0" fmla="*/ 2 w 106"/>
                <a:gd name="T1" fmla="*/ 0 h 170"/>
                <a:gd name="T2" fmla="*/ 1 w 106"/>
                <a:gd name="T3" fmla="*/ 1 h 170"/>
                <a:gd name="T4" fmla="*/ 1 w 106"/>
                <a:gd name="T5" fmla="*/ 1 h 170"/>
                <a:gd name="T6" fmla="*/ 1 w 106"/>
                <a:gd name="T7" fmla="*/ 2 h 170"/>
                <a:gd name="T8" fmla="*/ 0 w 106"/>
                <a:gd name="T9" fmla="*/ 3 h 170"/>
                <a:gd name="T10" fmla="*/ 0 w 106"/>
                <a:gd name="T11" fmla="*/ 4 h 170"/>
                <a:gd name="T12" fmla="*/ 1 w 106"/>
                <a:gd name="T13" fmla="*/ 4 h 170"/>
                <a:gd name="T14" fmla="*/ 1 w 106"/>
                <a:gd name="T15" fmla="*/ 3 h 170"/>
                <a:gd name="T16" fmla="*/ 2 w 106"/>
                <a:gd name="T17" fmla="*/ 3 h 170"/>
                <a:gd name="T18" fmla="*/ 3 w 106"/>
                <a:gd name="T19" fmla="*/ 3 h 170"/>
                <a:gd name="T20" fmla="*/ 3 w 106"/>
                <a:gd name="T21" fmla="*/ 3 h 170"/>
                <a:gd name="T22" fmla="*/ 3 w 106"/>
                <a:gd name="T23" fmla="*/ 2 h 170"/>
                <a:gd name="T24" fmla="*/ 3 w 106"/>
                <a:gd name="T25" fmla="*/ 2 h 170"/>
                <a:gd name="T26" fmla="*/ 3 w 106"/>
                <a:gd name="T27" fmla="*/ 1 h 170"/>
                <a:gd name="T28" fmla="*/ 3 w 106"/>
                <a:gd name="T29" fmla="*/ 0 h 170"/>
                <a:gd name="T30" fmla="*/ 3 w 106"/>
                <a:gd name="T31" fmla="*/ 0 h 170"/>
                <a:gd name="T32" fmla="*/ 2 w 106"/>
                <a:gd name="T33" fmla="*/ 0 h 1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6" h="170">
                  <a:moveTo>
                    <a:pt x="60" y="0"/>
                  </a:moveTo>
                  <a:lnTo>
                    <a:pt x="30" y="46"/>
                  </a:lnTo>
                  <a:lnTo>
                    <a:pt x="45" y="61"/>
                  </a:lnTo>
                  <a:lnTo>
                    <a:pt x="45" y="92"/>
                  </a:lnTo>
                  <a:lnTo>
                    <a:pt x="0" y="138"/>
                  </a:lnTo>
                  <a:lnTo>
                    <a:pt x="15" y="169"/>
                  </a:lnTo>
                  <a:lnTo>
                    <a:pt x="45" y="169"/>
                  </a:lnTo>
                  <a:lnTo>
                    <a:pt x="45" y="154"/>
                  </a:lnTo>
                  <a:lnTo>
                    <a:pt x="60" y="154"/>
                  </a:lnTo>
                  <a:lnTo>
                    <a:pt x="75" y="123"/>
                  </a:lnTo>
                  <a:lnTo>
                    <a:pt x="90" y="123"/>
                  </a:lnTo>
                  <a:lnTo>
                    <a:pt x="90" y="108"/>
                  </a:lnTo>
                  <a:lnTo>
                    <a:pt x="105" y="77"/>
                  </a:lnTo>
                  <a:lnTo>
                    <a:pt x="105" y="46"/>
                  </a:lnTo>
                  <a:lnTo>
                    <a:pt x="90" y="15"/>
                  </a:lnTo>
                  <a:lnTo>
                    <a:pt x="75" y="15"/>
                  </a:lnTo>
                  <a:lnTo>
                    <a:pt x="6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13" name="Freeform 238"/>
            <p:cNvSpPr>
              <a:spLocks/>
            </p:cNvSpPr>
            <p:nvPr/>
          </p:nvSpPr>
          <p:spPr bwMode="auto">
            <a:xfrm>
              <a:off x="1506" y="1674"/>
              <a:ext cx="32" cy="25"/>
            </a:xfrm>
            <a:custGeom>
              <a:avLst/>
              <a:gdLst>
                <a:gd name="T0" fmla="*/ 0 w 75"/>
                <a:gd name="T1" fmla="*/ 1 h 63"/>
                <a:gd name="T2" fmla="*/ 0 w 75"/>
                <a:gd name="T3" fmla="*/ 2 h 63"/>
                <a:gd name="T4" fmla="*/ 1 w 75"/>
                <a:gd name="T5" fmla="*/ 2 h 63"/>
                <a:gd name="T6" fmla="*/ 3 w 75"/>
                <a:gd name="T7" fmla="*/ 0 h 63"/>
                <a:gd name="T8" fmla="*/ 3 w 75"/>
                <a:gd name="T9" fmla="*/ 0 h 63"/>
                <a:gd name="T10" fmla="*/ 2 w 75"/>
                <a:gd name="T11" fmla="*/ 0 h 63"/>
                <a:gd name="T12" fmla="*/ 1 w 75"/>
                <a:gd name="T13" fmla="*/ 1 h 63"/>
                <a:gd name="T14" fmla="*/ 0 w 75"/>
                <a:gd name="T15" fmla="*/ 1 h 63"/>
                <a:gd name="T16" fmla="*/ 0 w 75"/>
                <a:gd name="T17" fmla="*/ 1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5" h="63">
                  <a:moveTo>
                    <a:pt x="0" y="47"/>
                  </a:moveTo>
                  <a:lnTo>
                    <a:pt x="0" y="62"/>
                  </a:lnTo>
                  <a:lnTo>
                    <a:pt x="44" y="62"/>
                  </a:lnTo>
                  <a:lnTo>
                    <a:pt x="74" y="16"/>
                  </a:lnTo>
                  <a:lnTo>
                    <a:pt x="74" y="0"/>
                  </a:lnTo>
                  <a:lnTo>
                    <a:pt x="59" y="0"/>
                  </a:lnTo>
                  <a:lnTo>
                    <a:pt x="30" y="31"/>
                  </a:lnTo>
                  <a:lnTo>
                    <a:pt x="15" y="31"/>
                  </a:lnTo>
                  <a:lnTo>
                    <a:pt x="0" y="47"/>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14" name="Freeform 239"/>
            <p:cNvSpPr>
              <a:spLocks/>
            </p:cNvSpPr>
            <p:nvPr/>
          </p:nvSpPr>
          <p:spPr bwMode="auto">
            <a:xfrm>
              <a:off x="1531" y="1668"/>
              <a:ext cx="7"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16"/>
                  </a:moveTo>
                  <a:lnTo>
                    <a:pt x="16" y="16"/>
                  </a:lnTo>
                  <a:lnTo>
                    <a:pt x="16" y="0"/>
                  </a:lnTo>
                  <a:lnTo>
                    <a:pt x="0" y="16"/>
                  </a:lnTo>
                </a:path>
              </a:pathLst>
            </a:custGeom>
            <a:solidFill>
              <a:srgbClr val="00FF0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15" name="Freeform 240"/>
            <p:cNvSpPr>
              <a:spLocks/>
            </p:cNvSpPr>
            <p:nvPr/>
          </p:nvSpPr>
          <p:spPr bwMode="auto">
            <a:xfrm>
              <a:off x="1493" y="1674"/>
              <a:ext cx="7" cy="18"/>
            </a:xfrm>
            <a:custGeom>
              <a:avLst/>
              <a:gdLst>
                <a:gd name="T0" fmla="*/ 0 w 17"/>
                <a:gd name="T1" fmla="*/ 1 h 47"/>
                <a:gd name="T2" fmla="*/ 0 w 17"/>
                <a:gd name="T3" fmla="*/ 1 h 47"/>
                <a:gd name="T4" fmla="*/ 0 w 17"/>
                <a:gd name="T5" fmla="*/ 0 h 47"/>
                <a:gd name="T6" fmla="*/ 0 w 17"/>
                <a:gd name="T7" fmla="*/ 0 h 47"/>
                <a:gd name="T8" fmla="*/ 0 w 17"/>
                <a:gd name="T9" fmla="*/ 0 h 47"/>
                <a:gd name="T10" fmla="*/ 0 w 17"/>
                <a:gd name="T11" fmla="*/ 1 h 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47">
                  <a:moveTo>
                    <a:pt x="0" y="31"/>
                  </a:moveTo>
                  <a:lnTo>
                    <a:pt x="16" y="46"/>
                  </a:lnTo>
                  <a:lnTo>
                    <a:pt x="16" y="15"/>
                  </a:lnTo>
                  <a:lnTo>
                    <a:pt x="16" y="0"/>
                  </a:lnTo>
                  <a:lnTo>
                    <a:pt x="0" y="15"/>
                  </a:lnTo>
                  <a:lnTo>
                    <a:pt x="0" y="31"/>
                  </a:lnTo>
                </a:path>
              </a:pathLst>
            </a:custGeom>
            <a:solidFill>
              <a:srgbClr val="FFFF0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616" name="Line 241"/>
            <p:cNvSpPr>
              <a:spLocks noChangeShapeType="1"/>
            </p:cNvSpPr>
            <p:nvPr/>
          </p:nvSpPr>
          <p:spPr bwMode="auto">
            <a:xfrm>
              <a:off x="1506" y="1698"/>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17" name="Line 242"/>
            <p:cNvSpPr>
              <a:spLocks noChangeShapeType="1"/>
            </p:cNvSpPr>
            <p:nvPr/>
          </p:nvSpPr>
          <p:spPr bwMode="auto">
            <a:xfrm flipH="1" flipV="1">
              <a:off x="1499" y="1692"/>
              <a:ext cx="7"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18" name="Line 243"/>
            <p:cNvSpPr>
              <a:spLocks noChangeShapeType="1"/>
            </p:cNvSpPr>
            <p:nvPr/>
          </p:nvSpPr>
          <p:spPr bwMode="auto">
            <a:xfrm>
              <a:off x="1531" y="1692"/>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19" name="Line 244"/>
            <p:cNvSpPr>
              <a:spLocks noChangeShapeType="1"/>
            </p:cNvSpPr>
            <p:nvPr/>
          </p:nvSpPr>
          <p:spPr bwMode="auto">
            <a:xfrm>
              <a:off x="1538" y="1680"/>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20" name="Line 245"/>
            <p:cNvSpPr>
              <a:spLocks noChangeShapeType="1"/>
            </p:cNvSpPr>
            <p:nvPr/>
          </p:nvSpPr>
          <p:spPr bwMode="auto">
            <a:xfrm>
              <a:off x="1531" y="1686"/>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21" name="Freeform 246"/>
            <p:cNvSpPr>
              <a:spLocks/>
            </p:cNvSpPr>
            <p:nvPr/>
          </p:nvSpPr>
          <p:spPr bwMode="auto">
            <a:xfrm>
              <a:off x="1774" y="1640"/>
              <a:ext cx="20" cy="12"/>
            </a:xfrm>
            <a:custGeom>
              <a:avLst/>
              <a:gdLst>
                <a:gd name="T0" fmla="*/ 0 w 46"/>
                <a:gd name="T1" fmla="*/ 0 h 32"/>
                <a:gd name="T2" fmla="*/ 0 w 46"/>
                <a:gd name="T3" fmla="*/ 0 h 32"/>
                <a:gd name="T4" fmla="*/ 0 w 46"/>
                <a:gd name="T5" fmla="*/ 1 h 32"/>
                <a:gd name="T6" fmla="*/ 2 w 46"/>
                <a:gd name="T7" fmla="*/ 1 h 32"/>
                <a:gd name="T8" fmla="*/ 2 w 46"/>
                <a:gd name="T9" fmla="*/ 0 h 32"/>
                <a:gd name="T10" fmla="*/ 2 w 46"/>
                <a:gd name="T11" fmla="*/ 0 h 32"/>
                <a:gd name="T12" fmla="*/ 0 w 46"/>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32">
                  <a:moveTo>
                    <a:pt x="15" y="16"/>
                  </a:moveTo>
                  <a:lnTo>
                    <a:pt x="0" y="16"/>
                  </a:lnTo>
                  <a:lnTo>
                    <a:pt x="0" y="31"/>
                  </a:lnTo>
                  <a:lnTo>
                    <a:pt x="45" y="31"/>
                  </a:lnTo>
                  <a:lnTo>
                    <a:pt x="45" y="16"/>
                  </a:lnTo>
                  <a:lnTo>
                    <a:pt x="45" y="0"/>
                  </a:lnTo>
                  <a:lnTo>
                    <a:pt x="15" y="1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22" name="Freeform 247"/>
            <p:cNvSpPr>
              <a:spLocks/>
            </p:cNvSpPr>
            <p:nvPr/>
          </p:nvSpPr>
          <p:spPr bwMode="auto">
            <a:xfrm>
              <a:off x="1557" y="1558"/>
              <a:ext cx="97" cy="88"/>
            </a:xfrm>
            <a:custGeom>
              <a:avLst/>
              <a:gdLst>
                <a:gd name="T0" fmla="*/ 0 w 225"/>
                <a:gd name="T1" fmla="*/ 2 h 232"/>
                <a:gd name="T2" fmla="*/ 0 w 225"/>
                <a:gd name="T3" fmla="*/ 2 h 232"/>
                <a:gd name="T4" fmla="*/ 0 w 225"/>
                <a:gd name="T5" fmla="*/ 3 h 232"/>
                <a:gd name="T6" fmla="*/ 0 w 225"/>
                <a:gd name="T7" fmla="*/ 3 h 232"/>
                <a:gd name="T8" fmla="*/ 1 w 225"/>
                <a:gd name="T9" fmla="*/ 3 h 232"/>
                <a:gd name="T10" fmla="*/ 1 w 225"/>
                <a:gd name="T11" fmla="*/ 4 h 232"/>
                <a:gd name="T12" fmla="*/ 0 w 225"/>
                <a:gd name="T13" fmla="*/ 4 h 232"/>
                <a:gd name="T14" fmla="*/ 1 w 225"/>
                <a:gd name="T15" fmla="*/ 5 h 232"/>
                <a:gd name="T16" fmla="*/ 3 w 225"/>
                <a:gd name="T17" fmla="*/ 5 h 232"/>
                <a:gd name="T18" fmla="*/ 3 w 225"/>
                <a:gd name="T19" fmla="*/ 4 h 232"/>
                <a:gd name="T20" fmla="*/ 3 w 225"/>
                <a:gd name="T21" fmla="*/ 4 h 232"/>
                <a:gd name="T22" fmla="*/ 4 w 225"/>
                <a:gd name="T23" fmla="*/ 4 h 232"/>
                <a:gd name="T24" fmla="*/ 5 w 225"/>
                <a:gd name="T25" fmla="*/ 3 h 232"/>
                <a:gd name="T26" fmla="*/ 5 w 225"/>
                <a:gd name="T27" fmla="*/ 3 h 232"/>
                <a:gd name="T28" fmla="*/ 6 w 225"/>
                <a:gd name="T29" fmla="*/ 3 h 232"/>
                <a:gd name="T30" fmla="*/ 6 w 225"/>
                <a:gd name="T31" fmla="*/ 2 h 232"/>
                <a:gd name="T32" fmla="*/ 6 w 225"/>
                <a:gd name="T33" fmla="*/ 2 h 232"/>
                <a:gd name="T34" fmla="*/ 6 w 225"/>
                <a:gd name="T35" fmla="*/ 2 h 232"/>
                <a:gd name="T36" fmla="*/ 6 w 225"/>
                <a:gd name="T37" fmla="*/ 1 h 232"/>
                <a:gd name="T38" fmla="*/ 7 w 225"/>
                <a:gd name="T39" fmla="*/ 1 h 232"/>
                <a:gd name="T40" fmla="*/ 7 w 225"/>
                <a:gd name="T41" fmla="*/ 1 h 232"/>
                <a:gd name="T42" fmla="*/ 8 w 225"/>
                <a:gd name="T43" fmla="*/ 0 h 232"/>
                <a:gd name="T44" fmla="*/ 7 w 225"/>
                <a:gd name="T45" fmla="*/ 0 h 232"/>
                <a:gd name="T46" fmla="*/ 6 w 225"/>
                <a:gd name="T47" fmla="*/ 1 h 232"/>
                <a:gd name="T48" fmla="*/ 6 w 225"/>
                <a:gd name="T49" fmla="*/ 0 h 232"/>
                <a:gd name="T50" fmla="*/ 5 w 225"/>
                <a:gd name="T51" fmla="*/ 0 h 232"/>
                <a:gd name="T52" fmla="*/ 5 w 225"/>
                <a:gd name="T53" fmla="*/ 0 h 232"/>
                <a:gd name="T54" fmla="*/ 3 w 225"/>
                <a:gd name="T55" fmla="*/ 1 h 232"/>
                <a:gd name="T56" fmla="*/ 3 w 225"/>
                <a:gd name="T57" fmla="*/ 1 h 232"/>
                <a:gd name="T58" fmla="*/ 2 w 225"/>
                <a:gd name="T59" fmla="*/ 1 h 232"/>
                <a:gd name="T60" fmla="*/ 1 w 225"/>
                <a:gd name="T61" fmla="*/ 1 h 232"/>
                <a:gd name="T62" fmla="*/ 1 w 225"/>
                <a:gd name="T63" fmla="*/ 2 h 232"/>
                <a:gd name="T64" fmla="*/ 0 w 225"/>
                <a:gd name="T65" fmla="*/ 2 h 2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232">
                  <a:moveTo>
                    <a:pt x="0" y="77"/>
                  </a:moveTo>
                  <a:lnTo>
                    <a:pt x="0" y="108"/>
                  </a:lnTo>
                  <a:lnTo>
                    <a:pt x="0" y="139"/>
                  </a:lnTo>
                  <a:lnTo>
                    <a:pt x="15" y="169"/>
                  </a:lnTo>
                  <a:lnTo>
                    <a:pt x="30" y="169"/>
                  </a:lnTo>
                  <a:lnTo>
                    <a:pt x="30" y="185"/>
                  </a:lnTo>
                  <a:lnTo>
                    <a:pt x="15" y="200"/>
                  </a:lnTo>
                  <a:lnTo>
                    <a:pt x="30" y="231"/>
                  </a:lnTo>
                  <a:lnTo>
                    <a:pt x="74" y="216"/>
                  </a:lnTo>
                  <a:lnTo>
                    <a:pt x="89" y="200"/>
                  </a:lnTo>
                  <a:lnTo>
                    <a:pt x="104" y="185"/>
                  </a:lnTo>
                  <a:lnTo>
                    <a:pt x="119" y="185"/>
                  </a:lnTo>
                  <a:lnTo>
                    <a:pt x="134" y="169"/>
                  </a:lnTo>
                  <a:lnTo>
                    <a:pt x="149" y="139"/>
                  </a:lnTo>
                  <a:lnTo>
                    <a:pt x="164" y="123"/>
                  </a:lnTo>
                  <a:lnTo>
                    <a:pt x="164" y="108"/>
                  </a:lnTo>
                  <a:lnTo>
                    <a:pt x="164" y="92"/>
                  </a:lnTo>
                  <a:lnTo>
                    <a:pt x="178" y="77"/>
                  </a:lnTo>
                  <a:lnTo>
                    <a:pt x="164" y="46"/>
                  </a:lnTo>
                  <a:lnTo>
                    <a:pt x="193" y="31"/>
                  </a:lnTo>
                  <a:lnTo>
                    <a:pt x="208" y="31"/>
                  </a:lnTo>
                  <a:lnTo>
                    <a:pt x="224" y="15"/>
                  </a:lnTo>
                  <a:lnTo>
                    <a:pt x="193" y="15"/>
                  </a:lnTo>
                  <a:lnTo>
                    <a:pt x="178" y="31"/>
                  </a:lnTo>
                  <a:lnTo>
                    <a:pt x="164" y="15"/>
                  </a:lnTo>
                  <a:lnTo>
                    <a:pt x="149" y="0"/>
                  </a:lnTo>
                  <a:lnTo>
                    <a:pt x="134" y="15"/>
                  </a:lnTo>
                  <a:lnTo>
                    <a:pt x="104" y="31"/>
                  </a:lnTo>
                  <a:lnTo>
                    <a:pt x="89" y="31"/>
                  </a:lnTo>
                  <a:lnTo>
                    <a:pt x="59" y="31"/>
                  </a:lnTo>
                  <a:lnTo>
                    <a:pt x="45" y="62"/>
                  </a:lnTo>
                  <a:lnTo>
                    <a:pt x="30" y="77"/>
                  </a:lnTo>
                  <a:lnTo>
                    <a:pt x="0" y="77"/>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23" name="Freeform 248"/>
            <p:cNvSpPr>
              <a:spLocks/>
            </p:cNvSpPr>
            <p:nvPr/>
          </p:nvSpPr>
          <p:spPr bwMode="auto">
            <a:xfrm>
              <a:off x="1570" y="1564"/>
              <a:ext cx="102" cy="123"/>
            </a:xfrm>
            <a:custGeom>
              <a:avLst/>
              <a:gdLst>
                <a:gd name="T0" fmla="*/ 4 w 239"/>
                <a:gd name="T1" fmla="*/ 7 h 323"/>
                <a:gd name="T2" fmla="*/ 6 w 239"/>
                <a:gd name="T3" fmla="*/ 6 h 323"/>
                <a:gd name="T4" fmla="*/ 5 w 239"/>
                <a:gd name="T5" fmla="*/ 5 h 323"/>
                <a:gd name="T6" fmla="*/ 5 w 239"/>
                <a:gd name="T7" fmla="*/ 5 h 323"/>
                <a:gd name="T8" fmla="*/ 5 w 239"/>
                <a:gd name="T9" fmla="*/ 5 h 323"/>
                <a:gd name="T10" fmla="*/ 6 w 239"/>
                <a:gd name="T11" fmla="*/ 5 h 323"/>
                <a:gd name="T12" fmla="*/ 6 w 239"/>
                <a:gd name="T13" fmla="*/ 5 h 323"/>
                <a:gd name="T14" fmla="*/ 6 w 239"/>
                <a:gd name="T15" fmla="*/ 5 h 323"/>
                <a:gd name="T16" fmla="*/ 6 w 239"/>
                <a:gd name="T17" fmla="*/ 4 h 323"/>
                <a:gd name="T18" fmla="*/ 7 w 239"/>
                <a:gd name="T19" fmla="*/ 3 h 323"/>
                <a:gd name="T20" fmla="*/ 7 w 239"/>
                <a:gd name="T21" fmla="*/ 3 h 323"/>
                <a:gd name="T22" fmla="*/ 7 w 239"/>
                <a:gd name="T23" fmla="*/ 3 h 323"/>
                <a:gd name="T24" fmla="*/ 7 w 239"/>
                <a:gd name="T25" fmla="*/ 2 h 323"/>
                <a:gd name="T26" fmla="*/ 8 w 239"/>
                <a:gd name="T27" fmla="*/ 2 h 323"/>
                <a:gd name="T28" fmla="*/ 7 w 239"/>
                <a:gd name="T29" fmla="*/ 1 h 323"/>
                <a:gd name="T30" fmla="*/ 6 w 239"/>
                <a:gd name="T31" fmla="*/ 0 h 323"/>
                <a:gd name="T32" fmla="*/ 6 w 239"/>
                <a:gd name="T33" fmla="*/ 0 h 323"/>
                <a:gd name="T34" fmla="*/ 6 w 239"/>
                <a:gd name="T35" fmla="*/ 0 h 323"/>
                <a:gd name="T36" fmla="*/ 4 w 239"/>
                <a:gd name="T37" fmla="*/ 1 h 323"/>
                <a:gd name="T38" fmla="*/ 5 w 239"/>
                <a:gd name="T39" fmla="*/ 1 h 323"/>
                <a:gd name="T40" fmla="*/ 4 w 239"/>
                <a:gd name="T41" fmla="*/ 2 h 323"/>
                <a:gd name="T42" fmla="*/ 4 w 239"/>
                <a:gd name="T43" fmla="*/ 2 h 323"/>
                <a:gd name="T44" fmla="*/ 4 w 239"/>
                <a:gd name="T45" fmla="*/ 2 h 323"/>
                <a:gd name="T46" fmla="*/ 4 w 239"/>
                <a:gd name="T47" fmla="*/ 3 h 323"/>
                <a:gd name="T48" fmla="*/ 3 w 239"/>
                <a:gd name="T49" fmla="*/ 3 h 323"/>
                <a:gd name="T50" fmla="*/ 3 w 239"/>
                <a:gd name="T51" fmla="*/ 3 h 323"/>
                <a:gd name="T52" fmla="*/ 3 w 239"/>
                <a:gd name="T53" fmla="*/ 3 h 323"/>
                <a:gd name="T54" fmla="*/ 2 w 239"/>
                <a:gd name="T55" fmla="*/ 4 h 323"/>
                <a:gd name="T56" fmla="*/ 1 w 239"/>
                <a:gd name="T57" fmla="*/ 4 h 323"/>
                <a:gd name="T58" fmla="*/ 0 w 239"/>
                <a:gd name="T59" fmla="*/ 5 h 323"/>
                <a:gd name="T60" fmla="*/ 0 w 239"/>
                <a:gd name="T61" fmla="*/ 5 h 323"/>
                <a:gd name="T62" fmla="*/ 1 w 239"/>
                <a:gd name="T63" fmla="*/ 5 h 323"/>
                <a:gd name="T64" fmla="*/ 0 w 239"/>
                <a:gd name="T65" fmla="*/ 6 h 323"/>
                <a:gd name="T66" fmla="*/ 0 w 239"/>
                <a:gd name="T67" fmla="*/ 6 h 323"/>
                <a:gd name="T68" fmla="*/ 0 w 239"/>
                <a:gd name="T69" fmla="*/ 6 h 323"/>
                <a:gd name="T70" fmla="*/ 3 w 239"/>
                <a:gd name="T71" fmla="*/ 6 h 323"/>
                <a:gd name="T72" fmla="*/ 4 w 239"/>
                <a:gd name="T73" fmla="*/ 7 h 3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39" h="323">
                  <a:moveTo>
                    <a:pt x="134" y="322"/>
                  </a:moveTo>
                  <a:lnTo>
                    <a:pt x="164" y="291"/>
                  </a:lnTo>
                  <a:lnTo>
                    <a:pt x="149" y="261"/>
                  </a:lnTo>
                  <a:lnTo>
                    <a:pt x="149" y="245"/>
                  </a:lnTo>
                  <a:lnTo>
                    <a:pt x="149" y="230"/>
                  </a:lnTo>
                  <a:lnTo>
                    <a:pt x="164" y="230"/>
                  </a:lnTo>
                  <a:lnTo>
                    <a:pt x="179" y="230"/>
                  </a:lnTo>
                  <a:lnTo>
                    <a:pt x="179" y="215"/>
                  </a:lnTo>
                  <a:lnTo>
                    <a:pt x="193" y="199"/>
                  </a:lnTo>
                  <a:lnTo>
                    <a:pt x="208" y="153"/>
                  </a:lnTo>
                  <a:lnTo>
                    <a:pt x="223" y="138"/>
                  </a:lnTo>
                  <a:lnTo>
                    <a:pt x="223" y="123"/>
                  </a:lnTo>
                  <a:lnTo>
                    <a:pt x="208" y="107"/>
                  </a:lnTo>
                  <a:lnTo>
                    <a:pt x="238" y="77"/>
                  </a:lnTo>
                  <a:lnTo>
                    <a:pt x="223" y="46"/>
                  </a:lnTo>
                  <a:lnTo>
                    <a:pt x="193" y="0"/>
                  </a:lnTo>
                  <a:lnTo>
                    <a:pt x="179" y="15"/>
                  </a:lnTo>
                  <a:lnTo>
                    <a:pt x="164" y="15"/>
                  </a:lnTo>
                  <a:lnTo>
                    <a:pt x="134" y="31"/>
                  </a:lnTo>
                  <a:lnTo>
                    <a:pt x="149" y="61"/>
                  </a:lnTo>
                  <a:lnTo>
                    <a:pt x="134" y="77"/>
                  </a:lnTo>
                  <a:lnTo>
                    <a:pt x="134" y="92"/>
                  </a:lnTo>
                  <a:lnTo>
                    <a:pt x="134" y="107"/>
                  </a:lnTo>
                  <a:lnTo>
                    <a:pt x="119" y="123"/>
                  </a:lnTo>
                  <a:lnTo>
                    <a:pt x="104" y="153"/>
                  </a:lnTo>
                  <a:lnTo>
                    <a:pt x="89" y="169"/>
                  </a:lnTo>
                  <a:lnTo>
                    <a:pt x="74" y="169"/>
                  </a:lnTo>
                  <a:lnTo>
                    <a:pt x="60" y="184"/>
                  </a:lnTo>
                  <a:lnTo>
                    <a:pt x="45" y="199"/>
                  </a:lnTo>
                  <a:lnTo>
                    <a:pt x="0" y="215"/>
                  </a:lnTo>
                  <a:lnTo>
                    <a:pt x="15" y="245"/>
                  </a:lnTo>
                  <a:lnTo>
                    <a:pt x="30" y="261"/>
                  </a:lnTo>
                  <a:lnTo>
                    <a:pt x="15" y="276"/>
                  </a:lnTo>
                  <a:lnTo>
                    <a:pt x="0" y="307"/>
                  </a:lnTo>
                  <a:lnTo>
                    <a:pt x="15" y="307"/>
                  </a:lnTo>
                  <a:lnTo>
                    <a:pt x="89" y="291"/>
                  </a:lnTo>
                  <a:lnTo>
                    <a:pt x="134" y="322"/>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24" name="Line 249"/>
            <p:cNvSpPr>
              <a:spLocks noChangeShapeType="1"/>
            </p:cNvSpPr>
            <p:nvPr/>
          </p:nvSpPr>
          <p:spPr bwMode="auto">
            <a:xfrm>
              <a:off x="1653" y="1605"/>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25" name="Freeform 250"/>
            <p:cNvSpPr>
              <a:spLocks/>
            </p:cNvSpPr>
            <p:nvPr/>
          </p:nvSpPr>
          <p:spPr bwMode="auto">
            <a:xfrm>
              <a:off x="1769" y="1657"/>
              <a:ext cx="44" cy="42"/>
            </a:xfrm>
            <a:custGeom>
              <a:avLst/>
              <a:gdLst>
                <a:gd name="T0" fmla="*/ 0 w 106"/>
                <a:gd name="T1" fmla="*/ 0 h 109"/>
                <a:gd name="T2" fmla="*/ 0 w 106"/>
                <a:gd name="T3" fmla="*/ 0 h 109"/>
                <a:gd name="T4" fmla="*/ 0 w 106"/>
                <a:gd name="T5" fmla="*/ 1 h 109"/>
                <a:gd name="T6" fmla="*/ 1 w 106"/>
                <a:gd name="T7" fmla="*/ 2 h 109"/>
                <a:gd name="T8" fmla="*/ 2 w 106"/>
                <a:gd name="T9" fmla="*/ 2 h 109"/>
                <a:gd name="T10" fmla="*/ 2 w 106"/>
                <a:gd name="T11" fmla="*/ 2 h 109"/>
                <a:gd name="T12" fmla="*/ 2 w 106"/>
                <a:gd name="T13" fmla="*/ 2 h 109"/>
                <a:gd name="T14" fmla="*/ 2 w 106"/>
                <a:gd name="T15" fmla="*/ 2 h 109"/>
                <a:gd name="T16" fmla="*/ 3 w 106"/>
                <a:gd name="T17" fmla="*/ 2 h 109"/>
                <a:gd name="T18" fmla="*/ 2 w 106"/>
                <a:gd name="T19" fmla="*/ 2 h 109"/>
                <a:gd name="T20" fmla="*/ 2 w 106"/>
                <a:gd name="T21" fmla="*/ 1 h 109"/>
                <a:gd name="T22" fmla="*/ 2 w 106"/>
                <a:gd name="T23" fmla="*/ 1 h 109"/>
                <a:gd name="T24" fmla="*/ 2 w 106"/>
                <a:gd name="T25" fmla="*/ 1 h 109"/>
                <a:gd name="T26" fmla="*/ 2 w 106"/>
                <a:gd name="T27" fmla="*/ 0 h 109"/>
                <a:gd name="T28" fmla="*/ 1 w 106"/>
                <a:gd name="T29" fmla="*/ 0 h 109"/>
                <a:gd name="T30" fmla="*/ 1 w 106"/>
                <a:gd name="T31" fmla="*/ 0 h 109"/>
                <a:gd name="T32" fmla="*/ 0 w 106"/>
                <a:gd name="T33" fmla="*/ 0 h 10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6" h="109">
                  <a:moveTo>
                    <a:pt x="0" y="0"/>
                  </a:moveTo>
                  <a:lnTo>
                    <a:pt x="15" y="15"/>
                  </a:lnTo>
                  <a:lnTo>
                    <a:pt x="15" y="46"/>
                  </a:lnTo>
                  <a:lnTo>
                    <a:pt x="45" y="93"/>
                  </a:lnTo>
                  <a:lnTo>
                    <a:pt x="60" y="93"/>
                  </a:lnTo>
                  <a:lnTo>
                    <a:pt x="60" y="77"/>
                  </a:lnTo>
                  <a:lnTo>
                    <a:pt x="90" y="93"/>
                  </a:lnTo>
                  <a:lnTo>
                    <a:pt x="90" y="108"/>
                  </a:lnTo>
                  <a:lnTo>
                    <a:pt x="105" y="108"/>
                  </a:lnTo>
                  <a:lnTo>
                    <a:pt x="90" y="93"/>
                  </a:lnTo>
                  <a:lnTo>
                    <a:pt x="90" y="62"/>
                  </a:lnTo>
                  <a:lnTo>
                    <a:pt x="75" y="46"/>
                  </a:lnTo>
                  <a:lnTo>
                    <a:pt x="90" y="46"/>
                  </a:lnTo>
                  <a:lnTo>
                    <a:pt x="90" y="15"/>
                  </a:lnTo>
                  <a:lnTo>
                    <a:pt x="45" y="15"/>
                  </a:lnTo>
                  <a:lnTo>
                    <a:pt x="45" y="0"/>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26" name="Freeform 251"/>
            <p:cNvSpPr>
              <a:spLocks/>
            </p:cNvSpPr>
            <p:nvPr/>
          </p:nvSpPr>
          <p:spPr bwMode="auto">
            <a:xfrm>
              <a:off x="1711" y="1628"/>
              <a:ext cx="58" cy="30"/>
            </a:xfrm>
            <a:custGeom>
              <a:avLst/>
              <a:gdLst>
                <a:gd name="T0" fmla="*/ 1 w 135"/>
                <a:gd name="T1" fmla="*/ 0 h 77"/>
                <a:gd name="T2" fmla="*/ 0 w 135"/>
                <a:gd name="T3" fmla="*/ 0 h 77"/>
                <a:gd name="T4" fmla="*/ 0 w 135"/>
                <a:gd name="T5" fmla="*/ 1 h 77"/>
                <a:gd name="T6" fmla="*/ 1 w 135"/>
                <a:gd name="T7" fmla="*/ 2 h 77"/>
                <a:gd name="T8" fmla="*/ 3 w 135"/>
                <a:gd name="T9" fmla="*/ 2 h 77"/>
                <a:gd name="T10" fmla="*/ 5 w 135"/>
                <a:gd name="T11" fmla="*/ 2 h 77"/>
                <a:gd name="T12" fmla="*/ 5 w 135"/>
                <a:gd name="T13" fmla="*/ 1 h 77"/>
                <a:gd name="T14" fmla="*/ 3 w 135"/>
                <a:gd name="T15" fmla="*/ 1 h 77"/>
                <a:gd name="T16" fmla="*/ 1 w 135"/>
                <a:gd name="T17" fmla="*/ 0 h 77"/>
                <a:gd name="T18" fmla="*/ 1 w 135"/>
                <a:gd name="T19" fmla="*/ 0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 h="77">
                  <a:moveTo>
                    <a:pt x="30" y="0"/>
                  </a:moveTo>
                  <a:lnTo>
                    <a:pt x="0" y="0"/>
                  </a:lnTo>
                  <a:lnTo>
                    <a:pt x="0" y="30"/>
                  </a:lnTo>
                  <a:lnTo>
                    <a:pt x="45" y="61"/>
                  </a:lnTo>
                  <a:lnTo>
                    <a:pt x="89" y="76"/>
                  </a:lnTo>
                  <a:lnTo>
                    <a:pt x="134" y="61"/>
                  </a:lnTo>
                  <a:lnTo>
                    <a:pt x="134" y="46"/>
                  </a:lnTo>
                  <a:lnTo>
                    <a:pt x="89" y="30"/>
                  </a:lnTo>
                  <a:lnTo>
                    <a:pt x="45" y="15"/>
                  </a:lnTo>
                  <a:lnTo>
                    <a:pt x="30"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27" name="Line 252"/>
            <p:cNvSpPr>
              <a:spLocks noChangeShapeType="1"/>
            </p:cNvSpPr>
            <p:nvPr/>
          </p:nvSpPr>
          <p:spPr bwMode="auto">
            <a:xfrm>
              <a:off x="1653" y="1593"/>
              <a:ext cx="0" cy="7"/>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28" name="Freeform 253"/>
            <p:cNvSpPr>
              <a:spLocks/>
            </p:cNvSpPr>
            <p:nvPr/>
          </p:nvSpPr>
          <p:spPr bwMode="auto">
            <a:xfrm>
              <a:off x="1251" y="1117"/>
              <a:ext cx="1000" cy="465"/>
            </a:xfrm>
            <a:custGeom>
              <a:avLst/>
              <a:gdLst>
                <a:gd name="T0" fmla="*/ 29 w 2327"/>
                <a:gd name="T1" fmla="*/ 20 h 1231"/>
                <a:gd name="T2" fmla="*/ 22 w 2327"/>
                <a:gd name="T3" fmla="*/ 20 h 1231"/>
                <a:gd name="T4" fmla="*/ 23 w 2327"/>
                <a:gd name="T5" fmla="*/ 21 h 1231"/>
                <a:gd name="T6" fmla="*/ 37 w 2327"/>
                <a:gd name="T7" fmla="*/ 18 h 1231"/>
                <a:gd name="T8" fmla="*/ 34 w 2327"/>
                <a:gd name="T9" fmla="*/ 21 h 1231"/>
                <a:gd name="T10" fmla="*/ 31 w 2327"/>
                <a:gd name="T11" fmla="*/ 23 h 1231"/>
                <a:gd name="T12" fmla="*/ 29 w 2327"/>
                <a:gd name="T13" fmla="*/ 23 h 1231"/>
                <a:gd name="T14" fmla="*/ 26 w 2327"/>
                <a:gd name="T15" fmla="*/ 25 h 1231"/>
                <a:gd name="T16" fmla="*/ 21 w 2327"/>
                <a:gd name="T17" fmla="*/ 24 h 1231"/>
                <a:gd name="T18" fmla="*/ 18 w 2327"/>
                <a:gd name="T19" fmla="*/ 23 h 1231"/>
                <a:gd name="T20" fmla="*/ 18 w 2327"/>
                <a:gd name="T21" fmla="*/ 21 h 1231"/>
                <a:gd name="T22" fmla="*/ 15 w 2327"/>
                <a:gd name="T23" fmla="*/ 21 h 1231"/>
                <a:gd name="T24" fmla="*/ 17 w 2327"/>
                <a:gd name="T25" fmla="*/ 24 h 1231"/>
                <a:gd name="T26" fmla="*/ 14 w 2327"/>
                <a:gd name="T27" fmla="*/ 23 h 1231"/>
                <a:gd name="T28" fmla="*/ 9 w 2327"/>
                <a:gd name="T29" fmla="*/ 22 h 1231"/>
                <a:gd name="T30" fmla="*/ 8 w 2327"/>
                <a:gd name="T31" fmla="*/ 22 h 1231"/>
                <a:gd name="T32" fmla="*/ 4 w 2327"/>
                <a:gd name="T33" fmla="*/ 21 h 1231"/>
                <a:gd name="T34" fmla="*/ 1 w 2327"/>
                <a:gd name="T35" fmla="*/ 20 h 1231"/>
                <a:gd name="T36" fmla="*/ 0 w 2327"/>
                <a:gd name="T37" fmla="*/ 15 h 1231"/>
                <a:gd name="T38" fmla="*/ 3 w 2327"/>
                <a:gd name="T39" fmla="*/ 15 h 1231"/>
                <a:gd name="T40" fmla="*/ 3 w 2327"/>
                <a:gd name="T41" fmla="*/ 11 h 1231"/>
                <a:gd name="T42" fmla="*/ 3 w 2327"/>
                <a:gd name="T43" fmla="*/ 9 h 1231"/>
                <a:gd name="T44" fmla="*/ 6 w 2327"/>
                <a:gd name="T45" fmla="*/ 11 h 1231"/>
                <a:gd name="T46" fmla="*/ 7 w 2327"/>
                <a:gd name="T47" fmla="*/ 12 h 1231"/>
                <a:gd name="T48" fmla="*/ 10 w 2327"/>
                <a:gd name="T49" fmla="*/ 10 h 1231"/>
                <a:gd name="T50" fmla="*/ 11 w 2327"/>
                <a:gd name="T51" fmla="*/ 9 h 1231"/>
                <a:gd name="T52" fmla="*/ 14 w 2327"/>
                <a:gd name="T53" fmla="*/ 9 h 1231"/>
                <a:gd name="T54" fmla="*/ 20 w 2327"/>
                <a:gd name="T55" fmla="*/ 8 h 1231"/>
                <a:gd name="T56" fmla="*/ 21 w 2327"/>
                <a:gd name="T57" fmla="*/ 5 h 1231"/>
                <a:gd name="T58" fmla="*/ 22 w 2327"/>
                <a:gd name="T59" fmla="*/ 9 h 1231"/>
                <a:gd name="T60" fmla="*/ 26 w 2327"/>
                <a:gd name="T61" fmla="*/ 8 h 1231"/>
                <a:gd name="T62" fmla="*/ 22 w 2327"/>
                <a:gd name="T63" fmla="*/ 5 h 1231"/>
                <a:gd name="T64" fmla="*/ 24 w 2327"/>
                <a:gd name="T65" fmla="*/ 5 h 1231"/>
                <a:gd name="T66" fmla="*/ 31 w 2327"/>
                <a:gd name="T67" fmla="*/ 1 h 1231"/>
                <a:gd name="T68" fmla="*/ 35 w 2327"/>
                <a:gd name="T69" fmla="*/ 0 h 1231"/>
                <a:gd name="T70" fmla="*/ 37 w 2327"/>
                <a:gd name="T71" fmla="*/ 2 h 1231"/>
                <a:gd name="T72" fmla="*/ 41 w 2327"/>
                <a:gd name="T73" fmla="*/ 1 h 1231"/>
                <a:gd name="T74" fmla="*/ 55 w 2327"/>
                <a:gd name="T75" fmla="*/ 1 h 1231"/>
                <a:gd name="T76" fmla="*/ 69 w 2327"/>
                <a:gd name="T77" fmla="*/ 1 h 1231"/>
                <a:gd name="T78" fmla="*/ 75 w 2327"/>
                <a:gd name="T79" fmla="*/ 1 h 1231"/>
                <a:gd name="T80" fmla="*/ 76 w 2327"/>
                <a:gd name="T81" fmla="*/ 2 h 1231"/>
                <a:gd name="T82" fmla="*/ 77 w 2327"/>
                <a:gd name="T83" fmla="*/ 5 h 1231"/>
                <a:gd name="T84" fmla="*/ 72 w 2327"/>
                <a:gd name="T85" fmla="*/ 6 h 1231"/>
                <a:gd name="T86" fmla="*/ 73 w 2327"/>
                <a:gd name="T87" fmla="*/ 8 h 1231"/>
                <a:gd name="T88" fmla="*/ 73 w 2327"/>
                <a:gd name="T89" fmla="*/ 11 h 1231"/>
                <a:gd name="T90" fmla="*/ 71 w 2327"/>
                <a:gd name="T91" fmla="*/ 6 h 1231"/>
                <a:gd name="T92" fmla="*/ 68 w 2327"/>
                <a:gd name="T93" fmla="*/ 6 h 1231"/>
                <a:gd name="T94" fmla="*/ 64 w 2327"/>
                <a:gd name="T95" fmla="*/ 8 h 1231"/>
                <a:gd name="T96" fmla="*/ 61 w 2327"/>
                <a:gd name="T97" fmla="*/ 12 h 1231"/>
                <a:gd name="T98" fmla="*/ 64 w 2327"/>
                <a:gd name="T99" fmla="*/ 14 h 1231"/>
                <a:gd name="T100" fmla="*/ 63 w 2327"/>
                <a:gd name="T101" fmla="*/ 17 h 1231"/>
                <a:gd name="T102" fmla="*/ 59 w 2327"/>
                <a:gd name="T103" fmla="*/ 15 h 1231"/>
                <a:gd name="T104" fmla="*/ 54 w 2327"/>
                <a:gd name="T105" fmla="*/ 13 h 1231"/>
                <a:gd name="T106" fmla="*/ 52 w 2327"/>
                <a:gd name="T107" fmla="*/ 16 h 1231"/>
                <a:gd name="T108" fmla="*/ 49 w 2327"/>
                <a:gd name="T109" fmla="*/ 17 h 1231"/>
                <a:gd name="T110" fmla="*/ 41 w 2327"/>
                <a:gd name="T111" fmla="*/ 16 h 12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7" h="1231">
                  <a:moveTo>
                    <a:pt x="1082" y="881"/>
                  </a:moveTo>
                  <a:lnTo>
                    <a:pt x="948" y="941"/>
                  </a:lnTo>
                  <a:lnTo>
                    <a:pt x="904" y="941"/>
                  </a:lnTo>
                  <a:lnTo>
                    <a:pt x="889" y="972"/>
                  </a:lnTo>
                  <a:lnTo>
                    <a:pt x="859" y="972"/>
                  </a:lnTo>
                  <a:lnTo>
                    <a:pt x="859" y="957"/>
                  </a:lnTo>
                  <a:lnTo>
                    <a:pt x="667" y="1017"/>
                  </a:lnTo>
                  <a:lnTo>
                    <a:pt x="667" y="1002"/>
                  </a:lnTo>
                  <a:lnTo>
                    <a:pt x="652" y="987"/>
                  </a:lnTo>
                  <a:lnTo>
                    <a:pt x="637" y="1002"/>
                  </a:lnTo>
                  <a:lnTo>
                    <a:pt x="637" y="1017"/>
                  </a:lnTo>
                  <a:lnTo>
                    <a:pt x="652" y="1048"/>
                  </a:lnTo>
                  <a:lnTo>
                    <a:pt x="667" y="1048"/>
                  </a:lnTo>
                  <a:lnTo>
                    <a:pt x="667" y="1033"/>
                  </a:lnTo>
                  <a:lnTo>
                    <a:pt x="667" y="1017"/>
                  </a:lnTo>
                  <a:lnTo>
                    <a:pt x="859" y="957"/>
                  </a:lnTo>
                  <a:lnTo>
                    <a:pt x="859" y="926"/>
                  </a:lnTo>
                  <a:lnTo>
                    <a:pt x="948" y="926"/>
                  </a:lnTo>
                  <a:lnTo>
                    <a:pt x="948" y="941"/>
                  </a:lnTo>
                  <a:lnTo>
                    <a:pt x="1082" y="881"/>
                  </a:lnTo>
                  <a:lnTo>
                    <a:pt x="1067" y="941"/>
                  </a:lnTo>
                  <a:lnTo>
                    <a:pt x="1007" y="941"/>
                  </a:lnTo>
                  <a:lnTo>
                    <a:pt x="1022" y="972"/>
                  </a:lnTo>
                  <a:lnTo>
                    <a:pt x="993" y="987"/>
                  </a:lnTo>
                  <a:lnTo>
                    <a:pt x="1007" y="1017"/>
                  </a:lnTo>
                  <a:lnTo>
                    <a:pt x="993" y="1078"/>
                  </a:lnTo>
                  <a:lnTo>
                    <a:pt x="948" y="1109"/>
                  </a:lnTo>
                  <a:lnTo>
                    <a:pt x="933" y="1093"/>
                  </a:lnTo>
                  <a:lnTo>
                    <a:pt x="904" y="1124"/>
                  </a:lnTo>
                  <a:lnTo>
                    <a:pt x="919" y="1139"/>
                  </a:lnTo>
                  <a:lnTo>
                    <a:pt x="933" y="1169"/>
                  </a:lnTo>
                  <a:lnTo>
                    <a:pt x="904" y="1169"/>
                  </a:lnTo>
                  <a:lnTo>
                    <a:pt x="889" y="1184"/>
                  </a:lnTo>
                  <a:lnTo>
                    <a:pt x="874" y="1169"/>
                  </a:lnTo>
                  <a:lnTo>
                    <a:pt x="859" y="1154"/>
                  </a:lnTo>
                  <a:lnTo>
                    <a:pt x="844" y="1169"/>
                  </a:lnTo>
                  <a:lnTo>
                    <a:pt x="815" y="1184"/>
                  </a:lnTo>
                  <a:lnTo>
                    <a:pt x="800" y="1184"/>
                  </a:lnTo>
                  <a:lnTo>
                    <a:pt x="770" y="1184"/>
                  </a:lnTo>
                  <a:lnTo>
                    <a:pt x="756" y="1215"/>
                  </a:lnTo>
                  <a:lnTo>
                    <a:pt x="741" y="1230"/>
                  </a:lnTo>
                  <a:lnTo>
                    <a:pt x="711" y="1230"/>
                  </a:lnTo>
                  <a:lnTo>
                    <a:pt x="711" y="1215"/>
                  </a:lnTo>
                  <a:lnTo>
                    <a:pt x="622" y="1184"/>
                  </a:lnTo>
                  <a:lnTo>
                    <a:pt x="607" y="1184"/>
                  </a:lnTo>
                  <a:lnTo>
                    <a:pt x="593" y="1200"/>
                  </a:lnTo>
                  <a:lnTo>
                    <a:pt x="563" y="1139"/>
                  </a:lnTo>
                  <a:lnTo>
                    <a:pt x="578" y="1139"/>
                  </a:lnTo>
                  <a:lnTo>
                    <a:pt x="563" y="1109"/>
                  </a:lnTo>
                  <a:lnTo>
                    <a:pt x="548" y="1124"/>
                  </a:lnTo>
                  <a:lnTo>
                    <a:pt x="548" y="1093"/>
                  </a:lnTo>
                  <a:lnTo>
                    <a:pt x="519" y="1063"/>
                  </a:lnTo>
                  <a:lnTo>
                    <a:pt x="504" y="1048"/>
                  </a:lnTo>
                  <a:lnTo>
                    <a:pt x="519" y="1048"/>
                  </a:lnTo>
                  <a:lnTo>
                    <a:pt x="519" y="1017"/>
                  </a:lnTo>
                  <a:lnTo>
                    <a:pt x="533" y="1017"/>
                  </a:lnTo>
                  <a:lnTo>
                    <a:pt x="533" y="987"/>
                  </a:lnTo>
                  <a:lnTo>
                    <a:pt x="504" y="987"/>
                  </a:lnTo>
                  <a:lnTo>
                    <a:pt x="489" y="987"/>
                  </a:lnTo>
                  <a:lnTo>
                    <a:pt x="444" y="1017"/>
                  </a:lnTo>
                  <a:lnTo>
                    <a:pt x="444" y="1048"/>
                  </a:lnTo>
                  <a:lnTo>
                    <a:pt x="489" y="1109"/>
                  </a:lnTo>
                  <a:lnTo>
                    <a:pt x="504" y="1139"/>
                  </a:lnTo>
                  <a:lnTo>
                    <a:pt x="504" y="1200"/>
                  </a:lnTo>
                  <a:lnTo>
                    <a:pt x="489" y="1169"/>
                  </a:lnTo>
                  <a:lnTo>
                    <a:pt x="444" y="1184"/>
                  </a:lnTo>
                  <a:lnTo>
                    <a:pt x="430" y="1169"/>
                  </a:lnTo>
                  <a:lnTo>
                    <a:pt x="430" y="1154"/>
                  </a:lnTo>
                  <a:lnTo>
                    <a:pt x="415" y="1154"/>
                  </a:lnTo>
                  <a:lnTo>
                    <a:pt x="415" y="1139"/>
                  </a:lnTo>
                  <a:lnTo>
                    <a:pt x="400" y="1124"/>
                  </a:lnTo>
                  <a:lnTo>
                    <a:pt x="370" y="1124"/>
                  </a:lnTo>
                  <a:lnTo>
                    <a:pt x="356" y="1093"/>
                  </a:lnTo>
                  <a:lnTo>
                    <a:pt x="326" y="1093"/>
                  </a:lnTo>
                  <a:lnTo>
                    <a:pt x="281" y="1048"/>
                  </a:lnTo>
                  <a:lnTo>
                    <a:pt x="296" y="1017"/>
                  </a:lnTo>
                  <a:lnTo>
                    <a:pt x="267" y="1017"/>
                  </a:lnTo>
                  <a:lnTo>
                    <a:pt x="237" y="1033"/>
                  </a:lnTo>
                  <a:lnTo>
                    <a:pt x="267" y="1048"/>
                  </a:lnTo>
                  <a:lnTo>
                    <a:pt x="222" y="1063"/>
                  </a:lnTo>
                  <a:lnTo>
                    <a:pt x="207" y="1033"/>
                  </a:lnTo>
                  <a:lnTo>
                    <a:pt x="163" y="1033"/>
                  </a:lnTo>
                  <a:lnTo>
                    <a:pt x="163" y="1048"/>
                  </a:lnTo>
                  <a:lnTo>
                    <a:pt x="133" y="1048"/>
                  </a:lnTo>
                  <a:lnTo>
                    <a:pt x="133" y="1017"/>
                  </a:lnTo>
                  <a:lnTo>
                    <a:pt x="104" y="987"/>
                  </a:lnTo>
                  <a:lnTo>
                    <a:pt x="89" y="1002"/>
                  </a:lnTo>
                  <a:lnTo>
                    <a:pt x="44" y="1002"/>
                  </a:lnTo>
                  <a:lnTo>
                    <a:pt x="30" y="987"/>
                  </a:lnTo>
                  <a:lnTo>
                    <a:pt x="44" y="987"/>
                  </a:lnTo>
                  <a:lnTo>
                    <a:pt x="59" y="926"/>
                  </a:lnTo>
                  <a:lnTo>
                    <a:pt x="44" y="896"/>
                  </a:lnTo>
                  <a:lnTo>
                    <a:pt x="44" y="866"/>
                  </a:lnTo>
                  <a:lnTo>
                    <a:pt x="0" y="790"/>
                  </a:lnTo>
                  <a:lnTo>
                    <a:pt x="15" y="759"/>
                  </a:lnTo>
                  <a:lnTo>
                    <a:pt x="30" y="774"/>
                  </a:lnTo>
                  <a:lnTo>
                    <a:pt x="44" y="759"/>
                  </a:lnTo>
                  <a:lnTo>
                    <a:pt x="30" y="729"/>
                  </a:lnTo>
                  <a:lnTo>
                    <a:pt x="59" y="714"/>
                  </a:lnTo>
                  <a:lnTo>
                    <a:pt x="89" y="729"/>
                  </a:lnTo>
                  <a:lnTo>
                    <a:pt x="119" y="699"/>
                  </a:lnTo>
                  <a:lnTo>
                    <a:pt x="104" y="683"/>
                  </a:lnTo>
                  <a:lnTo>
                    <a:pt x="133" y="623"/>
                  </a:lnTo>
                  <a:lnTo>
                    <a:pt x="119" y="592"/>
                  </a:lnTo>
                  <a:lnTo>
                    <a:pt x="104" y="547"/>
                  </a:lnTo>
                  <a:lnTo>
                    <a:pt x="119" y="531"/>
                  </a:lnTo>
                  <a:lnTo>
                    <a:pt x="104" y="486"/>
                  </a:lnTo>
                  <a:lnTo>
                    <a:pt x="89" y="471"/>
                  </a:lnTo>
                  <a:lnTo>
                    <a:pt x="89" y="440"/>
                  </a:lnTo>
                  <a:lnTo>
                    <a:pt x="89" y="425"/>
                  </a:lnTo>
                  <a:lnTo>
                    <a:pt x="163" y="440"/>
                  </a:lnTo>
                  <a:lnTo>
                    <a:pt x="252" y="456"/>
                  </a:lnTo>
                  <a:lnTo>
                    <a:pt x="252" y="486"/>
                  </a:lnTo>
                  <a:lnTo>
                    <a:pt x="237" y="516"/>
                  </a:lnTo>
                  <a:lnTo>
                    <a:pt x="193" y="516"/>
                  </a:lnTo>
                  <a:lnTo>
                    <a:pt x="133" y="486"/>
                  </a:lnTo>
                  <a:lnTo>
                    <a:pt x="148" y="516"/>
                  </a:lnTo>
                  <a:lnTo>
                    <a:pt x="163" y="531"/>
                  </a:lnTo>
                  <a:lnTo>
                    <a:pt x="178" y="577"/>
                  </a:lnTo>
                  <a:lnTo>
                    <a:pt x="207" y="577"/>
                  </a:lnTo>
                  <a:lnTo>
                    <a:pt x="207" y="547"/>
                  </a:lnTo>
                  <a:lnTo>
                    <a:pt x="237" y="562"/>
                  </a:lnTo>
                  <a:lnTo>
                    <a:pt x="237" y="531"/>
                  </a:lnTo>
                  <a:lnTo>
                    <a:pt x="267" y="501"/>
                  </a:lnTo>
                  <a:lnTo>
                    <a:pt x="296" y="501"/>
                  </a:lnTo>
                  <a:lnTo>
                    <a:pt x="281" y="471"/>
                  </a:lnTo>
                  <a:lnTo>
                    <a:pt x="281" y="440"/>
                  </a:lnTo>
                  <a:lnTo>
                    <a:pt x="311" y="440"/>
                  </a:lnTo>
                  <a:lnTo>
                    <a:pt x="311" y="456"/>
                  </a:lnTo>
                  <a:lnTo>
                    <a:pt x="326" y="471"/>
                  </a:lnTo>
                  <a:lnTo>
                    <a:pt x="356" y="471"/>
                  </a:lnTo>
                  <a:lnTo>
                    <a:pt x="341" y="440"/>
                  </a:lnTo>
                  <a:lnTo>
                    <a:pt x="415" y="410"/>
                  </a:lnTo>
                  <a:lnTo>
                    <a:pt x="400" y="456"/>
                  </a:lnTo>
                  <a:lnTo>
                    <a:pt x="400" y="471"/>
                  </a:lnTo>
                  <a:lnTo>
                    <a:pt x="430" y="425"/>
                  </a:lnTo>
                  <a:lnTo>
                    <a:pt x="489" y="410"/>
                  </a:lnTo>
                  <a:lnTo>
                    <a:pt x="504" y="410"/>
                  </a:lnTo>
                  <a:lnTo>
                    <a:pt x="489" y="380"/>
                  </a:lnTo>
                  <a:lnTo>
                    <a:pt x="593" y="380"/>
                  </a:lnTo>
                  <a:lnTo>
                    <a:pt x="593" y="395"/>
                  </a:lnTo>
                  <a:lnTo>
                    <a:pt x="563" y="319"/>
                  </a:lnTo>
                  <a:lnTo>
                    <a:pt x="578" y="304"/>
                  </a:lnTo>
                  <a:lnTo>
                    <a:pt x="578" y="258"/>
                  </a:lnTo>
                  <a:lnTo>
                    <a:pt x="607" y="258"/>
                  </a:lnTo>
                  <a:lnTo>
                    <a:pt x="622" y="304"/>
                  </a:lnTo>
                  <a:lnTo>
                    <a:pt x="667" y="380"/>
                  </a:lnTo>
                  <a:lnTo>
                    <a:pt x="682" y="410"/>
                  </a:lnTo>
                  <a:lnTo>
                    <a:pt x="667" y="440"/>
                  </a:lnTo>
                  <a:lnTo>
                    <a:pt x="637" y="456"/>
                  </a:lnTo>
                  <a:lnTo>
                    <a:pt x="682" y="471"/>
                  </a:lnTo>
                  <a:lnTo>
                    <a:pt x="696" y="410"/>
                  </a:lnTo>
                  <a:lnTo>
                    <a:pt x="696" y="380"/>
                  </a:lnTo>
                  <a:lnTo>
                    <a:pt x="711" y="380"/>
                  </a:lnTo>
                  <a:lnTo>
                    <a:pt x="756" y="410"/>
                  </a:lnTo>
                  <a:lnTo>
                    <a:pt x="711" y="364"/>
                  </a:lnTo>
                  <a:lnTo>
                    <a:pt x="682" y="364"/>
                  </a:lnTo>
                  <a:lnTo>
                    <a:pt x="667" y="319"/>
                  </a:lnTo>
                  <a:lnTo>
                    <a:pt x="637" y="304"/>
                  </a:lnTo>
                  <a:lnTo>
                    <a:pt x="652" y="258"/>
                  </a:lnTo>
                  <a:lnTo>
                    <a:pt x="682" y="289"/>
                  </a:lnTo>
                  <a:lnTo>
                    <a:pt x="682" y="258"/>
                  </a:lnTo>
                  <a:lnTo>
                    <a:pt x="741" y="273"/>
                  </a:lnTo>
                  <a:lnTo>
                    <a:pt x="741" y="243"/>
                  </a:lnTo>
                  <a:lnTo>
                    <a:pt x="711" y="243"/>
                  </a:lnTo>
                  <a:lnTo>
                    <a:pt x="696" y="213"/>
                  </a:lnTo>
                  <a:lnTo>
                    <a:pt x="741" y="182"/>
                  </a:lnTo>
                  <a:lnTo>
                    <a:pt x="726" y="167"/>
                  </a:lnTo>
                  <a:lnTo>
                    <a:pt x="800" y="91"/>
                  </a:lnTo>
                  <a:lnTo>
                    <a:pt x="919" y="61"/>
                  </a:lnTo>
                  <a:lnTo>
                    <a:pt x="919" y="30"/>
                  </a:lnTo>
                  <a:lnTo>
                    <a:pt x="933" y="0"/>
                  </a:lnTo>
                  <a:lnTo>
                    <a:pt x="978" y="0"/>
                  </a:lnTo>
                  <a:lnTo>
                    <a:pt x="993" y="30"/>
                  </a:lnTo>
                  <a:lnTo>
                    <a:pt x="1022" y="0"/>
                  </a:lnTo>
                  <a:lnTo>
                    <a:pt x="1052" y="0"/>
                  </a:lnTo>
                  <a:lnTo>
                    <a:pt x="1067" y="0"/>
                  </a:lnTo>
                  <a:lnTo>
                    <a:pt x="1096" y="30"/>
                  </a:lnTo>
                  <a:lnTo>
                    <a:pt x="1082" y="61"/>
                  </a:lnTo>
                  <a:lnTo>
                    <a:pt x="1067" y="91"/>
                  </a:lnTo>
                  <a:lnTo>
                    <a:pt x="1096" y="106"/>
                  </a:lnTo>
                  <a:lnTo>
                    <a:pt x="1082" y="137"/>
                  </a:lnTo>
                  <a:lnTo>
                    <a:pt x="1156" y="61"/>
                  </a:lnTo>
                  <a:lnTo>
                    <a:pt x="1185" y="91"/>
                  </a:lnTo>
                  <a:lnTo>
                    <a:pt x="1200" y="46"/>
                  </a:lnTo>
                  <a:lnTo>
                    <a:pt x="1333" y="61"/>
                  </a:lnTo>
                  <a:lnTo>
                    <a:pt x="1452" y="106"/>
                  </a:lnTo>
                  <a:lnTo>
                    <a:pt x="1467" y="76"/>
                  </a:lnTo>
                  <a:lnTo>
                    <a:pt x="1526" y="46"/>
                  </a:lnTo>
                  <a:lnTo>
                    <a:pt x="1600" y="46"/>
                  </a:lnTo>
                  <a:lnTo>
                    <a:pt x="1644" y="61"/>
                  </a:lnTo>
                  <a:lnTo>
                    <a:pt x="1733" y="30"/>
                  </a:lnTo>
                  <a:lnTo>
                    <a:pt x="1837" y="46"/>
                  </a:lnTo>
                  <a:lnTo>
                    <a:pt x="1941" y="106"/>
                  </a:lnTo>
                  <a:lnTo>
                    <a:pt x="2015" y="61"/>
                  </a:lnTo>
                  <a:lnTo>
                    <a:pt x="2030" y="91"/>
                  </a:lnTo>
                  <a:lnTo>
                    <a:pt x="2059" y="76"/>
                  </a:lnTo>
                  <a:lnTo>
                    <a:pt x="2059" y="46"/>
                  </a:lnTo>
                  <a:lnTo>
                    <a:pt x="2133" y="30"/>
                  </a:lnTo>
                  <a:lnTo>
                    <a:pt x="2193" y="61"/>
                  </a:lnTo>
                  <a:lnTo>
                    <a:pt x="2296" y="46"/>
                  </a:lnTo>
                  <a:lnTo>
                    <a:pt x="2326" y="106"/>
                  </a:lnTo>
                  <a:lnTo>
                    <a:pt x="2296" y="106"/>
                  </a:lnTo>
                  <a:lnTo>
                    <a:pt x="2237" y="91"/>
                  </a:lnTo>
                  <a:lnTo>
                    <a:pt x="2237" y="121"/>
                  </a:lnTo>
                  <a:lnTo>
                    <a:pt x="2252" y="137"/>
                  </a:lnTo>
                  <a:lnTo>
                    <a:pt x="2296" y="137"/>
                  </a:lnTo>
                  <a:lnTo>
                    <a:pt x="2311" y="137"/>
                  </a:lnTo>
                  <a:lnTo>
                    <a:pt x="2311" y="182"/>
                  </a:lnTo>
                  <a:lnTo>
                    <a:pt x="2267" y="228"/>
                  </a:lnTo>
                  <a:lnTo>
                    <a:pt x="2237" y="273"/>
                  </a:lnTo>
                  <a:lnTo>
                    <a:pt x="2193" y="258"/>
                  </a:lnTo>
                  <a:lnTo>
                    <a:pt x="2148" y="258"/>
                  </a:lnTo>
                  <a:lnTo>
                    <a:pt x="2133" y="304"/>
                  </a:lnTo>
                  <a:lnTo>
                    <a:pt x="2119" y="273"/>
                  </a:lnTo>
                  <a:lnTo>
                    <a:pt x="2089" y="304"/>
                  </a:lnTo>
                  <a:lnTo>
                    <a:pt x="2104" y="364"/>
                  </a:lnTo>
                  <a:lnTo>
                    <a:pt x="2133" y="364"/>
                  </a:lnTo>
                  <a:lnTo>
                    <a:pt x="2133" y="395"/>
                  </a:lnTo>
                  <a:lnTo>
                    <a:pt x="2148" y="410"/>
                  </a:lnTo>
                  <a:lnTo>
                    <a:pt x="2148" y="456"/>
                  </a:lnTo>
                  <a:lnTo>
                    <a:pt x="2163" y="471"/>
                  </a:lnTo>
                  <a:lnTo>
                    <a:pt x="2148" y="486"/>
                  </a:lnTo>
                  <a:lnTo>
                    <a:pt x="2163" y="531"/>
                  </a:lnTo>
                  <a:lnTo>
                    <a:pt x="2148" y="531"/>
                  </a:lnTo>
                  <a:lnTo>
                    <a:pt x="2133" y="607"/>
                  </a:lnTo>
                  <a:lnTo>
                    <a:pt x="2045" y="456"/>
                  </a:lnTo>
                  <a:lnTo>
                    <a:pt x="2030" y="395"/>
                  </a:lnTo>
                  <a:lnTo>
                    <a:pt x="2045" y="395"/>
                  </a:lnTo>
                  <a:lnTo>
                    <a:pt x="2074" y="289"/>
                  </a:lnTo>
                  <a:lnTo>
                    <a:pt x="2045" y="213"/>
                  </a:lnTo>
                  <a:lnTo>
                    <a:pt x="2015" y="228"/>
                  </a:lnTo>
                  <a:lnTo>
                    <a:pt x="2030" y="243"/>
                  </a:lnTo>
                  <a:lnTo>
                    <a:pt x="2030" y="289"/>
                  </a:lnTo>
                  <a:lnTo>
                    <a:pt x="2000" y="289"/>
                  </a:lnTo>
                  <a:lnTo>
                    <a:pt x="2000" y="243"/>
                  </a:lnTo>
                  <a:lnTo>
                    <a:pt x="1956" y="304"/>
                  </a:lnTo>
                  <a:lnTo>
                    <a:pt x="1956" y="380"/>
                  </a:lnTo>
                  <a:lnTo>
                    <a:pt x="1926" y="395"/>
                  </a:lnTo>
                  <a:lnTo>
                    <a:pt x="1882" y="380"/>
                  </a:lnTo>
                  <a:lnTo>
                    <a:pt x="1882" y="395"/>
                  </a:lnTo>
                  <a:lnTo>
                    <a:pt x="1793" y="425"/>
                  </a:lnTo>
                  <a:lnTo>
                    <a:pt x="1763" y="547"/>
                  </a:lnTo>
                  <a:lnTo>
                    <a:pt x="1748" y="577"/>
                  </a:lnTo>
                  <a:lnTo>
                    <a:pt x="1793" y="592"/>
                  </a:lnTo>
                  <a:lnTo>
                    <a:pt x="1807" y="623"/>
                  </a:lnTo>
                  <a:lnTo>
                    <a:pt x="1837" y="577"/>
                  </a:lnTo>
                  <a:lnTo>
                    <a:pt x="1867" y="592"/>
                  </a:lnTo>
                  <a:lnTo>
                    <a:pt x="1882" y="607"/>
                  </a:lnTo>
                  <a:lnTo>
                    <a:pt x="1896" y="683"/>
                  </a:lnTo>
                  <a:lnTo>
                    <a:pt x="1911" y="744"/>
                  </a:lnTo>
                  <a:lnTo>
                    <a:pt x="1882" y="896"/>
                  </a:lnTo>
                  <a:lnTo>
                    <a:pt x="1837" y="926"/>
                  </a:lnTo>
                  <a:lnTo>
                    <a:pt x="1807" y="866"/>
                  </a:lnTo>
                  <a:lnTo>
                    <a:pt x="1837" y="850"/>
                  </a:lnTo>
                  <a:lnTo>
                    <a:pt x="1837" y="774"/>
                  </a:lnTo>
                  <a:lnTo>
                    <a:pt x="1807" y="774"/>
                  </a:lnTo>
                  <a:lnTo>
                    <a:pt x="1793" y="790"/>
                  </a:lnTo>
                  <a:lnTo>
                    <a:pt x="1778" y="790"/>
                  </a:lnTo>
                  <a:lnTo>
                    <a:pt x="1719" y="744"/>
                  </a:lnTo>
                  <a:lnTo>
                    <a:pt x="1719" y="759"/>
                  </a:lnTo>
                  <a:lnTo>
                    <a:pt x="1689" y="729"/>
                  </a:lnTo>
                  <a:lnTo>
                    <a:pt x="1644" y="683"/>
                  </a:lnTo>
                  <a:lnTo>
                    <a:pt x="1600" y="653"/>
                  </a:lnTo>
                  <a:lnTo>
                    <a:pt x="1570" y="653"/>
                  </a:lnTo>
                  <a:lnTo>
                    <a:pt x="1556" y="699"/>
                  </a:lnTo>
                  <a:lnTo>
                    <a:pt x="1570" y="699"/>
                  </a:lnTo>
                  <a:lnTo>
                    <a:pt x="1570" y="729"/>
                  </a:lnTo>
                  <a:lnTo>
                    <a:pt x="1556" y="774"/>
                  </a:lnTo>
                  <a:lnTo>
                    <a:pt x="1541" y="790"/>
                  </a:lnTo>
                  <a:lnTo>
                    <a:pt x="1526" y="790"/>
                  </a:lnTo>
                  <a:lnTo>
                    <a:pt x="1482" y="790"/>
                  </a:lnTo>
                  <a:lnTo>
                    <a:pt x="1467" y="805"/>
                  </a:lnTo>
                  <a:lnTo>
                    <a:pt x="1437" y="805"/>
                  </a:lnTo>
                  <a:lnTo>
                    <a:pt x="1422" y="820"/>
                  </a:lnTo>
                  <a:lnTo>
                    <a:pt x="1348" y="790"/>
                  </a:lnTo>
                  <a:lnTo>
                    <a:pt x="1304" y="805"/>
                  </a:lnTo>
                  <a:lnTo>
                    <a:pt x="1289" y="790"/>
                  </a:lnTo>
                  <a:lnTo>
                    <a:pt x="1230" y="759"/>
                  </a:lnTo>
                  <a:lnTo>
                    <a:pt x="1215" y="805"/>
                  </a:lnTo>
                  <a:lnTo>
                    <a:pt x="1215" y="835"/>
                  </a:lnTo>
                  <a:lnTo>
                    <a:pt x="1170" y="835"/>
                  </a:lnTo>
                  <a:lnTo>
                    <a:pt x="1126" y="835"/>
                  </a:lnTo>
                  <a:lnTo>
                    <a:pt x="1082" y="881"/>
                  </a:lnTo>
                </a:path>
              </a:pathLst>
            </a:custGeom>
            <a:solidFill>
              <a:srgbClr val="FF0040"/>
            </a:solidFill>
            <a:ln w="9525"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29" name="Freeform 254"/>
            <p:cNvSpPr>
              <a:spLocks/>
            </p:cNvSpPr>
            <p:nvPr/>
          </p:nvSpPr>
          <p:spPr bwMode="auto">
            <a:xfrm>
              <a:off x="1248" y="1117"/>
              <a:ext cx="1007" cy="471"/>
            </a:xfrm>
            <a:custGeom>
              <a:avLst/>
              <a:gdLst>
                <a:gd name="T0" fmla="*/ 34 w 2342"/>
                <a:gd name="T1" fmla="*/ 20 h 1246"/>
                <a:gd name="T2" fmla="*/ 31 w 2342"/>
                <a:gd name="T3" fmla="*/ 23 h 1246"/>
                <a:gd name="T4" fmla="*/ 30 w 2342"/>
                <a:gd name="T5" fmla="*/ 24 h 1246"/>
                <a:gd name="T6" fmla="*/ 26 w 2342"/>
                <a:gd name="T7" fmla="*/ 25 h 1246"/>
                <a:gd name="T8" fmla="*/ 21 w 2342"/>
                <a:gd name="T9" fmla="*/ 25 h 1246"/>
                <a:gd name="T10" fmla="*/ 19 w 2342"/>
                <a:gd name="T11" fmla="*/ 23 h 1246"/>
                <a:gd name="T12" fmla="*/ 18 w 2342"/>
                <a:gd name="T13" fmla="*/ 22 h 1246"/>
                <a:gd name="T14" fmla="*/ 17 w 2342"/>
                <a:gd name="T15" fmla="*/ 20 h 1246"/>
                <a:gd name="T16" fmla="*/ 17 w 2342"/>
                <a:gd name="T17" fmla="*/ 25 h 1246"/>
                <a:gd name="T18" fmla="*/ 14 w 2342"/>
                <a:gd name="T19" fmla="*/ 24 h 1246"/>
                <a:gd name="T20" fmla="*/ 11 w 2342"/>
                <a:gd name="T21" fmla="*/ 23 h 1246"/>
                <a:gd name="T22" fmla="*/ 9 w 2342"/>
                <a:gd name="T23" fmla="*/ 22 h 1246"/>
                <a:gd name="T24" fmla="*/ 5 w 2342"/>
                <a:gd name="T25" fmla="*/ 22 h 1246"/>
                <a:gd name="T26" fmla="*/ 1 w 2342"/>
                <a:gd name="T27" fmla="*/ 20 h 1246"/>
                <a:gd name="T28" fmla="*/ 0 w 2342"/>
                <a:gd name="T29" fmla="*/ 16 h 1246"/>
                <a:gd name="T30" fmla="*/ 2 w 2342"/>
                <a:gd name="T31" fmla="*/ 15 h 1246"/>
                <a:gd name="T32" fmla="*/ 4 w 2342"/>
                <a:gd name="T33" fmla="*/ 12 h 1246"/>
                <a:gd name="T34" fmla="*/ 3 w 2342"/>
                <a:gd name="T35" fmla="*/ 9 h 1246"/>
                <a:gd name="T36" fmla="*/ 8 w 2342"/>
                <a:gd name="T37" fmla="*/ 11 h 1246"/>
                <a:gd name="T38" fmla="*/ 6 w 2342"/>
                <a:gd name="T39" fmla="*/ 12 h 1246"/>
                <a:gd name="T40" fmla="*/ 9 w 2342"/>
                <a:gd name="T41" fmla="*/ 11 h 1246"/>
                <a:gd name="T42" fmla="*/ 11 w 2342"/>
                <a:gd name="T43" fmla="*/ 9 h 1246"/>
                <a:gd name="T44" fmla="*/ 14 w 2342"/>
                <a:gd name="T45" fmla="*/ 9 h 1246"/>
                <a:gd name="T46" fmla="*/ 17 w 2342"/>
                <a:gd name="T47" fmla="*/ 8 h 1246"/>
                <a:gd name="T48" fmla="*/ 20 w 2342"/>
                <a:gd name="T49" fmla="*/ 5 h 1246"/>
                <a:gd name="T50" fmla="*/ 23 w 2342"/>
                <a:gd name="T51" fmla="*/ 9 h 1246"/>
                <a:gd name="T52" fmla="*/ 25 w 2342"/>
                <a:gd name="T53" fmla="*/ 8 h 1246"/>
                <a:gd name="T54" fmla="*/ 22 w 2342"/>
                <a:gd name="T55" fmla="*/ 6 h 1246"/>
                <a:gd name="T56" fmla="*/ 25 w 2342"/>
                <a:gd name="T57" fmla="*/ 5 h 1246"/>
                <a:gd name="T58" fmla="*/ 28 w 2342"/>
                <a:gd name="T59" fmla="*/ 2 h 1246"/>
                <a:gd name="T60" fmla="*/ 34 w 2342"/>
                <a:gd name="T61" fmla="*/ 1 h 1246"/>
                <a:gd name="T62" fmla="*/ 37 w 2342"/>
                <a:gd name="T63" fmla="*/ 1 h 1246"/>
                <a:gd name="T64" fmla="*/ 41 w 2342"/>
                <a:gd name="T65" fmla="*/ 2 h 1246"/>
                <a:gd name="T66" fmla="*/ 52 w 2342"/>
                <a:gd name="T67" fmla="*/ 1 h 1246"/>
                <a:gd name="T68" fmla="*/ 67 w 2342"/>
                <a:gd name="T69" fmla="*/ 2 h 1246"/>
                <a:gd name="T70" fmla="*/ 74 w 2342"/>
                <a:gd name="T71" fmla="*/ 1 h 1246"/>
                <a:gd name="T72" fmla="*/ 77 w 2342"/>
                <a:gd name="T73" fmla="*/ 2 h 1246"/>
                <a:gd name="T74" fmla="*/ 80 w 2342"/>
                <a:gd name="T75" fmla="*/ 4 h 1246"/>
                <a:gd name="T76" fmla="*/ 74 w 2342"/>
                <a:gd name="T77" fmla="*/ 6 h 1246"/>
                <a:gd name="T78" fmla="*/ 74 w 2342"/>
                <a:gd name="T79" fmla="*/ 8 h 1246"/>
                <a:gd name="T80" fmla="*/ 74 w 2342"/>
                <a:gd name="T81" fmla="*/ 11 h 1246"/>
                <a:gd name="T82" fmla="*/ 71 w 2342"/>
                <a:gd name="T83" fmla="*/ 8 h 1246"/>
                <a:gd name="T84" fmla="*/ 70 w 2342"/>
                <a:gd name="T85" fmla="*/ 6 h 1246"/>
                <a:gd name="T86" fmla="*/ 66 w 2342"/>
                <a:gd name="T87" fmla="*/ 8 h 1246"/>
                <a:gd name="T88" fmla="*/ 60 w 2342"/>
                <a:gd name="T89" fmla="*/ 12 h 1246"/>
                <a:gd name="T90" fmla="*/ 64 w 2342"/>
                <a:gd name="T91" fmla="*/ 12 h 1246"/>
                <a:gd name="T92" fmla="*/ 62 w 2342"/>
                <a:gd name="T93" fmla="*/ 18 h 1246"/>
                <a:gd name="T94" fmla="*/ 61 w 2342"/>
                <a:gd name="T95" fmla="*/ 16 h 1246"/>
                <a:gd name="T96" fmla="*/ 55 w 2342"/>
                <a:gd name="T97" fmla="*/ 14 h 1246"/>
                <a:gd name="T98" fmla="*/ 53 w 2342"/>
                <a:gd name="T99" fmla="*/ 16 h 1246"/>
                <a:gd name="T100" fmla="*/ 49 w 2342"/>
                <a:gd name="T101" fmla="*/ 17 h 1246"/>
                <a:gd name="T102" fmla="*/ 42 w 2342"/>
                <a:gd name="T103" fmla="*/ 16 h 1246"/>
                <a:gd name="T104" fmla="*/ 37 w 2342"/>
                <a:gd name="T105" fmla="*/ 18 h 12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342" h="1246">
                  <a:moveTo>
                    <a:pt x="1088" y="891"/>
                  </a:moveTo>
                  <a:lnTo>
                    <a:pt x="1074" y="953"/>
                  </a:lnTo>
                  <a:lnTo>
                    <a:pt x="1014" y="953"/>
                  </a:lnTo>
                  <a:lnTo>
                    <a:pt x="1029" y="984"/>
                  </a:lnTo>
                  <a:lnTo>
                    <a:pt x="999" y="999"/>
                  </a:lnTo>
                  <a:lnTo>
                    <a:pt x="1014" y="1030"/>
                  </a:lnTo>
                  <a:lnTo>
                    <a:pt x="999" y="1091"/>
                  </a:lnTo>
                  <a:lnTo>
                    <a:pt x="954" y="1122"/>
                  </a:lnTo>
                  <a:lnTo>
                    <a:pt x="939" y="1107"/>
                  </a:lnTo>
                  <a:lnTo>
                    <a:pt x="910" y="1137"/>
                  </a:lnTo>
                  <a:lnTo>
                    <a:pt x="924" y="1153"/>
                  </a:lnTo>
                  <a:lnTo>
                    <a:pt x="939" y="1184"/>
                  </a:lnTo>
                  <a:lnTo>
                    <a:pt x="910" y="1184"/>
                  </a:lnTo>
                  <a:lnTo>
                    <a:pt x="895" y="1199"/>
                  </a:lnTo>
                  <a:lnTo>
                    <a:pt x="880" y="1184"/>
                  </a:lnTo>
                  <a:lnTo>
                    <a:pt x="865" y="1168"/>
                  </a:lnTo>
                  <a:lnTo>
                    <a:pt x="850" y="1184"/>
                  </a:lnTo>
                  <a:lnTo>
                    <a:pt x="820" y="1199"/>
                  </a:lnTo>
                  <a:lnTo>
                    <a:pt x="805" y="1199"/>
                  </a:lnTo>
                  <a:lnTo>
                    <a:pt x="775" y="1199"/>
                  </a:lnTo>
                  <a:lnTo>
                    <a:pt x="760" y="1230"/>
                  </a:lnTo>
                  <a:lnTo>
                    <a:pt x="746" y="1245"/>
                  </a:lnTo>
                  <a:lnTo>
                    <a:pt x="716" y="1245"/>
                  </a:lnTo>
                  <a:lnTo>
                    <a:pt x="716" y="1230"/>
                  </a:lnTo>
                  <a:lnTo>
                    <a:pt x="626" y="1199"/>
                  </a:lnTo>
                  <a:lnTo>
                    <a:pt x="611" y="1199"/>
                  </a:lnTo>
                  <a:lnTo>
                    <a:pt x="596" y="1214"/>
                  </a:lnTo>
                  <a:lnTo>
                    <a:pt x="567" y="1153"/>
                  </a:lnTo>
                  <a:lnTo>
                    <a:pt x="582" y="1153"/>
                  </a:lnTo>
                  <a:lnTo>
                    <a:pt x="567" y="1122"/>
                  </a:lnTo>
                  <a:lnTo>
                    <a:pt x="552" y="1137"/>
                  </a:lnTo>
                  <a:lnTo>
                    <a:pt x="552" y="1107"/>
                  </a:lnTo>
                  <a:lnTo>
                    <a:pt x="522" y="1076"/>
                  </a:lnTo>
                  <a:lnTo>
                    <a:pt x="507" y="1061"/>
                  </a:lnTo>
                  <a:lnTo>
                    <a:pt x="522" y="1061"/>
                  </a:lnTo>
                  <a:lnTo>
                    <a:pt x="522" y="1030"/>
                  </a:lnTo>
                  <a:lnTo>
                    <a:pt x="537" y="1030"/>
                  </a:lnTo>
                  <a:lnTo>
                    <a:pt x="537" y="999"/>
                  </a:lnTo>
                  <a:lnTo>
                    <a:pt x="507" y="999"/>
                  </a:lnTo>
                  <a:lnTo>
                    <a:pt x="492" y="999"/>
                  </a:lnTo>
                  <a:lnTo>
                    <a:pt x="447" y="1030"/>
                  </a:lnTo>
                  <a:lnTo>
                    <a:pt x="447" y="1061"/>
                  </a:lnTo>
                  <a:lnTo>
                    <a:pt x="492" y="1122"/>
                  </a:lnTo>
                  <a:lnTo>
                    <a:pt x="507" y="1153"/>
                  </a:lnTo>
                  <a:lnTo>
                    <a:pt x="507" y="1214"/>
                  </a:lnTo>
                  <a:lnTo>
                    <a:pt x="492" y="1184"/>
                  </a:lnTo>
                  <a:lnTo>
                    <a:pt x="447" y="1199"/>
                  </a:lnTo>
                  <a:lnTo>
                    <a:pt x="432" y="1184"/>
                  </a:lnTo>
                  <a:lnTo>
                    <a:pt x="432" y="1168"/>
                  </a:lnTo>
                  <a:lnTo>
                    <a:pt x="418" y="1168"/>
                  </a:lnTo>
                  <a:lnTo>
                    <a:pt x="418" y="1153"/>
                  </a:lnTo>
                  <a:lnTo>
                    <a:pt x="403" y="1137"/>
                  </a:lnTo>
                  <a:lnTo>
                    <a:pt x="373" y="1137"/>
                  </a:lnTo>
                  <a:lnTo>
                    <a:pt x="358" y="1107"/>
                  </a:lnTo>
                  <a:lnTo>
                    <a:pt x="328" y="1107"/>
                  </a:lnTo>
                  <a:lnTo>
                    <a:pt x="283" y="1061"/>
                  </a:lnTo>
                  <a:lnTo>
                    <a:pt x="298" y="1030"/>
                  </a:lnTo>
                  <a:lnTo>
                    <a:pt x="268" y="1030"/>
                  </a:lnTo>
                  <a:lnTo>
                    <a:pt x="239" y="1045"/>
                  </a:lnTo>
                  <a:lnTo>
                    <a:pt x="268" y="1061"/>
                  </a:lnTo>
                  <a:lnTo>
                    <a:pt x="224" y="1076"/>
                  </a:lnTo>
                  <a:lnTo>
                    <a:pt x="209" y="1045"/>
                  </a:lnTo>
                  <a:lnTo>
                    <a:pt x="164" y="1045"/>
                  </a:lnTo>
                  <a:lnTo>
                    <a:pt x="164" y="1061"/>
                  </a:lnTo>
                  <a:lnTo>
                    <a:pt x="134" y="1061"/>
                  </a:lnTo>
                  <a:lnTo>
                    <a:pt x="134" y="1030"/>
                  </a:lnTo>
                  <a:lnTo>
                    <a:pt x="104" y="999"/>
                  </a:lnTo>
                  <a:lnTo>
                    <a:pt x="89" y="1014"/>
                  </a:lnTo>
                  <a:lnTo>
                    <a:pt x="45" y="1014"/>
                  </a:lnTo>
                  <a:lnTo>
                    <a:pt x="30" y="999"/>
                  </a:lnTo>
                  <a:lnTo>
                    <a:pt x="45" y="999"/>
                  </a:lnTo>
                  <a:lnTo>
                    <a:pt x="60" y="938"/>
                  </a:lnTo>
                  <a:lnTo>
                    <a:pt x="45" y="907"/>
                  </a:lnTo>
                  <a:lnTo>
                    <a:pt x="45" y="876"/>
                  </a:lnTo>
                  <a:lnTo>
                    <a:pt x="0" y="799"/>
                  </a:lnTo>
                  <a:lnTo>
                    <a:pt x="15" y="769"/>
                  </a:lnTo>
                  <a:lnTo>
                    <a:pt x="30" y="784"/>
                  </a:lnTo>
                  <a:lnTo>
                    <a:pt x="45" y="769"/>
                  </a:lnTo>
                  <a:lnTo>
                    <a:pt x="30" y="738"/>
                  </a:lnTo>
                  <a:lnTo>
                    <a:pt x="60" y="722"/>
                  </a:lnTo>
                  <a:lnTo>
                    <a:pt x="89" y="738"/>
                  </a:lnTo>
                  <a:lnTo>
                    <a:pt x="119" y="707"/>
                  </a:lnTo>
                  <a:lnTo>
                    <a:pt x="104" y="692"/>
                  </a:lnTo>
                  <a:lnTo>
                    <a:pt x="134" y="630"/>
                  </a:lnTo>
                  <a:lnTo>
                    <a:pt x="119" y="599"/>
                  </a:lnTo>
                  <a:lnTo>
                    <a:pt x="104" y="553"/>
                  </a:lnTo>
                  <a:lnTo>
                    <a:pt x="119" y="538"/>
                  </a:lnTo>
                  <a:lnTo>
                    <a:pt x="104" y="492"/>
                  </a:lnTo>
                  <a:lnTo>
                    <a:pt x="89" y="476"/>
                  </a:lnTo>
                  <a:lnTo>
                    <a:pt x="89" y="446"/>
                  </a:lnTo>
                  <a:lnTo>
                    <a:pt x="89" y="430"/>
                  </a:lnTo>
                  <a:lnTo>
                    <a:pt x="164" y="446"/>
                  </a:lnTo>
                  <a:lnTo>
                    <a:pt x="253" y="461"/>
                  </a:lnTo>
                  <a:lnTo>
                    <a:pt x="253" y="492"/>
                  </a:lnTo>
                  <a:lnTo>
                    <a:pt x="239" y="523"/>
                  </a:lnTo>
                  <a:lnTo>
                    <a:pt x="194" y="523"/>
                  </a:lnTo>
                  <a:lnTo>
                    <a:pt x="134" y="492"/>
                  </a:lnTo>
                  <a:lnTo>
                    <a:pt x="149" y="523"/>
                  </a:lnTo>
                  <a:lnTo>
                    <a:pt x="164" y="538"/>
                  </a:lnTo>
                  <a:lnTo>
                    <a:pt x="179" y="584"/>
                  </a:lnTo>
                  <a:lnTo>
                    <a:pt x="209" y="584"/>
                  </a:lnTo>
                  <a:lnTo>
                    <a:pt x="209" y="553"/>
                  </a:lnTo>
                  <a:lnTo>
                    <a:pt x="239" y="569"/>
                  </a:lnTo>
                  <a:lnTo>
                    <a:pt x="239" y="538"/>
                  </a:lnTo>
                  <a:lnTo>
                    <a:pt x="268" y="507"/>
                  </a:lnTo>
                  <a:lnTo>
                    <a:pt x="298" y="507"/>
                  </a:lnTo>
                  <a:lnTo>
                    <a:pt x="283" y="476"/>
                  </a:lnTo>
                  <a:lnTo>
                    <a:pt x="283" y="446"/>
                  </a:lnTo>
                  <a:lnTo>
                    <a:pt x="313" y="446"/>
                  </a:lnTo>
                  <a:lnTo>
                    <a:pt x="313" y="461"/>
                  </a:lnTo>
                  <a:lnTo>
                    <a:pt x="328" y="476"/>
                  </a:lnTo>
                  <a:lnTo>
                    <a:pt x="358" y="476"/>
                  </a:lnTo>
                  <a:lnTo>
                    <a:pt x="343" y="446"/>
                  </a:lnTo>
                  <a:lnTo>
                    <a:pt x="418" y="415"/>
                  </a:lnTo>
                  <a:lnTo>
                    <a:pt x="403" y="461"/>
                  </a:lnTo>
                  <a:lnTo>
                    <a:pt x="403" y="476"/>
                  </a:lnTo>
                  <a:lnTo>
                    <a:pt x="432" y="430"/>
                  </a:lnTo>
                  <a:lnTo>
                    <a:pt x="492" y="415"/>
                  </a:lnTo>
                  <a:lnTo>
                    <a:pt x="507" y="415"/>
                  </a:lnTo>
                  <a:lnTo>
                    <a:pt x="492" y="384"/>
                  </a:lnTo>
                  <a:lnTo>
                    <a:pt x="596" y="384"/>
                  </a:lnTo>
                  <a:lnTo>
                    <a:pt x="596" y="400"/>
                  </a:lnTo>
                  <a:lnTo>
                    <a:pt x="567" y="323"/>
                  </a:lnTo>
                  <a:lnTo>
                    <a:pt x="582" y="307"/>
                  </a:lnTo>
                  <a:lnTo>
                    <a:pt x="582" y="261"/>
                  </a:lnTo>
                  <a:lnTo>
                    <a:pt x="611" y="261"/>
                  </a:lnTo>
                  <a:lnTo>
                    <a:pt x="626" y="307"/>
                  </a:lnTo>
                  <a:lnTo>
                    <a:pt x="671" y="384"/>
                  </a:lnTo>
                  <a:lnTo>
                    <a:pt x="686" y="415"/>
                  </a:lnTo>
                  <a:lnTo>
                    <a:pt x="671" y="446"/>
                  </a:lnTo>
                  <a:lnTo>
                    <a:pt x="641" y="461"/>
                  </a:lnTo>
                  <a:lnTo>
                    <a:pt x="686" y="476"/>
                  </a:lnTo>
                  <a:lnTo>
                    <a:pt x="701" y="415"/>
                  </a:lnTo>
                  <a:lnTo>
                    <a:pt x="701" y="384"/>
                  </a:lnTo>
                  <a:lnTo>
                    <a:pt x="716" y="384"/>
                  </a:lnTo>
                  <a:lnTo>
                    <a:pt x="760" y="415"/>
                  </a:lnTo>
                  <a:lnTo>
                    <a:pt x="716" y="369"/>
                  </a:lnTo>
                  <a:lnTo>
                    <a:pt x="686" y="369"/>
                  </a:lnTo>
                  <a:lnTo>
                    <a:pt x="671" y="323"/>
                  </a:lnTo>
                  <a:lnTo>
                    <a:pt x="641" y="307"/>
                  </a:lnTo>
                  <a:lnTo>
                    <a:pt x="656" y="261"/>
                  </a:lnTo>
                  <a:lnTo>
                    <a:pt x="686" y="292"/>
                  </a:lnTo>
                  <a:lnTo>
                    <a:pt x="686" y="261"/>
                  </a:lnTo>
                  <a:lnTo>
                    <a:pt x="746" y="277"/>
                  </a:lnTo>
                  <a:lnTo>
                    <a:pt x="746" y="246"/>
                  </a:lnTo>
                  <a:lnTo>
                    <a:pt x="716" y="246"/>
                  </a:lnTo>
                  <a:lnTo>
                    <a:pt x="701" y="215"/>
                  </a:lnTo>
                  <a:lnTo>
                    <a:pt x="746" y="184"/>
                  </a:lnTo>
                  <a:lnTo>
                    <a:pt x="731" y="169"/>
                  </a:lnTo>
                  <a:lnTo>
                    <a:pt x="805" y="92"/>
                  </a:lnTo>
                  <a:lnTo>
                    <a:pt x="924" y="61"/>
                  </a:lnTo>
                  <a:lnTo>
                    <a:pt x="924" y="31"/>
                  </a:lnTo>
                  <a:lnTo>
                    <a:pt x="939" y="0"/>
                  </a:lnTo>
                  <a:lnTo>
                    <a:pt x="984" y="0"/>
                  </a:lnTo>
                  <a:lnTo>
                    <a:pt x="999" y="31"/>
                  </a:lnTo>
                  <a:lnTo>
                    <a:pt x="1029" y="0"/>
                  </a:lnTo>
                  <a:lnTo>
                    <a:pt x="1059" y="0"/>
                  </a:lnTo>
                  <a:lnTo>
                    <a:pt x="1074" y="0"/>
                  </a:lnTo>
                  <a:lnTo>
                    <a:pt x="1103" y="31"/>
                  </a:lnTo>
                  <a:lnTo>
                    <a:pt x="1088" y="61"/>
                  </a:lnTo>
                  <a:lnTo>
                    <a:pt x="1074" y="92"/>
                  </a:lnTo>
                  <a:lnTo>
                    <a:pt x="1103" y="108"/>
                  </a:lnTo>
                  <a:lnTo>
                    <a:pt x="1088" y="138"/>
                  </a:lnTo>
                  <a:lnTo>
                    <a:pt x="1163" y="61"/>
                  </a:lnTo>
                  <a:lnTo>
                    <a:pt x="1193" y="92"/>
                  </a:lnTo>
                  <a:lnTo>
                    <a:pt x="1208" y="46"/>
                  </a:lnTo>
                  <a:lnTo>
                    <a:pt x="1342" y="61"/>
                  </a:lnTo>
                  <a:lnTo>
                    <a:pt x="1461" y="108"/>
                  </a:lnTo>
                  <a:lnTo>
                    <a:pt x="1476" y="77"/>
                  </a:lnTo>
                  <a:lnTo>
                    <a:pt x="1536" y="46"/>
                  </a:lnTo>
                  <a:lnTo>
                    <a:pt x="1610" y="46"/>
                  </a:lnTo>
                  <a:lnTo>
                    <a:pt x="1655" y="61"/>
                  </a:lnTo>
                  <a:lnTo>
                    <a:pt x="1745" y="31"/>
                  </a:lnTo>
                  <a:lnTo>
                    <a:pt x="1849" y="46"/>
                  </a:lnTo>
                  <a:lnTo>
                    <a:pt x="1953" y="108"/>
                  </a:lnTo>
                  <a:lnTo>
                    <a:pt x="2028" y="61"/>
                  </a:lnTo>
                  <a:lnTo>
                    <a:pt x="2043" y="92"/>
                  </a:lnTo>
                  <a:lnTo>
                    <a:pt x="2073" y="77"/>
                  </a:lnTo>
                  <a:lnTo>
                    <a:pt x="2073" y="46"/>
                  </a:lnTo>
                  <a:lnTo>
                    <a:pt x="2147" y="31"/>
                  </a:lnTo>
                  <a:lnTo>
                    <a:pt x="2207" y="61"/>
                  </a:lnTo>
                  <a:lnTo>
                    <a:pt x="2311" y="46"/>
                  </a:lnTo>
                  <a:lnTo>
                    <a:pt x="2341" y="108"/>
                  </a:lnTo>
                  <a:lnTo>
                    <a:pt x="2311" y="108"/>
                  </a:lnTo>
                  <a:lnTo>
                    <a:pt x="2252" y="92"/>
                  </a:lnTo>
                  <a:lnTo>
                    <a:pt x="2252" y="123"/>
                  </a:lnTo>
                  <a:lnTo>
                    <a:pt x="2266" y="138"/>
                  </a:lnTo>
                  <a:lnTo>
                    <a:pt x="2311" y="138"/>
                  </a:lnTo>
                  <a:lnTo>
                    <a:pt x="2326" y="138"/>
                  </a:lnTo>
                  <a:lnTo>
                    <a:pt x="2326" y="184"/>
                  </a:lnTo>
                  <a:lnTo>
                    <a:pt x="2281" y="231"/>
                  </a:lnTo>
                  <a:lnTo>
                    <a:pt x="2252" y="277"/>
                  </a:lnTo>
                  <a:lnTo>
                    <a:pt x="2207" y="261"/>
                  </a:lnTo>
                  <a:lnTo>
                    <a:pt x="2162" y="261"/>
                  </a:lnTo>
                  <a:lnTo>
                    <a:pt x="2147" y="307"/>
                  </a:lnTo>
                  <a:lnTo>
                    <a:pt x="2132" y="277"/>
                  </a:lnTo>
                  <a:lnTo>
                    <a:pt x="2102" y="307"/>
                  </a:lnTo>
                  <a:lnTo>
                    <a:pt x="2117" y="369"/>
                  </a:lnTo>
                  <a:lnTo>
                    <a:pt x="2147" y="369"/>
                  </a:lnTo>
                  <a:lnTo>
                    <a:pt x="2147" y="400"/>
                  </a:lnTo>
                  <a:lnTo>
                    <a:pt x="2162" y="415"/>
                  </a:lnTo>
                  <a:lnTo>
                    <a:pt x="2162" y="461"/>
                  </a:lnTo>
                  <a:lnTo>
                    <a:pt x="2177" y="476"/>
                  </a:lnTo>
                  <a:lnTo>
                    <a:pt x="2162" y="492"/>
                  </a:lnTo>
                  <a:lnTo>
                    <a:pt x="2177" y="538"/>
                  </a:lnTo>
                  <a:lnTo>
                    <a:pt x="2162" y="538"/>
                  </a:lnTo>
                  <a:lnTo>
                    <a:pt x="2147" y="615"/>
                  </a:lnTo>
                  <a:lnTo>
                    <a:pt x="2058" y="461"/>
                  </a:lnTo>
                  <a:lnTo>
                    <a:pt x="2043" y="400"/>
                  </a:lnTo>
                  <a:lnTo>
                    <a:pt x="2058" y="400"/>
                  </a:lnTo>
                  <a:lnTo>
                    <a:pt x="2088" y="292"/>
                  </a:lnTo>
                  <a:lnTo>
                    <a:pt x="2058" y="215"/>
                  </a:lnTo>
                  <a:lnTo>
                    <a:pt x="2028" y="231"/>
                  </a:lnTo>
                  <a:lnTo>
                    <a:pt x="2043" y="246"/>
                  </a:lnTo>
                  <a:lnTo>
                    <a:pt x="2043" y="292"/>
                  </a:lnTo>
                  <a:lnTo>
                    <a:pt x="2013" y="292"/>
                  </a:lnTo>
                  <a:lnTo>
                    <a:pt x="2013" y="246"/>
                  </a:lnTo>
                  <a:lnTo>
                    <a:pt x="1968" y="307"/>
                  </a:lnTo>
                  <a:lnTo>
                    <a:pt x="1968" y="384"/>
                  </a:lnTo>
                  <a:lnTo>
                    <a:pt x="1938" y="400"/>
                  </a:lnTo>
                  <a:lnTo>
                    <a:pt x="1894" y="384"/>
                  </a:lnTo>
                  <a:lnTo>
                    <a:pt x="1894" y="400"/>
                  </a:lnTo>
                  <a:lnTo>
                    <a:pt x="1804" y="430"/>
                  </a:lnTo>
                  <a:lnTo>
                    <a:pt x="1774" y="553"/>
                  </a:lnTo>
                  <a:lnTo>
                    <a:pt x="1759" y="584"/>
                  </a:lnTo>
                  <a:lnTo>
                    <a:pt x="1804" y="599"/>
                  </a:lnTo>
                  <a:lnTo>
                    <a:pt x="1819" y="630"/>
                  </a:lnTo>
                  <a:lnTo>
                    <a:pt x="1849" y="584"/>
                  </a:lnTo>
                  <a:lnTo>
                    <a:pt x="1879" y="599"/>
                  </a:lnTo>
                  <a:lnTo>
                    <a:pt x="1894" y="615"/>
                  </a:lnTo>
                  <a:lnTo>
                    <a:pt x="1909" y="692"/>
                  </a:lnTo>
                  <a:lnTo>
                    <a:pt x="1923" y="753"/>
                  </a:lnTo>
                  <a:lnTo>
                    <a:pt x="1894" y="907"/>
                  </a:lnTo>
                  <a:lnTo>
                    <a:pt x="1849" y="938"/>
                  </a:lnTo>
                  <a:lnTo>
                    <a:pt x="1819" y="876"/>
                  </a:lnTo>
                  <a:lnTo>
                    <a:pt x="1849" y="861"/>
                  </a:lnTo>
                  <a:lnTo>
                    <a:pt x="1849" y="784"/>
                  </a:lnTo>
                  <a:lnTo>
                    <a:pt x="1819" y="784"/>
                  </a:lnTo>
                  <a:lnTo>
                    <a:pt x="1804" y="799"/>
                  </a:lnTo>
                  <a:lnTo>
                    <a:pt x="1789" y="799"/>
                  </a:lnTo>
                  <a:lnTo>
                    <a:pt x="1730" y="753"/>
                  </a:lnTo>
                  <a:lnTo>
                    <a:pt x="1730" y="769"/>
                  </a:lnTo>
                  <a:lnTo>
                    <a:pt x="1700" y="738"/>
                  </a:lnTo>
                  <a:lnTo>
                    <a:pt x="1655" y="692"/>
                  </a:lnTo>
                  <a:lnTo>
                    <a:pt x="1610" y="661"/>
                  </a:lnTo>
                  <a:lnTo>
                    <a:pt x="1581" y="661"/>
                  </a:lnTo>
                  <a:lnTo>
                    <a:pt x="1566" y="707"/>
                  </a:lnTo>
                  <a:lnTo>
                    <a:pt x="1581" y="707"/>
                  </a:lnTo>
                  <a:lnTo>
                    <a:pt x="1581" y="738"/>
                  </a:lnTo>
                  <a:lnTo>
                    <a:pt x="1566" y="784"/>
                  </a:lnTo>
                  <a:lnTo>
                    <a:pt x="1551" y="799"/>
                  </a:lnTo>
                  <a:lnTo>
                    <a:pt x="1536" y="799"/>
                  </a:lnTo>
                  <a:lnTo>
                    <a:pt x="1491" y="799"/>
                  </a:lnTo>
                  <a:lnTo>
                    <a:pt x="1476" y="815"/>
                  </a:lnTo>
                  <a:lnTo>
                    <a:pt x="1446" y="815"/>
                  </a:lnTo>
                  <a:lnTo>
                    <a:pt x="1431" y="830"/>
                  </a:lnTo>
                  <a:lnTo>
                    <a:pt x="1357" y="799"/>
                  </a:lnTo>
                  <a:lnTo>
                    <a:pt x="1312" y="815"/>
                  </a:lnTo>
                  <a:lnTo>
                    <a:pt x="1297" y="799"/>
                  </a:lnTo>
                  <a:lnTo>
                    <a:pt x="1238" y="769"/>
                  </a:lnTo>
                  <a:lnTo>
                    <a:pt x="1223" y="815"/>
                  </a:lnTo>
                  <a:lnTo>
                    <a:pt x="1223" y="845"/>
                  </a:lnTo>
                  <a:lnTo>
                    <a:pt x="1178" y="845"/>
                  </a:lnTo>
                  <a:lnTo>
                    <a:pt x="1133" y="845"/>
                  </a:lnTo>
                  <a:lnTo>
                    <a:pt x="1088" y="891"/>
                  </a:lnTo>
                </a:path>
              </a:pathLst>
            </a:custGeom>
            <a:noFill/>
            <a:ln w="12700" cap="rnd" cmpd="sng">
              <a:solidFill>
                <a:srgbClr val="0000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0" name="Freeform 255"/>
            <p:cNvSpPr>
              <a:spLocks/>
            </p:cNvSpPr>
            <p:nvPr/>
          </p:nvSpPr>
          <p:spPr bwMode="auto">
            <a:xfrm>
              <a:off x="1621" y="1471"/>
              <a:ext cx="38" cy="19"/>
            </a:xfrm>
            <a:custGeom>
              <a:avLst/>
              <a:gdLst>
                <a:gd name="T0" fmla="*/ 1 w 90"/>
                <a:gd name="T1" fmla="*/ 1 h 47"/>
                <a:gd name="T2" fmla="*/ 0 w 90"/>
                <a:gd name="T3" fmla="*/ 1 h 47"/>
                <a:gd name="T4" fmla="*/ 0 w 90"/>
                <a:gd name="T5" fmla="*/ 0 h 47"/>
                <a:gd name="T6" fmla="*/ 3 w 90"/>
                <a:gd name="T7" fmla="*/ 0 h 47"/>
                <a:gd name="T8" fmla="*/ 3 w 90"/>
                <a:gd name="T9" fmla="*/ 0 h 47"/>
                <a:gd name="T10" fmla="*/ 1 w 90"/>
                <a:gd name="T11" fmla="*/ 0 h 47"/>
                <a:gd name="T12" fmla="*/ 1 w 90"/>
                <a:gd name="T13" fmla="*/ 1 h 4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0" h="47">
                  <a:moveTo>
                    <a:pt x="30" y="46"/>
                  </a:moveTo>
                  <a:lnTo>
                    <a:pt x="0" y="46"/>
                  </a:lnTo>
                  <a:lnTo>
                    <a:pt x="0" y="0"/>
                  </a:lnTo>
                  <a:lnTo>
                    <a:pt x="89" y="0"/>
                  </a:lnTo>
                  <a:lnTo>
                    <a:pt x="89" y="15"/>
                  </a:lnTo>
                  <a:lnTo>
                    <a:pt x="45" y="15"/>
                  </a:lnTo>
                  <a:lnTo>
                    <a:pt x="30" y="46"/>
                  </a:lnTo>
                </a:path>
              </a:pathLst>
            </a:custGeom>
            <a:noFill/>
            <a:ln w="12700" cap="rnd" cmpd="sng">
              <a:solidFill>
                <a:srgbClr val="0000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1" name="Freeform 256"/>
            <p:cNvSpPr>
              <a:spLocks/>
            </p:cNvSpPr>
            <p:nvPr/>
          </p:nvSpPr>
          <p:spPr bwMode="auto">
            <a:xfrm>
              <a:off x="1524" y="1494"/>
              <a:ext cx="14" cy="24"/>
            </a:xfrm>
            <a:custGeom>
              <a:avLst/>
              <a:gdLst>
                <a:gd name="T0" fmla="*/ 1 w 31"/>
                <a:gd name="T1" fmla="*/ 1 h 62"/>
                <a:gd name="T2" fmla="*/ 1 w 31"/>
                <a:gd name="T3" fmla="*/ 0 h 62"/>
                <a:gd name="T4" fmla="*/ 0 w 31"/>
                <a:gd name="T5" fmla="*/ 0 h 62"/>
                <a:gd name="T6" fmla="*/ 0 w 31"/>
                <a:gd name="T7" fmla="*/ 0 h 62"/>
                <a:gd name="T8" fmla="*/ 0 w 31"/>
                <a:gd name="T9" fmla="*/ 1 h 62"/>
                <a:gd name="T10" fmla="*/ 0 w 31"/>
                <a:gd name="T11" fmla="*/ 1 h 62"/>
                <a:gd name="T12" fmla="*/ 1 w 31"/>
                <a:gd name="T13" fmla="*/ 1 h 62"/>
                <a:gd name="T14" fmla="*/ 1 w 31"/>
                <a:gd name="T15" fmla="*/ 1 h 62"/>
                <a:gd name="T16" fmla="*/ 1 w 31"/>
                <a:gd name="T17" fmla="*/ 1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1" h="62">
                  <a:moveTo>
                    <a:pt x="30" y="31"/>
                  </a:moveTo>
                  <a:lnTo>
                    <a:pt x="30" y="15"/>
                  </a:lnTo>
                  <a:lnTo>
                    <a:pt x="15" y="0"/>
                  </a:lnTo>
                  <a:lnTo>
                    <a:pt x="0" y="15"/>
                  </a:lnTo>
                  <a:lnTo>
                    <a:pt x="0" y="31"/>
                  </a:lnTo>
                  <a:lnTo>
                    <a:pt x="15" y="61"/>
                  </a:lnTo>
                  <a:lnTo>
                    <a:pt x="30" y="61"/>
                  </a:lnTo>
                  <a:lnTo>
                    <a:pt x="30" y="46"/>
                  </a:lnTo>
                  <a:lnTo>
                    <a:pt x="30" y="31"/>
                  </a:lnTo>
                </a:path>
              </a:pathLst>
            </a:custGeom>
            <a:noFill/>
            <a:ln w="12700" cap="rnd" cmpd="sng">
              <a:solidFill>
                <a:srgbClr val="0000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2" name="Freeform 257"/>
            <p:cNvSpPr>
              <a:spLocks/>
            </p:cNvSpPr>
            <p:nvPr/>
          </p:nvSpPr>
          <p:spPr bwMode="auto">
            <a:xfrm>
              <a:off x="1416" y="1164"/>
              <a:ext cx="58" cy="58"/>
            </a:xfrm>
            <a:custGeom>
              <a:avLst/>
              <a:gdLst>
                <a:gd name="T0" fmla="*/ 0 w 134"/>
                <a:gd name="T1" fmla="*/ 3 h 156"/>
                <a:gd name="T2" fmla="*/ 0 w 134"/>
                <a:gd name="T3" fmla="*/ 3 h 156"/>
                <a:gd name="T4" fmla="*/ 2 w 134"/>
                <a:gd name="T5" fmla="*/ 2 h 156"/>
                <a:gd name="T6" fmla="*/ 3 w 134"/>
                <a:gd name="T7" fmla="*/ 1 h 156"/>
                <a:gd name="T8" fmla="*/ 5 w 134"/>
                <a:gd name="T9" fmla="*/ 0 h 156"/>
                <a:gd name="T10" fmla="*/ 4 w 134"/>
                <a:gd name="T11" fmla="*/ 0 h 156"/>
                <a:gd name="T12" fmla="*/ 3 w 134"/>
                <a:gd name="T13" fmla="*/ 0 h 156"/>
                <a:gd name="T14" fmla="*/ 3 w 134"/>
                <a:gd name="T15" fmla="*/ 0 h 156"/>
                <a:gd name="T16" fmla="*/ 3 w 134"/>
                <a:gd name="T17" fmla="*/ 0 h 156"/>
                <a:gd name="T18" fmla="*/ 1 w 134"/>
                <a:gd name="T19" fmla="*/ 1 h 156"/>
                <a:gd name="T20" fmla="*/ 0 w 134"/>
                <a:gd name="T21" fmla="*/ 2 h 156"/>
                <a:gd name="T22" fmla="*/ 0 w 134"/>
                <a:gd name="T23" fmla="*/ 3 h 156"/>
                <a:gd name="T24" fmla="*/ 0 w 134"/>
                <a:gd name="T25" fmla="*/ 3 h 1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4" h="156">
                  <a:moveTo>
                    <a:pt x="15" y="155"/>
                  </a:moveTo>
                  <a:lnTo>
                    <a:pt x="15" y="140"/>
                  </a:lnTo>
                  <a:lnTo>
                    <a:pt x="59" y="93"/>
                  </a:lnTo>
                  <a:lnTo>
                    <a:pt x="103" y="47"/>
                  </a:lnTo>
                  <a:lnTo>
                    <a:pt x="133" y="31"/>
                  </a:lnTo>
                  <a:lnTo>
                    <a:pt x="118" y="0"/>
                  </a:lnTo>
                  <a:lnTo>
                    <a:pt x="103" y="0"/>
                  </a:lnTo>
                  <a:lnTo>
                    <a:pt x="89" y="16"/>
                  </a:lnTo>
                  <a:lnTo>
                    <a:pt x="74" y="31"/>
                  </a:lnTo>
                  <a:lnTo>
                    <a:pt x="30" y="62"/>
                  </a:lnTo>
                  <a:lnTo>
                    <a:pt x="0" y="109"/>
                  </a:lnTo>
                  <a:lnTo>
                    <a:pt x="0" y="140"/>
                  </a:lnTo>
                  <a:lnTo>
                    <a:pt x="15" y="155"/>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3" name="Freeform 258"/>
            <p:cNvSpPr>
              <a:spLocks/>
            </p:cNvSpPr>
            <p:nvPr/>
          </p:nvSpPr>
          <p:spPr bwMode="auto">
            <a:xfrm>
              <a:off x="2056" y="1331"/>
              <a:ext cx="59" cy="88"/>
            </a:xfrm>
            <a:custGeom>
              <a:avLst/>
              <a:gdLst>
                <a:gd name="T0" fmla="*/ 0 w 136"/>
                <a:gd name="T1" fmla="*/ 0 h 231"/>
                <a:gd name="T2" fmla="*/ 1 w 136"/>
                <a:gd name="T3" fmla="*/ 1 h 231"/>
                <a:gd name="T4" fmla="*/ 2 w 136"/>
                <a:gd name="T5" fmla="*/ 2 h 231"/>
                <a:gd name="T6" fmla="*/ 2 w 136"/>
                <a:gd name="T7" fmla="*/ 3 h 231"/>
                <a:gd name="T8" fmla="*/ 3 w 136"/>
                <a:gd name="T9" fmla="*/ 3 h 231"/>
                <a:gd name="T10" fmla="*/ 3 w 136"/>
                <a:gd name="T11" fmla="*/ 4 h 231"/>
                <a:gd name="T12" fmla="*/ 4 w 136"/>
                <a:gd name="T13" fmla="*/ 5 h 231"/>
                <a:gd name="T14" fmla="*/ 4 w 136"/>
                <a:gd name="T15" fmla="*/ 5 h 231"/>
                <a:gd name="T16" fmla="*/ 5 w 136"/>
                <a:gd name="T17" fmla="*/ 5 h 231"/>
                <a:gd name="T18" fmla="*/ 5 w 136"/>
                <a:gd name="T19" fmla="*/ 5 h 231"/>
                <a:gd name="T20" fmla="*/ 4 w 136"/>
                <a:gd name="T21" fmla="*/ 4 h 231"/>
                <a:gd name="T22" fmla="*/ 3 w 136"/>
                <a:gd name="T23" fmla="*/ 3 h 231"/>
                <a:gd name="T24" fmla="*/ 4 w 136"/>
                <a:gd name="T25" fmla="*/ 3 h 231"/>
                <a:gd name="T26" fmla="*/ 3 w 136"/>
                <a:gd name="T27" fmla="*/ 2 h 231"/>
                <a:gd name="T28" fmla="*/ 2 w 136"/>
                <a:gd name="T29" fmla="*/ 1 h 231"/>
                <a:gd name="T30" fmla="*/ 0 w 136"/>
                <a:gd name="T31" fmla="*/ 0 h 2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6" h="231">
                  <a:moveTo>
                    <a:pt x="0" y="0"/>
                  </a:moveTo>
                  <a:lnTo>
                    <a:pt x="30" y="61"/>
                  </a:lnTo>
                  <a:lnTo>
                    <a:pt x="45" y="77"/>
                  </a:lnTo>
                  <a:lnTo>
                    <a:pt x="60" y="153"/>
                  </a:lnTo>
                  <a:lnTo>
                    <a:pt x="75" y="169"/>
                  </a:lnTo>
                  <a:lnTo>
                    <a:pt x="90" y="199"/>
                  </a:lnTo>
                  <a:lnTo>
                    <a:pt x="105" y="230"/>
                  </a:lnTo>
                  <a:lnTo>
                    <a:pt x="105" y="215"/>
                  </a:lnTo>
                  <a:lnTo>
                    <a:pt x="135" y="230"/>
                  </a:lnTo>
                  <a:lnTo>
                    <a:pt x="135" y="215"/>
                  </a:lnTo>
                  <a:lnTo>
                    <a:pt x="105" y="184"/>
                  </a:lnTo>
                  <a:lnTo>
                    <a:pt x="90" y="138"/>
                  </a:lnTo>
                  <a:lnTo>
                    <a:pt x="105" y="153"/>
                  </a:lnTo>
                  <a:lnTo>
                    <a:pt x="90" y="107"/>
                  </a:lnTo>
                  <a:lnTo>
                    <a:pt x="45" y="61"/>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4" name="Freeform 259"/>
            <p:cNvSpPr>
              <a:spLocks/>
            </p:cNvSpPr>
            <p:nvPr/>
          </p:nvSpPr>
          <p:spPr bwMode="auto">
            <a:xfrm>
              <a:off x="1589" y="1076"/>
              <a:ext cx="39" cy="35"/>
            </a:xfrm>
            <a:custGeom>
              <a:avLst/>
              <a:gdLst>
                <a:gd name="T0" fmla="*/ 3 w 90"/>
                <a:gd name="T1" fmla="*/ 1 h 93"/>
                <a:gd name="T2" fmla="*/ 0 w 90"/>
                <a:gd name="T3" fmla="*/ 0 h 93"/>
                <a:gd name="T4" fmla="*/ 0 w 90"/>
                <a:gd name="T5" fmla="*/ 1 h 93"/>
                <a:gd name="T6" fmla="*/ 1 w 90"/>
                <a:gd name="T7" fmla="*/ 2 h 93"/>
                <a:gd name="T8" fmla="*/ 3 w 90"/>
                <a:gd name="T9" fmla="*/ 2 h 93"/>
                <a:gd name="T10" fmla="*/ 3 w 90"/>
                <a:gd name="T11" fmla="*/ 1 h 93"/>
                <a:gd name="T12" fmla="*/ 3 w 90"/>
                <a:gd name="T13" fmla="*/ 1 h 9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0" h="93">
                  <a:moveTo>
                    <a:pt x="74" y="31"/>
                  </a:moveTo>
                  <a:lnTo>
                    <a:pt x="15" y="0"/>
                  </a:lnTo>
                  <a:lnTo>
                    <a:pt x="0" y="31"/>
                  </a:lnTo>
                  <a:lnTo>
                    <a:pt x="30" y="92"/>
                  </a:lnTo>
                  <a:lnTo>
                    <a:pt x="74" y="77"/>
                  </a:lnTo>
                  <a:lnTo>
                    <a:pt x="89" y="31"/>
                  </a:lnTo>
                  <a:lnTo>
                    <a:pt x="74" y="31"/>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5" name="Freeform 260"/>
            <p:cNvSpPr>
              <a:spLocks/>
            </p:cNvSpPr>
            <p:nvPr/>
          </p:nvSpPr>
          <p:spPr bwMode="auto">
            <a:xfrm>
              <a:off x="1403" y="1227"/>
              <a:ext cx="39" cy="30"/>
            </a:xfrm>
            <a:custGeom>
              <a:avLst/>
              <a:gdLst>
                <a:gd name="T0" fmla="*/ 1 w 91"/>
                <a:gd name="T1" fmla="*/ 0 h 78"/>
                <a:gd name="T2" fmla="*/ 0 w 91"/>
                <a:gd name="T3" fmla="*/ 0 h 78"/>
                <a:gd name="T4" fmla="*/ 0 w 91"/>
                <a:gd name="T5" fmla="*/ 1 h 78"/>
                <a:gd name="T6" fmla="*/ 0 w 91"/>
                <a:gd name="T7" fmla="*/ 1 h 78"/>
                <a:gd name="T8" fmla="*/ 1 w 91"/>
                <a:gd name="T9" fmla="*/ 1 h 78"/>
                <a:gd name="T10" fmla="*/ 1 w 91"/>
                <a:gd name="T11" fmla="*/ 2 h 78"/>
                <a:gd name="T12" fmla="*/ 3 w 91"/>
                <a:gd name="T13" fmla="*/ 1 h 78"/>
                <a:gd name="T14" fmla="*/ 1 w 91"/>
                <a:gd name="T15" fmla="*/ 1 h 78"/>
                <a:gd name="T16" fmla="*/ 1 w 91"/>
                <a:gd name="T17" fmla="*/ 0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1" h="78">
                  <a:moveTo>
                    <a:pt x="45" y="0"/>
                  </a:moveTo>
                  <a:lnTo>
                    <a:pt x="15" y="0"/>
                  </a:lnTo>
                  <a:lnTo>
                    <a:pt x="0" y="31"/>
                  </a:lnTo>
                  <a:lnTo>
                    <a:pt x="15" y="62"/>
                  </a:lnTo>
                  <a:lnTo>
                    <a:pt x="30" y="62"/>
                  </a:lnTo>
                  <a:lnTo>
                    <a:pt x="45" y="77"/>
                  </a:lnTo>
                  <a:lnTo>
                    <a:pt x="90" y="62"/>
                  </a:lnTo>
                  <a:lnTo>
                    <a:pt x="45" y="31"/>
                  </a:lnTo>
                  <a:lnTo>
                    <a:pt x="45"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6" name="Freeform 261"/>
            <p:cNvSpPr>
              <a:spLocks/>
            </p:cNvSpPr>
            <p:nvPr/>
          </p:nvSpPr>
          <p:spPr bwMode="auto">
            <a:xfrm>
              <a:off x="1633" y="1088"/>
              <a:ext cx="21" cy="23"/>
            </a:xfrm>
            <a:custGeom>
              <a:avLst/>
              <a:gdLst>
                <a:gd name="T0" fmla="*/ 0 w 47"/>
                <a:gd name="T1" fmla="*/ 0 h 62"/>
                <a:gd name="T2" fmla="*/ 0 w 47"/>
                <a:gd name="T3" fmla="*/ 1 h 62"/>
                <a:gd name="T4" fmla="*/ 0 w 47"/>
                <a:gd name="T5" fmla="*/ 1 h 62"/>
                <a:gd name="T6" fmla="*/ 2 w 47"/>
                <a:gd name="T7" fmla="*/ 0 h 62"/>
                <a:gd name="T8" fmla="*/ 1 w 47"/>
                <a:gd name="T9" fmla="*/ 0 h 62"/>
                <a:gd name="T10" fmla="*/ 0 w 47"/>
                <a:gd name="T11" fmla="*/ 0 h 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 h="62">
                  <a:moveTo>
                    <a:pt x="0" y="0"/>
                  </a:moveTo>
                  <a:lnTo>
                    <a:pt x="0" y="46"/>
                  </a:lnTo>
                  <a:lnTo>
                    <a:pt x="15" y="61"/>
                  </a:lnTo>
                  <a:lnTo>
                    <a:pt x="46" y="31"/>
                  </a:lnTo>
                  <a:lnTo>
                    <a:pt x="30" y="0"/>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7" name="Freeform 262"/>
            <p:cNvSpPr>
              <a:spLocks/>
            </p:cNvSpPr>
            <p:nvPr/>
          </p:nvSpPr>
          <p:spPr bwMode="auto">
            <a:xfrm>
              <a:off x="1890" y="1099"/>
              <a:ext cx="19" cy="12"/>
            </a:xfrm>
            <a:custGeom>
              <a:avLst/>
              <a:gdLst>
                <a:gd name="T0" fmla="*/ 0 w 45"/>
                <a:gd name="T1" fmla="*/ 0 h 32"/>
                <a:gd name="T2" fmla="*/ 1 w 45"/>
                <a:gd name="T3" fmla="*/ 0 h 32"/>
                <a:gd name="T4" fmla="*/ 1 w 45"/>
                <a:gd name="T5" fmla="*/ 1 h 32"/>
                <a:gd name="T6" fmla="*/ 0 w 45"/>
                <a:gd name="T7" fmla="*/ 0 h 32"/>
                <a:gd name="T8" fmla="*/ 0 w 45"/>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2">
                  <a:moveTo>
                    <a:pt x="0" y="0"/>
                  </a:moveTo>
                  <a:lnTo>
                    <a:pt x="44" y="16"/>
                  </a:lnTo>
                  <a:lnTo>
                    <a:pt x="44" y="31"/>
                  </a:lnTo>
                  <a:lnTo>
                    <a:pt x="0" y="16"/>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8" name="Freeform 263"/>
            <p:cNvSpPr>
              <a:spLocks/>
            </p:cNvSpPr>
            <p:nvPr/>
          </p:nvSpPr>
          <p:spPr bwMode="auto">
            <a:xfrm>
              <a:off x="2140" y="1105"/>
              <a:ext cx="20" cy="12"/>
            </a:xfrm>
            <a:custGeom>
              <a:avLst/>
              <a:gdLst>
                <a:gd name="T0" fmla="*/ 0 w 46"/>
                <a:gd name="T1" fmla="*/ 0 h 31"/>
                <a:gd name="T2" fmla="*/ 0 w 46"/>
                <a:gd name="T3" fmla="*/ 1 h 31"/>
                <a:gd name="T4" fmla="*/ 1 w 46"/>
                <a:gd name="T5" fmla="*/ 0 h 31"/>
                <a:gd name="T6" fmla="*/ 2 w 46"/>
                <a:gd name="T7" fmla="*/ 0 h 31"/>
                <a:gd name="T8" fmla="*/ 0 w 46"/>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1">
                  <a:moveTo>
                    <a:pt x="0" y="0"/>
                  </a:moveTo>
                  <a:lnTo>
                    <a:pt x="0" y="30"/>
                  </a:lnTo>
                  <a:lnTo>
                    <a:pt x="30" y="15"/>
                  </a:lnTo>
                  <a:lnTo>
                    <a:pt x="45" y="0"/>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39" name="Freeform 264"/>
            <p:cNvSpPr>
              <a:spLocks/>
            </p:cNvSpPr>
            <p:nvPr/>
          </p:nvSpPr>
          <p:spPr bwMode="auto">
            <a:xfrm>
              <a:off x="1865" y="1099"/>
              <a:ext cx="13" cy="18"/>
            </a:xfrm>
            <a:custGeom>
              <a:avLst/>
              <a:gdLst>
                <a:gd name="T0" fmla="*/ 0 w 30"/>
                <a:gd name="T1" fmla="*/ 0 h 47"/>
                <a:gd name="T2" fmla="*/ 0 w 30"/>
                <a:gd name="T3" fmla="*/ 1 h 47"/>
                <a:gd name="T4" fmla="*/ 1 w 30"/>
                <a:gd name="T5" fmla="*/ 1 h 47"/>
                <a:gd name="T6" fmla="*/ 1 w 30"/>
                <a:gd name="T7" fmla="*/ 0 h 47"/>
                <a:gd name="T8" fmla="*/ 0 w 30"/>
                <a:gd name="T9" fmla="*/ 0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47">
                  <a:moveTo>
                    <a:pt x="0" y="0"/>
                  </a:moveTo>
                  <a:lnTo>
                    <a:pt x="0" y="31"/>
                  </a:lnTo>
                  <a:lnTo>
                    <a:pt x="29" y="46"/>
                  </a:lnTo>
                  <a:lnTo>
                    <a:pt x="29" y="15"/>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40" name="Freeform 265"/>
            <p:cNvSpPr>
              <a:spLocks/>
            </p:cNvSpPr>
            <p:nvPr/>
          </p:nvSpPr>
          <p:spPr bwMode="auto">
            <a:xfrm>
              <a:off x="1448" y="1251"/>
              <a:ext cx="13" cy="11"/>
            </a:xfrm>
            <a:custGeom>
              <a:avLst/>
              <a:gdLst>
                <a:gd name="T0" fmla="*/ 0 w 30"/>
                <a:gd name="T1" fmla="*/ 0 h 32"/>
                <a:gd name="T2" fmla="*/ 1 w 30"/>
                <a:gd name="T3" fmla="*/ 0 h 32"/>
                <a:gd name="T4" fmla="*/ 0 w 30"/>
                <a:gd name="T5" fmla="*/ 0 h 32"/>
                <a:gd name="T6" fmla="*/ 0 w 30"/>
                <a:gd name="T7" fmla="*/ 0 h 32"/>
                <a:gd name="T8" fmla="*/ 0 w 3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2">
                  <a:moveTo>
                    <a:pt x="0" y="0"/>
                  </a:moveTo>
                  <a:lnTo>
                    <a:pt x="29" y="16"/>
                  </a:lnTo>
                  <a:lnTo>
                    <a:pt x="15" y="31"/>
                  </a:lnTo>
                  <a:lnTo>
                    <a:pt x="0" y="31"/>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41" name="Freeform 266"/>
            <p:cNvSpPr>
              <a:spLocks/>
            </p:cNvSpPr>
            <p:nvPr/>
          </p:nvSpPr>
          <p:spPr bwMode="auto">
            <a:xfrm>
              <a:off x="2198" y="1285"/>
              <a:ext cx="19" cy="7"/>
            </a:xfrm>
            <a:custGeom>
              <a:avLst/>
              <a:gdLst>
                <a:gd name="T0" fmla="*/ 0 w 45"/>
                <a:gd name="T1" fmla="*/ 0 h 17"/>
                <a:gd name="T2" fmla="*/ 0 w 45"/>
                <a:gd name="T3" fmla="*/ 0 h 17"/>
                <a:gd name="T4" fmla="*/ 1 w 45"/>
                <a:gd name="T5" fmla="*/ 0 h 17"/>
                <a:gd name="T6" fmla="*/ 0 w 45"/>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5" h="17">
                  <a:moveTo>
                    <a:pt x="14" y="0"/>
                  </a:moveTo>
                  <a:lnTo>
                    <a:pt x="0" y="0"/>
                  </a:lnTo>
                  <a:lnTo>
                    <a:pt x="44" y="16"/>
                  </a:lnTo>
                  <a:lnTo>
                    <a:pt x="14"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42" name="Line 267"/>
            <p:cNvSpPr>
              <a:spLocks noChangeShapeType="1"/>
            </p:cNvSpPr>
            <p:nvPr/>
          </p:nvSpPr>
          <p:spPr bwMode="auto">
            <a:xfrm>
              <a:off x="2262" y="1303"/>
              <a:ext cx="6"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43" name="Line 268"/>
            <p:cNvSpPr>
              <a:spLocks noChangeShapeType="1"/>
            </p:cNvSpPr>
            <p:nvPr/>
          </p:nvSpPr>
          <p:spPr bwMode="auto">
            <a:xfrm>
              <a:off x="1653" y="1564"/>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44" name="Line 269"/>
            <p:cNvSpPr>
              <a:spLocks noChangeShapeType="1"/>
            </p:cNvSpPr>
            <p:nvPr/>
          </p:nvSpPr>
          <p:spPr bwMode="auto">
            <a:xfrm>
              <a:off x="1646" y="1570"/>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45" name="Line 270"/>
            <p:cNvSpPr>
              <a:spLocks noChangeShapeType="1"/>
            </p:cNvSpPr>
            <p:nvPr/>
          </p:nvSpPr>
          <p:spPr bwMode="auto">
            <a:xfrm>
              <a:off x="1646" y="1570"/>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46" name="Line 271"/>
            <p:cNvSpPr>
              <a:spLocks noChangeShapeType="1"/>
            </p:cNvSpPr>
            <p:nvPr/>
          </p:nvSpPr>
          <p:spPr bwMode="auto">
            <a:xfrm flipH="1">
              <a:off x="1641" y="1576"/>
              <a:ext cx="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47" name="Line 272"/>
            <p:cNvSpPr>
              <a:spLocks noChangeShapeType="1"/>
            </p:cNvSpPr>
            <p:nvPr/>
          </p:nvSpPr>
          <p:spPr bwMode="auto">
            <a:xfrm>
              <a:off x="1641" y="1576"/>
              <a:ext cx="5"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48" name="Line 273"/>
            <p:cNvSpPr>
              <a:spLocks noChangeShapeType="1"/>
            </p:cNvSpPr>
            <p:nvPr/>
          </p:nvSpPr>
          <p:spPr bwMode="auto">
            <a:xfrm>
              <a:off x="1646" y="1582"/>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49" name="Line 274"/>
            <p:cNvSpPr>
              <a:spLocks noChangeShapeType="1"/>
            </p:cNvSpPr>
            <p:nvPr/>
          </p:nvSpPr>
          <p:spPr bwMode="auto">
            <a:xfrm>
              <a:off x="1653" y="1582"/>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50" name="Line 275"/>
            <p:cNvSpPr>
              <a:spLocks noChangeShapeType="1"/>
            </p:cNvSpPr>
            <p:nvPr/>
          </p:nvSpPr>
          <p:spPr bwMode="auto">
            <a:xfrm>
              <a:off x="1653" y="1588"/>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51" name="Line 276"/>
            <p:cNvSpPr>
              <a:spLocks noChangeShapeType="1"/>
            </p:cNvSpPr>
            <p:nvPr/>
          </p:nvSpPr>
          <p:spPr bwMode="auto">
            <a:xfrm>
              <a:off x="1653" y="1588"/>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52" name="Line 277"/>
            <p:cNvSpPr>
              <a:spLocks noChangeShapeType="1"/>
            </p:cNvSpPr>
            <p:nvPr/>
          </p:nvSpPr>
          <p:spPr bwMode="auto">
            <a:xfrm>
              <a:off x="1659" y="1588"/>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53" name="Line 278"/>
            <p:cNvSpPr>
              <a:spLocks noChangeShapeType="1"/>
            </p:cNvSpPr>
            <p:nvPr/>
          </p:nvSpPr>
          <p:spPr bwMode="auto">
            <a:xfrm>
              <a:off x="1672" y="1582"/>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54" name="Line 279"/>
            <p:cNvSpPr>
              <a:spLocks noChangeShapeType="1"/>
            </p:cNvSpPr>
            <p:nvPr/>
          </p:nvSpPr>
          <p:spPr bwMode="auto">
            <a:xfrm flipV="1">
              <a:off x="1672" y="1576"/>
              <a:ext cx="7"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55" name="Freeform 280"/>
            <p:cNvSpPr>
              <a:spLocks/>
            </p:cNvSpPr>
            <p:nvPr/>
          </p:nvSpPr>
          <p:spPr bwMode="auto">
            <a:xfrm>
              <a:off x="1717" y="1407"/>
              <a:ext cx="225" cy="99"/>
            </a:xfrm>
            <a:custGeom>
              <a:avLst/>
              <a:gdLst>
                <a:gd name="T0" fmla="*/ 15 w 523"/>
                <a:gd name="T1" fmla="*/ 1 h 262"/>
                <a:gd name="T2" fmla="*/ 14 w 523"/>
                <a:gd name="T3" fmla="*/ 1 h 262"/>
                <a:gd name="T4" fmla="*/ 13 w 523"/>
                <a:gd name="T5" fmla="*/ 1 h 262"/>
                <a:gd name="T6" fmla="*/ 12 w 523"/>
                <a:gd name="T7" fmla="*/ 1 h 262"/>
                <a:gd name="T8" fmla="*/ 12 w 523"/>
                <a:gd name="T9" fmla="*/ 1 h 262"/>
                <a:gd name="T10" fmla="*/ 9 w 523"/>
                <a:gd name="T11" fmla="*/ 1 h 262"/>
                <a:gd name="T12" fmla="*/ 8 w 523"/>
                <a:gd name="T13" fmla="*/ 1 h 262"/>
                <a:gd name="T14" fmla="*/ 7 w 523"/>
                <a:gd name="T15" fmla="*/ 1 h 262"/>
                <a:gd name="T16" fmla="*/ 5 w 523"/>
                <a:gd name="T17" fmla="*/ 0 h 262"/>
                <a:gd name="T18" fmla="*/ 5 w 523"/>
                <a:gd name="T19" fmla="*/ 1 h 262"/>
                <a:gd name="T20" fmla="*/ 5 w 523"/>
                <a:gd name="T21" fmla="*/ 2 h 262"/>
                <a:gd name="T22" fmla="*/ 3 w 523"/>
                <a:gd name="T23" fmla="*/ 2 h 262"/>
                <a:gd name="T24" fmla="*/ 1 w 523"/>
                <a:gd name="T25" fmla="*/ 2 h 262"/>
                <a:gd name="T26" fmla="*/ 0 w 523"/>
                <a:gd name="T27" fmla="*/ 2 h 262"/>
                <a:gd name="T28" fmla="*/ 0 w 523"/>
                <a:gd name="T29" fmla="*/ 3 h 262"/>
                <a:gd name="T30" fmla="*/ 1 w 523"/>
                <a:gd name="T31" fmla="*/ 3 h 262"/>
                <a:gd name="T32" fmla="*/ 2 w 523"/>
                <a:gd name="T33" fmla="*/ 3 h 262"/>
                <a:gd name="T34" fmla="*/ 3 w 523"/>
                <a:gd name="T35" fmla="*/ 4 h 262"/>
                <a:gd name="T36" fmla="*/ 3 w 523"/>
                <a:gd name="T37" fmla="*/ 4 h 262"/>
                <a:gd name="T38" fmla="*/ 6 w 523"/>
                <a:gd name="T39" fmla="*/ 5 h 262"/>
                <a:gd name="T40" fmla="*/ 6 w 523"/>
                <a:gd name="T41" fmla="*/ 5 h 262"/>
                <a:gd name="T42" fmla="*/ 8 w 523"/>
                <a:gd name="T43" fmla="*/ 5 h 262"/>
                <a:gd name="T44" fmla="*/ 9 w 523"/>
                <a:gd name="T45" fmla="*/ 5 h 262"/>
                <a:gd name="T46" fmla="*/ 9 w 523"/>
                <a:gd name="T47" fmla="*/ 5 h 262"/>
                <a:gd name="T48" fmla="*/ 12 w 523"/>
                <a:gd name="T49" fmla="*/ 5 h 262"/>
                <a:gd name="T50" fmla="*/ 12 w 523"/>
                <a:gd name="T51" fmla="*/ 5 h 262"/>
                <a:gd name="T52" fmla="*/ 14 w 523"/>
                <a:gd name="T53" fmla="*/ 5 h 262"/>
                <a:gd name="T54" fmla="*/ 14 w 523"/>
                <a:gd name="T55" fmla="*/ 4 h 262"/>
                <a:gd name="T56" fmla="*/ 14 w 523"/>
                <a:gd name="T57" fmla="*/ 4 h 262"/>
                <a:gd name="T58" fmla="*/ 15 w 523"/>
                <a:gd name="T59" fmla="*/ 3 h 262"/>
                <a:gd name="T60" fmla="*/ 15 w 523"/>
                <a:gd name="T61" fmla="*/ 3 h 262"/>
                <a:gd name="T62" fmla="*/ 16 w 523"/>
                <a:gd name="T63" fmla="*/ 3 h 262"/>
                <a:gd name="T64" fmla="*/ 17 w 523"/>
                <a:gd name="T65" fmla="*/ 2 h 262"/>
                <a:gd name="T66" fmla="*/ 18 w 523"/>
                <a:gd name="T67" fmla="*/ 2 h 262"/>
                <a:gd name="T68" fmla="*/ 17 w 523"/>
                <a:gd name="T69" fmla="*/ 1 h 262"/>
                <a:gd name="T70" fmla="*/ 16 w 523"/>
                <a:gd name="T71" fmla="*/ 1 h 262"/>
                <a:gd name="T72" fmla="*/ 15 w 523"/>
                <a:gd name="T73" fmla="*/ 1 h 2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3" h="262">
                  <a:moveTo>
                    <a:pt x="447" y="31"/>
                  </a:moveTo>
                  <a:lnTo>
                    <a:pt x="403" y="31"/>
                  </a:lnTo>
                  <a:lnTo>
                    <a:pt x="388" y="46"/>
                  </a:lnTo>
                  <a:lnTo>
                    <a:pt x="358" y="46"/>
                  </a:lnTo>
                  <a:lnTo>
                    <a:pt x="343" y="61"/>
                  </a:lnTo>
                  <a:lnTo>
                    <a:pt x="268" y="31"/>
                  </a:lnTo>
                  <a:lnTo>
                    <a:pt x="224" y="46"/>
                  </a:lnTo>
                  <a:lnTo>
                    <a:pt x="209" y="31"/>
                  </a:lnTo>
                  <a:lnTo>
                    <a:pt x="149" y="0"/>
                  </a:lnTo>
                  <a:lnTo>
                    <a:pt x="134" y="46"/>
                  </a:lnTo>
                  <a:lnTo>
                    <a:pt x="134" y="77"/>
                  </a:lnTo>
                  <a:lnTo>
                    <a:pt x="89" y="77"/>
                  </a:lnTo>
                  <a:lnTo>
                    <a:pt x="45" y="77"/>
                  </a:lnTo>
                  <a:lnTo>
                    <a:pt x="0" y="123"/>
                  </a:lnTo>
                  <a:lnTo>
                    <a:pt x="15" y="138"/>
                  </a:lnTo>
                  <a:lnTo>
                    <a:pt x="30" y="154"/>
                  </a:lnTo>
                  <a:lnTo>
                    <a:pt x="60" y="154"/>
                  </a:lnTo>
                  <a:lnTo>
                    <a:pt x="75" y="184"/>
                  </a:lnTo>
                  <a:lnTo>
                    <a:pt x="75" y="200"/>
                  </a:lnTo>
                  <a:lnTo>
                    <a:pt x="164" y="230"/>
                  </a:lnTo>
                  <a:lnTo>
                    <a:pt x="179" y="261"/>
                  </a:lnTo>
                  <a:lnTo>
                    <a:pt x="239" y="230"/>
                  </a:lnTo>
                  <a:lnTo>
                    <a:pt x="254" y="246"/>
                  </a:lnTo>
                  <a:lnTo>
                    <a:pt x="268" y="261"/>
                  </a:lnTo>
                  <a:lnTo>
                    <a:pt x="343" y="261"/>
                  </a:lnTo>
                  <a:lnTo>
                    <a:pt x="358" y="246"/>
                  </a:lnTo>
                  <a:lnTo>
                    <a:pt x="403" y="230"/>
                  </a:lnTo>
                  <a:lnTo>
                    <a:pt x="418" y="200"/>
                  </a:lnTo>
                  <a:lnTo>
                    <a:pt x="403" y="184"/>
                  </a:lnTo>
                  <a:lnTo>
                    <a:pt x="433" y="154"/>
                  </a:lnTo>
                  <a:lnTo>
                    <a:pt x="447" y="154"/>
                  </a:lnTo>
                  <a:lnTo>
                    <a:pt x="477" y="138"/>
                  </a:lnTo>
                  <a:lnTo>
                    <a:pt x="492" y="107"/>
                  </a:lnTo>
                  <a:lnTo>
                    <a:pt x="522" y="92"/>
                  </a:lnTo>
                  <a:lnTo>
                    <a:pt x="492" y="61"/>
                  </a:lnTo>
                  <a:lnTo>
                    <a:pt x="462" y="61"/>
                  </a:lnTo>
                  <a:lnTo>
                    <a:pt x="447" y="31"/>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56" name="Freeform 281"/>
            <p:cNvSpPr>
              <a:spLocks/>
            </p:cNvSpPr>
            <p:nvPr/>
          </p:nvSpPr>
          <p:spPr bwMode="auto">
            <a:xfrm>
              <a:off x="1641" y="1367"/>
              <a:ext cx="403" cy="332"/>
            </a:xfrm>
            <a:custGeom>
              <a:avLst/>
              <a:gdLst>
                <a:gd name="T0" fmla="*/ 23 w 941"/>
                <a:gd name="T1" fmla="*/ 5 h 877"/>
                <a:gd name="T2" fmla="*/ 21 w 941"/>
                <a:gd name="T3" fmla="*/ 5 h 877"/>
                <a:gd name="T4" fmla="*/ 20 w 941"/>
                <a:gd name="T5" fmla="*/ 6 h 877"/>
                <a:gd name="T6" fmla="*/ 20 w 941"/>
                <a:gd name="T7" fmla="*/ 7 h 877"/>
                <a:gd name="T8" fmla="*/ 18 w 941"/>
                <a:gd name="T9" fmla="*/ 8 h 877"/>
                <a:gd name="T10" fmla="*/ 15 w 941"/>
                <a:gd name="T11" fmla="*/ 7 h 877"/>
                <a:gd name="T12" fmla="*/ 12 w 941"/>
                <a:gd name="T13" fmla="*/ 8 h 877"/>
                <a:gd name="T14" fmla="*/ 9 w 941"/>
                <a:gd name="T15" fmla="*/ 6 h 877"/>
                <a:gd name="T16" fmla="*/ 8 w 941"/>
                <a:gd name="T17" fmla="*/ 5 h 877"/>
                <a:gd name="T18" fmla="*/ 6 w 941"/>
                <a:gd name="T19" fmla="*/ 5 h 877"/>
                <a:gd name="T20" fmla="*/ 6 w 941"/>
                <a:gd name="T21" fmla="*/ 6 h 877"/>
                <a:gd name="T22" fmla="*/ 4 w 941"/>
                <a:gd name="T23" fmla="*/ 6 h 877"/>
                <a:gd name="T24" fmla="*/ 3 w 941"/>
                <a:gd name="T25" fmla="*/ 8 h 877"/>
                <a:gd name="T26" fmla="*/ 1 w 941"/>
                <a:gd name="T27" fmla="*/ 9 h 877"/>
                <a:gd name="T28" fmla="*/ 0 w 941"/>
                <a:gd name="T29" fmla="*/ 10 h 877"/>
                <a:gd name="T30" fmla="*/ 1 w 941"/>
                <a:gd name="T31" fmla="*/ 11 h 877"/>
                <a:gd name="T32" fmla="*/ 4 w 941"/>
                <a:gd name="T33" fmla="*/ 12 h 877"/>
                <a:gd name="T34" fmla="*/ 4 w 941"/>
                <a:gd name="T35" fmla="*/ 14 h 877"/>
                <a:gd name="T36" fmla="*/ 6 w 941"/>
                <a:gd name="T37" fmla="*/ 14 h 877"/>
                <a:gd name="T38" fmla="*/ 9 w 941"/>
                <a:gd name="T39" fmla="*/ 15 h 877"/>
                <a:gd name="T40" fmla="*/ 10 w 941"/>
                <a:gd name="T41" fmla="*/ 15 h 877"/>
                <a:gd name="T42" fmla="*/ 11 w 941"/>
                <a:gd name="T43" fmla="*/ 15 h 877"/>
                <a:gd name="T44" fmla="*/ 14 w 941"/>
                <a:gd name="T45" fmla="*/ 14 h 877"/>
                <a:gd name="T46" fmla="*/ 15 w 941"/>
                <a:gd name="T47" fmla="*/ 14 h 877"/>
                <a:gd name="T48" fmla="*/ 15 w 941"/>
                <a:gd name="T49" fmla="*/ 14 h 877"/>
                <a:gd name="T50" fmla="*/ 16 w 941"/>
                <a:gd name="T51" fmla="*/ 15 h 877"/>
                <a:gd name="T52" fmla="*/ 16 w 941"/>
                <a:gd name="T53" fmla="*/ 16 h 877"/>
                <a:gd name="T54" fmla="*/ 17 w 941"/>
                <a:gd name="T55" fmla="*/ 16 h 877"/>
                <a:gd name="T56" fmla="*/ 18 w 941"/>
                <a:gd name="T57" fmla="*/ 18 h 877"/>
                <a:gd name="T58" fmla="*/ 19 w 941"/>
                <a:gd name="T59" fmla="*/ 18 h 877"/>
                <a:gd name="T60" fmla="*/ 20 w 941"/>
                <a:gd name="T61" fmla="*/ 17 h 877"/>
                <a:gd name="T62" fmla="*/ 21 w 941"/>
                <a:gd name="T63" fmla="*/ 17 h 877"/>
                <a:gd name="T64" fmla="*/ 22 w 941"/>
                <a:gd name="T65" fmla="*/ 17 h 877"/>
                <a:gd name="T66" fmla="*/ 24 w 941"/>
                <a:gd name="T67" fmla="*/ 17 h 877"/>
                <a:gd name="T68" fmla="*/ 24 w 941"/>
                <a:gd name="T69" fmla="*/ 18 h 877"/>
                <a:gd name="T70" fmla="*/ 24 w 941"/>
                <a:gd name="T71" fmla="*/ 17 h 877"/>
                <a:gd name="T72" fmla="*/ 26 w 941"/>
                <a:gd name="T73" fmla="*/ 17 h 877"/>
                <a:gd name="T74" fmla="*/ 26 w 941"/>
                <a:gd name="T75" fmla="*/ 17 h 877"/>
                <a:gd name="T76" fmla="*/ 29 w 941"/>
                <a:gd name="T77" fmla="*/ 16 h 877"/>
                <a:gd name="T78" fmla="*/ 29 w 941"/>
                <a:gd name="T79" fmla="*/ 13 h 877"/>
                <a:gd name="T80" fmla="*/ 29 w 941"/>
                <a:gd name="T81" fmla="*/ 12 h 877"/>
                <a:gd name="T82" fmla="*/ 28 w 941"/>
                <a:gd name="T83" fmla="*/ 11 h 877"/>
                <a:gd name="T84" fmla="*/ 27 w 941"/>
                <a:gd name="T85" fmla="*/ 10 h 877"/>
                <a:gd name="T86" fmla="*/ 28 w 941"/>
                <a:gd name="T87" fmla="*/ 9 h 877"/>
                <a:gd name="T88" fmla="*/ 27 w 941"/>
                <a:gd name="T89" fmla="*/ 9 h 877"/>
                <a:gd name="T90" fmla="*/ 25 w 941"/>
                <a:gd name="T91" fmla="*/ 8 h 877"/>
                <a:gd name="T92" fmla="*/ 27 w 941"/>
                <a:gd name="T93" fmla="*/ 7 h 877"/>
                <a:gd name="T94" fmla="*/ 27 w 941"/>
                <a:gd name="T95" fmla="*/ 8 h 877"/>
                <a:gd name="T96" fmla="*/ 29 w 941"/>
                <a:gd name="T97" fmla="*/ 8 h 877"/>
                <a:gd name="T98" fmla="*/ 30 w 941"/>
                <a:gd name="T99" fmla="*/ 6 h 877"/>
                <a:gd name="T100" fmla="*/ 32 w 941"/>
                <a:gd name="T101" fmla="*/ 6 h 877"/>
                <a:gd name="T102" fmla="*/ 32 w 941"/>
                <a:gd name="T103" fmla="*/ 4 h 877"/>
                <a:gd name="T104" fmla="*/ 31 w 941"/>
                <a:gd name="T105" fmla="*/ 3 h 877"/>
                <a:gd name="T106" fmla="*/ 30 w 941"/>
                <a:gd name="T107" fmla="*/ 3 h 877"/>
                <a:gd name="T108" fmla="*/ 28 w 941"/>
                <a:gd name="T109" fmla="*/ 2 h 877"/>
                <a:gd name="T110" fmla="*/ 25 w 941"/>
                <a:gd name="T111" fmla="*/ 1 h 877"/>
                <a:gd name="T112" fmla="*/ 23 w 941"/>
                <a:gd name="T113" fmla="*/ 0 h 877"/>
                <a:gd name="T114" fmla="*/ 23 w 941"/>
                <a:gd name="T115" fmla="*/ 1 h 877"/>
                <a:gd name="T116" fmla="*/ 22 w 941"/>
                <a:gd name="T117" fmla="*/ 3 h 877"/>
                <a:gd name="T118" fmla="*/ 21 w 941"/>
                <a:gd name="T119" fmla="*/ 3 h 877"/>
                <a:gd name="T120" fmla="*/ 23 w 941"/>
                <a:gd name="T121" fmla="*/ 3 h 87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41" h="877">
                  <a:moveTo>
                    <a:pt x="701" y="200"/>
                  </a:moveTo>
                  <a:lnTo>
                    <a:pt x="671" y="215"/>
                  </a:lnTo>
                  <a:lnTo>
                    <a:pt x="657" y="246"/>
                  </a:lnTo>
                  <a:lnTo>
                    <a:pt x="627" y="261"/>
                  </a:lnTo>
                  <a:lnTo>
                    <a:pt x="612" y="261"/>
                  </a:lnTo>
                  <a:lnTo>
                    <a:pt x="582" y="292"/>
                  </a:lnTo>
                  <a:lnTo>
                    <a:pt x="597" y="307"/>
                  </a:lnTo>
                  <a:lnTo>
                    <a:pt x="582" y="338"/>
                  </a:lnTo>
                  <a:lnTo>
                    <a:pt x="537" y="353"/>
                  </a:lnTo>
                  <a:lnTo>
                    <a:pt x="522" y="369"/>
                  </a:lnTo>
                  <a:lnTo>
                    <a:pt x="448" y="369"/>
                  </a:lnTo>
                  <a:lnTo>
                    <a:pt x="433" y="353"/>
                  </a:lnTo>
                  <a:lnTo>
                    <a:pt x="418" y="338"/>
                  </a:lnTo>
                  <a:lnTo>
                    <a:pt x="358" y="369"/>
                  </a:lnTo>
                  <a:lnTo>
                    <a:pt x="343" y="338"/>
                  </a:lnTo>
                  <a:lnTo>
                    <a:pt x="254" y="307"/>
                  </a:lnTo>
                  <a:lnTo>
                    <a:pt x="254" y="292"/>
                  </a:lnTo>
                  <a:lnTo>
                    <a:pt x="239" y="261"/>
                  </a:lnTo>
                  <a:lnTo>
                    <a:pt x="209" y="261"/>
                  </a:lnTo>
                  <a:lnTo>
                    <a:pt x="194" y="246"/>
                  </a:lnTo>
                  <a:lnTo>
                    <a:pt x="179" y="231"/>
                  </a:lnTo>
                  <a:lnTo>
                    <a:pt x="164" y="292"/>
                  </a:lnTo>
                  <a:lnTo>
                    <a:pt x="104" y="292"/>
                  </a:lnTo>
                  <a:lnTo>
                    <a:pt x="119" y="323"/>
                  </a:lnTo>
                  <a:lnTo>
                    <a:pt x="90" y="338"/>
                  </a:lnTo>
                  <a:lnTo>
                    <a:pt x="104" y="369"/>
                  </a:lnTo>
                  <a:lnTo>
                    <a:pt x="90" y="430"/>
                  </a:lnTo>
                  <a:lnTo>
                    <a:pt x="45" y="461"/>
                  </a:lnTo>
                  <a:lnTo>
                    <a:pt x="30" y="446"/>
                  </a:lnTo>
                  <a:lnTo>
                    <a:pt x="0" y="476"/>
                  </a:lnTo>
                  <a:lnTo>
                    <a:pt x="15" y="492"/>
                  </a:lnTo>
                  <a:lnTo>
                    <a:pt x="30" y="523"/>
                  </a:lnTo>
                  <a:lnTo>
                    <a:pt x="75" y="553"/>
                  </a:lnTo>
                  <a:lnTo>
                    <a:pt x="119" y="584"/>
                  </a:lnTo>
                  <a:lnTo>
                    <a:pt x="119" y="630"/>
                  </a:lnTo>
                  <a:lnTo>
                    <a:pt x="134" y="676"/>
                  </a:lnTo>
                  <a:lnTo>
                    <a:pt x="164" y="692"/>
                  </a:lnTo>
                  <a:lnTo>
                    <a:pt x="194" y="692"/>
                  </a:lnTo>
                  <a:lnTo>
                    <a:pt x="209" y="707"/>
                  </a:lnTo>
                  <a:lnTo>
                    <a:pt x="254" y="722"/>
                  </a:lnTo>
                  <a:lnTo>
                    <a:pt x="298" y="738"/>
                  </a:lnTo>
                  <a:lnTo>
                    <a:pt x="298" y="722"/>
                  </a:lnTo>
                  <a:lnTo>
                    <a:pt x="313" y="738"/>
                  </a:lnTo>
                  <a:lnTo>
                    <a:pt x="328" y="738"/>
                  </a:lnTo>
                  <a:lnTo>
                    <a:pt x="358" y="722"/>
                  </a:lnTo>
                  <a:lnTo>
                    <a:pt x="403" y="692"/>
                  </a:lnTo>
                  <a:lnTo>
                    <a:pt x="418" y="707"/>
                  </a:lnTo>
                  <a:lnTo>
                    <a:pt x="433" y="692"/>
                  </a:lnTo>
                  <a:lnTo>
                    <a:pt x="448" y="692"/>
                  </a:lnTo>
                  <a:lnTo>
                    <a:pt x="448" y="707"/>
                  </a:lnTo>
                  <a:lnTo>
                    <a:pt x="477" y="707"/>
                  </a:lnTo>
                  <a:lnTo>
                    <a:pt x="477" y="722"/>
                  </a:lnTo>
                  <a:lnTo>
                    <a:pt x="492" y="768"/>
                  </a:lnTo>
                  <a:lnTo>
                    <a:pt x="477" y="784"/>
                  </a:lnTo>
                  <a:lnTo>
                    <a:pt x="477" y="815"/>
                  </a:lnTo>
                  <a:lnTo>
                    <a:pt x="492" y="799"/>
                  </a:lnTo>
                  <a:lnTo>
                    <a:pt x="507" y="861"/>
                  </a:lnTo>
                  <a:lnTo>
                    <a:pt x="537" y="861"/>
                  </a:lnTo>
                  <a:lnTo>
                    <a:pt x="552" y="876"/>
                  </a:lnTo>
                  <a:lnTo>
                    <a:pt x="567" y="861"/>
                  </a:lnTo>
                  <a:lnTo>
                    <a:pt x="567" y="845"/>
                  </a:lnTo>
                  <a:lnTo>
                    <a:pt x="582" y="830"/>
                  </a:lnTo>
                  <a:lnTo>
                    <a:pt x="597" y="830"/>
                  </a:lnTo>
                  <a:lnTo>
                    <a:pt x="627" y="815"/>
                  </a:lnTo>
                  <a:lnTo>
                    <a:pt x="642" y="830"/>
                  </a:lnTo>
                  <a:lnTo>
                    <a:pt x="642" y="845"/>
                  </a:lnTo>
                  <a:lnTo>
                    <a:pt x="671" y="861"/>
                  </a:lnTo>
                  <a:lnTo>
                    <a:pt x="701" y="845"/>
                  </a:lnTo>
                  <a:lnTo>
                    <a:pt x="701" y="861"/>
                  </a:lnTo>
                  <a:lnTo>
                    <a:pt x="716" y="876"/>
                  </a:lnTo>
                  <a:lnTo>
                    <a:pt x="716" y="861"/>
                  </a:lnTo>
                  <a:lnTo>
                    <a:pt x="716" y="845"/>
                  </a:lnTo>
                  <a:lnTo>
                    <a:pt x="761" y="830"/>
                  </a:lnTo>
                  <a:lnTo>
                    <a:pt x="761" y="815"/>
                  </a:lnTo>
                  <a:lnTo>
                    <a:pt x="776" y="830"/>
                  </a:lnTo>
                  <a:lnTo>
                    <a:pt x="776" y="815"/>
                  </a:lnTo>
                  <a:lnTo>
                    <a:pt x="806" y="815"/>
                  </a:lnTo>
                  <a:lnTo>
                    <a:pt x="850" y="753"/>
                  </a:lnTo>
                  <a:lnTo>
                    <a:pt x="880" y="645"/>
                  </a:lnTo>
                  <a:lnTo>
                    <a:pt x="865" y="630"/>
                  </a:lnTo>
                  <a:lnTo>
                    <a:pt x="850" y="615"/>
                  </a:lnTo>
                  <a:lnTo>
                    <a:pt x="865" y="599"/>
                  </a:lnTo>
                  <a:lnTo>
                    <a:pt x="865" y="584"/>
                  </a:lnTo>
                  <a:lnTo>
                    <a:pt x="836" y="538"/>
                  </a:lnTo>
                  <a:lnTo>
                    <a:pt x="806" y="523"/>
                  </a:lnTo>
                  <a:lnTo>
                    <a:pt x="806" y="492"/>
                  </a:lnTo>
                  <a:lnTo>
                    <a:pt x="821" y="461"/>
                  </a:lnTo>
                  <a:lnTo>
                    <a:pt x="836" y="461"/>
                  </a:lnTo>
                  <a:lnTo>
                    <a:pt x="836" y="446"/>
                  </a:lnTo>
                  <a:lnTo>
                    <a:pt x="806" y="430"/>
                  </a:lnTo>
                  <a:lnTo>
                    <a:pt x="791" y="461"/>
                  </a:lnTo>
                  <a:lnTo>
                    <a:pt x="746" y="415"/>
                  </a:lnTo>
                  <a:lnTo>
                    <a:pt x="761" y="400"/>
                  </a:lnTo>
                  <a:lnTo>
                    <a:pt x="806" y="353"/>
                  </a:lnTo>
                  <a:lnTo>
                    <a:pt x="821" y="369"/>
                  </a:lnTo>
                  <a:lnTo>
                    <a:pt x="806" y="400"/>
                  </a:lnTo>
                  <a:lnTo>
                    <a:pt x="821" y="384"/>
                  </a:lnTo>
                  <a:lnTo>
                    <a:pt x="865" y="369"/>
                  </a:lnTo>
                  <a:lnTo>
                    <a:pt x="865" y="323"/>
                  </a:lnTo>
                  <a:lnTo>
                    <a:pt x="895" y="323"/>
                  </a:lnTo>
                  <a:lnTo>
                    <a:pt x="910" y="277"/>
                  </a:lnTo>
                  <a:lnTo>
                    <a:pt x="940" y="277"/>
                  </a:lnTo>
                  <a:lnTo>
                    <a:pt x="910" y="215"/>
                  </a:lnTo>
                  <a:lnTo>
                    <a:pt x="940" y="200"/>
                  </a:lnTo>
                  <a:lnTo>
                    <a:pt x="940" y="123"/>
                  </a:lnTo>
                  <a:lnTo>
                    <a:pt x="910" y="123"/>
                  </a:lnTo>
                  <a:lnTo>
                    <a:pt x="895" y="138"/>
                  </a:lnTo>
                  <a:lnTo>
                    <a:pt x="880" y="138"/>
                  </a:lnTo>
                  <a:lnTo>
                    <a:pt x="821" y="92"/>
                  </a:lnTo>
                  <a:lnTo>
                    <a:pt x="821" y="108"/>
                  </a:lnTo>
                  <a:lnTo>
                    <a:pt x="791" y="77"/>
                  </a:lnTo>
                  <a:lnTo>
                    <a:pt x="746" y="31"/>
                  </a:lnTo>
                  <a:lnTo>
                    <a:pt x="701" y="0"/>
                  </a:lnTo>
                  <a:lnTo>
                    <a:pt x="671" y="0"/>
                  </a:lnTo>
                  <a:lnTo>
                    <a:pt x="657" y="46"/>
                  </a:lnTo>
                  <a:lnTo>
                    <a:pt x="671" y="46"/>
                  </a:lnTo>
                  <a:lnTo>
                    <a:pt x="671" y="77"/>
                  </a:lnTo>
                  <a:lnTo>
                    <a:pt x="657" y="123"/>
                  </a:lnTo>
                  <a:lnTo>
                    <a:pt x="642" y="138"/>
                  </a:lnTo>
                  <a:lnTo>
                    <a:pt x="627" y="138"/>
                  </a:lnTo>
                  <a:lnTo>
                    <a:pt x="642" y="169"/>
                  </a:lnTo>
                  <a:lnTo>
                    <a:pt x="671" y="169"/>
                  </a:lnTo>
                  <a:lnTo>
                    <a:pt x="701" y="20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57" name="Freeform 282"/>
            <p:cNvSpPr>
              <a:spLocks/>
            </p:cNvSpPr>
            <p:nvPr/>
          </p:nvSpPr>
          <p:spPr bwMode="auto">
            <a:xfrm>
              <a:off x="1935" y="1704"/>
              <a:ext cx="20" cy="11"/>
            </a:xfrm>
            <a:custGeom>
              <a:avLst/>
              <a:gdLst>
                <a:gd name="T0" fmla="*/ 2 w 46"/>
                <a:gd name="T1" fmla="*/ 0 h 32"/>
                <a:gd name="T2" fmla="*/ 0 w 46"/>
                <a:gd name="T3" fmla="*/ 0 h 32"/>
                <a:gd name="T4" fmla="*/ 0 w 46"/>
                <a:gd name="T5" fmla="*/ 0 h 32"/>
                <a:gd name="T6" fmla="*/ 1 w 46"/>
                <a:gd name="T7" fmla="*/ 0 h 32"/>
                <a:gd name="T8" fmla="*/ 2 w 46"/>
                <a:gd name="T9" fmla="*/ 0 h 32"/>
                <a:gd name="T10" fmla="*/ 2 w 46"/>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32">
                  <a:moveTo>
                    <a:pt x="45" y="0"/>
                  </a:moveTo>
                  <a:lnTo>
                    <a:pt x="15" y="0"/>
                  </a:lnTo>
                  <a:lnTo>
                    <a:pt x="0" y="31"/>
                  </a:lnTo>
                  <a:lnTo>
                    <a:pt x="30" y="31"/>
                  </a:lnTo>
                  <a:lnTo>
                    <a:pt x="45" y="16"/>
                  </a:lnTo>
                  <a:lnTo>
                    <a:pt x="45"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58" name="Line 283"/>
            <p:cNvSpPr>
              <a:spLocks noChangeShapeType="1"/>
            </p:cNvSpPr>
            <p:nvPr/>
          </p:nvSpPr>
          <p:spPr bwMode="auto">
            <a:xfrm>
              <a:off x="1659" y="1605"/>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59" name="Line 284"/>
            <p:cNvSpPr>
              <a:spLocks noChangeShapeType="1"/>
            </p:cNvSpPr>
            <p:nvPr/>
          </p:nvSpPr>
          <p:spPr bwMode="auto">
            <a:xfrm>
              <a:off x="1794" y="1640"/>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0" name="Line 285"/>
            <p:cNvSpPr>
              <a:spLocks noChangeShapeType="1"/>
            </p:cNvSpPr>
            <p:nvPr/>
          </p:nvSpPr>
          <p:spPr bwMode="auto">
            <a:xfrm flipV="1">
              <a:off x="1807" y="1634"/>
              <a:ext cx="0" cy="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1" name="Line 286"/>
            <p:cNvSpPr>
              <a:spLocks noChangeShapeType="1"/>
            </p:cNvSpPr>
            <p:nvPr/>
          </p:nvSpPr>
          <p:spPr bwMode="auto">
            <a:xfrm>
              <a:off x="1813" y="1634"/>
              <a:ext cx="8"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2" name="Line 287"/>
            <p:cNvSpPr>
              <a:spLocks noChangeShapeType="1"/>
            </p:cNvSpPr>
            <p:nvPr/>
          </p:nvSpPr>
          <p:spPr bwMode="auto">
            <a:xfrm>
              <a:off x="1813" y="1634"/>
              <a:ext cx="8"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3" name="Line 288"/>
            <p:cNvSpPr>
              <a:spLocks noChangeShapeType="1"/>
            </p:cNvSpPr>
            <p:nvPr/>
          </p:nvSpPr>
          <p:spPr bwMode="auto">
            <a:xfrm>
              <a:off x="1821" y="1634"/>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4" name="Line 289"/>
            <p:cNvSpPr>
              <a:spLocks noChangeShapeType="1"/>
            </p:cNvSpPr>
            <p:nvPr/>
          </p:nvSpPr>
          <p:spPr bwMode="auto">
            <a:xfrm flipV="1">
              <a:off x="1826" y="1628"/>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5" name="Line 290"/>
            <p:cNvSpPr>
              <a:spLocks noChangeShapeType="1"/>
            </p:cNvSpPr>
            <p:nvPr/>
          </p:nvSpPr>
          <p:spPr bwMode="auto">
            <a:xfrm>
              <a:off x="1826" y="1628"/>
              <a:ext cx="6"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6" name="Line 291"/>
            <p:cNvSpPr>
              <a:spLocks noChangeShapeType="1"/>
            </p:cNvSpPr>
            <p:nvPr/>
          </p:nvSpPr>
          <p:spPr bwMode="auto">
            <a:xfrm>
              <a:off x="1832" y="1634"/>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7" name="Line 292"/>
            <p:cNvSpPr>
              <a:spLocks noChangeShapeType="1"/>
            </p:cNvSpPr>
            <p:nvPr/>
          </p:nvSpPr>
          <p:spPr bwMode="auto">
            <a:xfrm>
              <a:off x="1665" y="1605"/>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8" name="Line 293"/>
            <p:cNvSpPr>
              <a:spLocks noChangeShapeType="1"/>
            </p:cNvSpPr>
            <p:nvPr/>
          </p:nvSpPr>
          <p:spPr bwMode="auto">
            <a:xfrm>
              <a:off x="1672" y="1600"/>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69" name="Line 294"/>
            <p:cNvSpPr>
              <a:spLocks noChangeShapeType="1"/>
            </p:cNvSpPr>
            <p:nvPr/>
          </p:nvSpPr>
          <p:spPr bwMode="auto">
            <a:xfrm>
              <a:off x="1679" y="1600"/>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70" name="Line 295"/>
            <p:cNvSpPr>
              <a:spLocks noChangeShapeType="1"/>
            </p:cNvSpPr>
            <p:nvPr/>
          </p:nvSpPr>
          <p:spPr bwMode="auto">
            <a:xfrm>
              <a:off x="1685" y="1605"/>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71" name="Freeform 296"/>
            <p:cNvSpPr>
              <a:spLocks/>
            </p:cNvSpPr>
            <p:nvPr/>
          </p:nvSpPr>
          <p:spPr bwMode="auto">
            <a:xfrm>
              <a:off x="1890" y="1674"/>
              <a:ext cx="58" cy="129"/>
            </a:xfrm>
            <a:custGeom>
              <a:avLst/>
              <a:gdLst>
                <a:gd name="T0" fmla="*/ 0 w 135"/>
                <a:gd name="T1" fmla="*/ 0 h 340"/>
                <a:gd name="T2" fmla="*/ 0 w 135"/>
                <a:gd name="T3" fmla="*/ 1 h 340"/>
                <a:gd name="T4" fmla="*/ 0 w 135"/>
                <a:gd name="T5" fmla="*/ 1 h 340"/>
                <a:gd name="T6" fmla="*/ 1 w 135"/>
                <a:gd name="T7" fmla="*/ 2 h 340"/>
                <a:gd name="T8" fmla="*/ 1 w 135"/>
                <a:gd name="T9" fmla="*/ 2 h 340"/>
                <a:gd name="T10" fmla="*/ 3 w 135"/>
                <a:gd name="T11" fmla="*/ 3 h 340"/>
                <a:gd name="T12" fmla="*/ 3 w 135"/>
                <a:gd name="T13" fmla="*/ 3 h 340"/>
                <a:gd name="T14" fmla="*/ 3 w 135"/>
                <a:gd name="T15" fmla="*/ 4 h 340"/>
                <a:gd name="T16" fmla="*/ 3 w 135"/>
                <a:gd name="T17" fmla="*/ 5 h 340"/>
                <a:gd name="T18" fmla="*/ 3 w 135"/>
                <a:gd name="T19" fmla="*/ 5 h 340"/>
                <a:gd name="T20" fmla="*/ 3 w 135"/>
                <a:gd name="T21" fmla="*/ 5 h 340"/>
                <a:gd name="T22" fmla="*/ 3 w 135"/>
                <a:gd name="T23" fmla="*/ 5 h 340"/>
                <a:gd name="T24" fmla="*/ 1 w 135"/>
                <a:gd name="T25" fmla="*/ 6 h 340"/>
                <a:gd name="T26" fmla="*/ 2 w 135"/>
                <a:gd name="T27" fmla="*/ 6 h 340"/>
                <a:gd name="T28" fmla="*/ 1 w 135"/>
                <a:gd name="T29" fmla="*/ 6 h 340"/>
                <a:gd name="T30" fmla="*/ 2 w 135"/>
                <a:gd name="T31" fmla="*/ 7 h 340"/>
                <a:gd name="T32" fmla="*/ 3 w 135"/>
                <a:gd name="T33" fmla="*/ 7 h 340"/>
                <a:gd name="T34" fmla="*/ 3 w 135"/>
                <a:gd name="T35" fmla="*/ 6 h 340"/>
                <a:gd name="T36" fmla="*/ 4 w 135"/>
                <a:gd name="T37" fmla="*/ 5 h 340"/>
                <a:gd name="T38" fmla="*/ 5 w 135"/>
                <a:gd name="T39" fmla="*/ 5 h 340"/>
                <a:gd name="T40" fmla="*/ 4 w 135"/>
                <a:gd name="T41" fmla="*/ 4 h 340"/>
                <a:gd name="T42" fmla="*/ 3 w 135"/>
                <a:gd name="T43" fmla="*/ 3 h 340"/>
                <a:gd name="T44" fmla="*/ 2 w 135"/>
                <a:gd name="T45" fmla="*/ 2 h 340"/>
                <a:gd name="T46" fmla="*/ 1 w 135"/>
                <a:gd name="T47" fmla="*/ 2 h 340"/>
                <a:gd name="T48" fmla="*/ 3 w 135"/>
                <a:gd name="T49" fmla="*/ 1 h 340"/>
                <a:gd name="T50" fmla="*/ 3 w 135"/>
                <a:gd name="T51" fmla="*/ 1 h 340"/>
                <a:gd name="T52" fmla="*/ 2 w 135"/>
                <a:gd name="T53" fmla="*/ 1 h 340"/>
                <a:gd name="T54" fmla="*/ 2 w 135"/>
                <a:gd name="T55" fmla="*/ 0 h 340"/>
                <a:gd name="T56" fmla="*/ 1 w 135"/>
                <a:gd name="T57" fmla="*/ 0 h 340"/>
                <a:gd name="T58" fmla="*/ 0 w 135"/>
                <a:gd name="T59" fmla="*/ 0 h 340"/>
                <a:gd name="T60" fmla="*/ 0 w 135"/>
                <a:gd name="T61" fmla="*/ 0 h 3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35" h="340">
                  <a:moveTo>
                    <a:pt x="0" y="15"/>
                  </a:moveTo>
                  <a:lnTo>
                    <a:pt x="0" y="46"/>
                  </a:lnTo>
                  <a:lnTo>
                    <a:pt x="15" y="46"/>
                  </a:lnTo>
                  <a:lnTo>
                    <a:pt x="30" y="77"/>
                  </a:lnTo>
                  <a:lnTo>
                    <a:pt x="45" y="108"/>
                  </a:lnTo>
                  <a:lnTo>
                    <a:pt x="74" y="154"/>
                  </a:lnTo>
                  <a:lnTo>
                    <a:pt x="89" y="170"/>
                  </a:lnTo>
                  <a:lnTo>
                    <a:pt x="89" y="200"/>
                  </a:lnTo>
                  <a:lnTo>
                    <a:pt x="89" y="247"/>
                  </a:lnTo>
                  <a:lnTo>
                    <a:pt x="89" y="262"/>
                  </a:lnTo>
                  <a:lnTo>
                    <a:pt x="74" y="247"/>
                  </a:lnTo>
                  <a:lnTo>
                    <a:pt x="74" y="262"/>
                  </a:lnTo>
                  <a:lnTo>
                    <a:pt x="45" y="293"/>
                  </a:lnTo>
                  <a:lnTo>
                    <a:pt x="60" y="293"/>
                  </a:lnTo>
                  <a:lnTo>
                    <a:pt x="45" y="308"/>
                  </a:lnTo>
                  <a:lnTo>
                    <a:pt x="60" y="339"/>
                  </a:lnTo>
                  <a:lnTo>
                    <a:pt x="74" y="339"/>
                  </a:lnTo>
                  <a:lnTo>
                    <a:pt x="89" y="293"/>
                  </a:lnTo>
                  <a:lnTo>
                    <a:pt x="119" y="262"/>
                  </a:lnTo>
                  <a:lnTo>
                    <a:pt x="134" y="231"/>
                  </a:lnTo>
                  <a:lnTo>
                    <a:pt x="119" y="185"/>
                  </a:lnTo>
                  <a:lnTo>
                    <a:pt x="104" y="154"/>
                  </a:lnTo>
                  <a:lnTo>
                    <a:pt x="60" y="108"/>
                  </a:lnTo>
                  <a:lnTo>
                    <a:pt x="45" y="77"/>
                  </a:lnTo>
                  <a:lnTo>
                    <a:pt x="74" y="62"/>
                  </a:lnTo>
                  <a:lnTo>
                    <a:pt x="89" y="46"/>
                  </a:lnTo>
                  <a:lnTo>
                    <a:pt x="60" y="31"/>
                  </a:lnTo>
                  <a:lnTo>
                    <a:pt x="60" y="15"/>
                  </a:lnTo>
                  <a:lnTo>
                    <a:pt x="45" y="0"/>
                  </a:lnTo>
                  <a:lnTo>
                    <a:pt x="15" y="15"/>
                  </a:lnTo>
                  <a:lnTo>
                    <a:pt x="0" y="15"/>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72" name="Freeform 297"/>
            <p:cNvSpPr>
              <a:spLocks/>
            </p:cNvSpPr>
            <p:nvPr/>
          </p:nvSpPr>
          <p:spPr bwMode="auto">
            <a:xfrm>
              <a:off x="1896" y="1751"/>
              <a:ext cx="33" cy="35"/>
            </a:xfrm>
            <a:custGeom>
              <a:avLst/>
              <a:gdLst>
                <a:gd name="T0" fmla="*/ 0 w 75"/>
                <a:gd name="T1" fmla="*/ 1 h 93"/>
                <a:gd name="T2" fmla="*/ 0 w 75"/>
                <a:gd name="T3" fmla="*/ 1 h 93"/>
                <a:gd name="T4" fmla="*/ 0 w 75"/>
                <a:gd name="T5" fmla="*/ 2 h 93"/>
                <a:gd name="T6" fmla="*/ 1 w 75"/>
                <a:gd name="T7" fmla="*/ 2 h 93"/>
                <a:gd name="T8" fmla="*/ 2 w 75"/>
                <a:gd name="T9" fmla="*/ 1 h 93"/>
                <a:gd name="T10" fmla="*/ 2 w 75"/>
                <a:gd name="T11" fmla="*/ 1 h 93"/>
                <a:gd name="T12" fmla="*/ 3 w 75"/>
                <a:gd name="T13" fmla="*/ 1 h 93"/>
                <a:gd name="T14" fmla="*/ 3 w 75"/>
                <a:gd name="T15" fmla="*/ 1 h 93"/>
                <a:gd name="T16" fmla="*/ 3 w 75"/>
                <a:gd name="T17" fmla="*/ 0 h 93"/>
                <a:gd name="T18" fmla="*/ 2 w 75"/>
                <a:gd name="T19" fmla="*/ 0 h 93"/>
                <a:gd name="T20" fmla="*/ 2 w 75"/>
                <a:gd name="T21" fmla="*/ 0 h 93"/>
                <a:gd name="T22" fmla="*/ 0 w 75"/>
                <a:gd name="T23" fmla="*/ 0 h 93"/>
                <a:gd name="T24" fmla="*/ 0 w 75"/>
                <a:gd name="T25" fmla="*/ 1 h 93"/>
                <a:gd name="T26" fmla="*/ 0 w 75"/>
                <a:gd name="T27" fmla="*/ 1 h 9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5" h="93">
                  <a:moveTo>
                    <a:pt x="0" y="61"/>
                  </a:moveTo>
                  <a:lnTo>
                    <a:pt x="15" y="61"/>
                  </a:lnTo>
                  <a:lnTo>
                    <a:pt x="15" y="77"/>
                  </a:lnTo>
                  <a:lnTo>
                    <a:pt x="30" y="92"/>
                  </a:lnTo>
                  <a:lnTo>
                    <a:pt x="59" y="61"/>
                  </a:lnTo>
                  <a:lnTo>
                    <a:pt x="59" y="46"/>
                  </a:lnTo>
                  <a:lnTo>
                    <a:pt x="74" y="61"/>
                  </a:lnTo>
                  <a:lnTo>
                    <a:pt x="74" y="46"/>
                  </a:lnTo>
                  <a:lnTo>
                    <a:pt x="74" y="0"/>
                  </a:lnTo>
                  <a:lnTo>
                    <a:pt x="59" y="0"/>
                  </a:lnTo>
                  <a:lnTo>
                    <a:pt x="44" y="0"/>
                  </a:lnTo>
                  <a:lnTo>
                    <a:pt x="15" y="0"/>
                  </a:lnTo>
                  <a:lnTo>
                    <a:pt x="0" y="31"/>
                  </a:lnTo>
                  <a:lnTo>
                    <a:pt x="0" y="61"/>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73" name="Freeform 298"/>
            <p:cNvSpPr>
              <a:spLocks/>
            </p:cNvSpPr>
            <p:nvPr/>
          </p:nvSpPr>
          <p:spPr bwMode="auto">
            <a:xfrm>
              <a:off x="1807" y="1634"/>
              <a:ext cx="65" cy="152"/>
            </a:xfrm>
            <a:custGeom>
              <a:avLst/>
              <a:gdLst>
                <a:gd name="T0" fmla="*/ 5 w 151"/>
                <a:gd name="T1" fmla="*/ 3 h 401"/>
                <a:gd name="T2" fmla="*/ 4 w 151"/>
                <a:gd name="T3" fmla="*/ 3 h 401"/>
                <a:gd name="T4" fmla="*/ 3 w 151"/>
                <a:gd name="T5" fmla="*/ 2 h 401"/>
                <a:gd name="T6" fmla="*/ 3 w 151"/>
                <a:gd name="T7" fmla="*/ 2 h 401"/>
                <a:gd name="T8" fmla="*/ 3 w 151"/>
                <a:gd name="T9" fmla="*/ 2 h 401"/>
                <a:gd name="T10" fmla="*/ 3 w 151"/>
                <a:gd name="T11" fmla="*/ 1 h 401"/>
                <a:gd name="T12" fmla="*/ 3 w 151"/>
                <a:gd name="T13" fmla="*/ 0 h 401"/>
                <a:gd name="T14" fmla="*/ 3 w 151"/>
                <a:gd name="T15" fmla="*/ 0 h 401"/>
                <a:gd name="T16" fmla="*/ 2 w 151"/>
                <a:gd name="T17" fmla="*/ 0 h 401"/>
                <a:gd name="T18" fmla="*/ 1 w 151"/>
                <a:gd name="T19" fmla="*/ 1 h 401"/>
                <a:gd name="T20" fmla="*/ 1 w 151"/>
                <a:gd name="T21" fmla="*/ 1 h 401"/>
                <a:gd name="T22" fmla="*/ 1 w 151"/>
                <a:gd name="T23" fmla="*/ 2 h 401"/>
                <a:gd name="T24" fmla="*/ 0 w 151"/>
                <a:gd name="T25" fmla="*/ 2 h 401"/>
                <a:gd name="T26" fmla="*/ 0 w 151"/>
                <a:gd name="T27" fmla="*/ 3 h 401"/>
                <a:gd name="T28" fmla="*/ 0 w 151"/>
                <a:gd name="T29" fmla="*/ 3 h 401"/>
                <a:gd name="T30" fmla="*/ 0 w 151"/>
                <a:gd name="T31" fmla="*/ 3 h 401"/>
                <a:gd name="T32" fmla="*/ 0 w 151"/>
                <a:gd name="T33" fmla="*/ 3 h 401"/>
                <a:gd name="T34" fmla="*/ 0 w 151"/>
                <a:gd name="T35" fmla="*/ 4 h 401"/>
                <a:gd name="T36" fmla="*/ 1 w 151"/>
                <a:gd name="T37" fmla="*/ 4 h 401"/>
                <a:gd name="T38" fmla="*/ 2 w 151"/>
                <a:gd name="T39" fmla="*/ 5 h 401"/>
                <a:gd name="T40" fmla="*/ 1 w 151"/>
                <a:gd name="T41" fmla="*/ 6 h 401"/>
                <a:gd name="T42" fmla="*/ 3 w 151"/>
                <a:gd name="T43" fmla="*/ 6 h 401"/>
                <a:gd name="T44" fmla="*/ 3 w 151"/>
                <a:gd name="T45" fmla="*/ 5 h 401"/>
                <a:gd name="T46" fmla="*/ 4 w 151"/>
                <a:gd name="T47" fmla="*/ 6 h 401"/>
                <a:gd name="T48" fmla="*/ 4 w 151"/>
                <a:gd name="T49" fmla="*/ 6 h 401"/>
                <a:gd name="T50" fmla="*/ 5 w 151"/>
                <a:gd name="T51" fmla="*/ 8 h 401"/>
                <a:gd name="T52" fmla="*/ 5 w 151"/>
                <a:gd name="T53" fmla="*/ 8 h 401"/>
                <a:gd name="T54" fmla="*/ 5 w 151"/>
                <a:gd name="T55" fmla="*/ 8 h 401"/>
                <a:gd name="T56" fmla="*/ 5 w 151"/>
                <a:gd name="T57" fmla="*/ 6 h 401"/>
                <a:gd name="T58" fmla="*/ 5 w 151"/>
                <a:gd name="T59" fmla="*/ 5 h 401"/>
                <a:gd name="T60" fmla="*/ 3 w 151"/>
                <a:gd name="T61" fmla="*/ 5 h 401"/>
                <a:gd name="T62" fmla="*/ 4 w 151"/>
                <a:gd name="T63" fmla="*/ 4 h 401"/>
                <a:gd name="T64" fmla="*/ 5 w 151"/>
                <a:gd name="T65" fmla="*/ 4 h 401"/>
                <a:gd name="T66" fmla="*/ 5 w 151"/>
                <a:gd name="T67" fmla="*/ 3 h 4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1" h="401">
                  <a:moveTo>
                    <a:pt x="150" y="154"/>
                  </a:moveTo>
                  <a:lnTo>
                    <a:pt x="120" y="154"/>
                  </a:lnTo>
                  <a:lnTo>
                    <a:pt x="105" y="92"/>
                  </a:lnTo>
                  <a:lnTo>
                    <a:pt x="90" y="108"/>
                  </a:lnTo>
                  <a:lnTo>
                    <a:pt x="90" y="77"/>
                  </a:lnTo>
                  <a:lnTo>
                    <a:pt x="105" y="62"/>
                  </a:lnTo>
                  <a:lnTo>
                    <a:pt x="90" y="15"/>
                  </a:lnTo>
                  <a:lnTo>
                    <a:pt x="90" y="0"/>
                  </a:lnTo>
                  <a:lnTo>
                    <a:pt x="60" y="0"/>
                  </a:lnTo>
                  <a:lnTo>
                    <a:pt x="45" y="46"/>
                  </a:lnTo>
                  <a:lnTo>
                    <a:pt x="30" y="62"/>
                  </a:lnTo>
                  <a:lnTo>
                    <a:pt x="30" y="108"/>
                  </a:lnTo>
                  <a:lnTo>
                    <a:pt x="15" y="108"/>
                  </a:lnTo>
                  <a:lnTo>
                    <a:pt x="15" y="154"/>
                  </a:lnTo>
                  <a:lnTo>
                    <a:pt x="0" y="154"/>
                  </a:lnTo>
                  <a:lnTo>
                    <a:pt x="15" y="169"/>
                  </a:lnTo>
                  <a:lnTo>
                    <a:pt x="0" y="169"/>
                  </a:lnTo>
                  <a:lnTo>
                    <a:pt x="15" y="200"/>
                  </a:lnTo>
                  <a:lnTo>
                    <a:pt x="30" y="200"/>
                  </a:lnTo>
                  <a:lnTo>
                    <a:pt x="60" y="246"/>
                  </a:lnTo>
                  <a:lnTo>
                    <a:pt x="45" y="277"/>
                  </a:lnTo>
                  <a:lnTo>
                    <a:pt x="75" y="277"/>
                  </a:lnTo>
                  <a:lnTo>
                    <a:pt x="90" y="262"/>
                  </a:lnTo>
                  <a:lnTo>
                    <a:pt x="120" y="308"/>
                  </a:lnTo>
                  <a:lnTo>
                    <a:pt x="120" y="323"/>
                  </a:lnTo>
                  <a:lnTo>
                    <a:pt x="135" y="369"/>
                  </a:lnTo>
                  <a:lnTo>
                    <a:pt x="135" y="400"/>
                  </a:lnTo>
                  <a:lnTo>
                    <a:pt x="150" y="369"/>
                  </a:lnTo>
                  <a:lnTo>
                    <a:pt x="135" y="292"/>
                  </a:lnTo>
                  <a:lnTo>
                    <a:pt x="135" y="262"/>
                  </a:lnTo>
                  <a:lnTo>
                    <a:pt x="105" y="215"/>
                  </a:lnTo>
                  <a:lnTo>
                    <a:pt x="120" y="185"/>
                  </a:lnTo>
                  <a:lnTo>
                    <a:pt x="150" y="185"/>
                  </a:lnTo>
                  <a:lnTo>
                    <a:pt x="150" y="154"/>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74" name="Freeform 299"/>
            <p:cNvSpPr>
              <a:spLocks/>
            </p:cNvSpPr>
            <p:nvPr/>
          </p:nvSpPr>
          <p:spPr bwMode="auto">
            <a:xfrm>
              <a:off x="1872" y="1680"/>
              <a:ext cx="57" cy="71"/>
            </a:xfrm>
            <a:custGeom>
              <a:avLst/>
              <a:gdLst>
                <a:gd name="T0" fmla="*/ 0 w 134"/>
                <a:gd name="T1" fmla="*/ 1 h 186"/>
                <a:gd name="T2" fmla="*/ 0 w 134"/>
                <a:gd name="T3" fmla="*/ 1 h 186"/>
                <a:gd name="T4" fmla="*/ 0 w 134"/>
                <a:gd name="T5" fmla="*/ 2 h 186"/>
                <a:gd name="T6" fmla="*/ 0 w 134"/>
                <a:gd name="T7" fmla="*/ 2 h 186"/>
                <a:gd name="T8" fmla="*/ 1 w 134"/>
                <a:gd name="T9" fmla="*/ 2 h 186"/>
                <a:gd name="T10" fmla="*/ 1 w 134"/>
                <a:gd name="T11" fmla="*/ 3 h 186"/>
                <a:gd name="T12" fmla="*/ 2 w 134"/>
                <a:gd name="T13" fmla="*/ 2 h 186"/>
                <a:gd name="T14" fmla="*/ 3 w 134"/>
                <a:gd name="T15" fmla="*/ 3 h 186"/>
                <a:gd name="T16" fmla="*/ 3 w 134"/>
                <a:gd name="T17" fmla="*/ 3 h 186"/>
                <a:gd name="T18" fmla="*/ 3 w 134"/>
                <a:gd name="T19" fmla="*/ 4 h 186"/>
                <a:gd name="T20" fmla="*/ 4 w 134"/>
                <a:gd name="T21" fmla="*/ 4 h 186"/>
                <a:gd name="T22" fmla="*/ 4 w 134"/>
                <a:gd name="T23" fmla="*/ 4 h 186"/>
                <a:gd name="T24" fmla="*/ 4 w 134"/>
                <a:gd name="T25" fmla="*/ 3 h 186"/>
                <a:gd name="T26" fmla="*/ 4 w 134"/>
                <a:gd name="T27" fmla="*/ 3 h 186"/>
                <a:gd name="T28" fmla="*/ 3 w 134"/>
                <a:gd name="T29" fmla="*/ 2 h 186"/>
                <a:gd name="T30" fmla="*/ 3 w 134"/>
                <a:gd name="T31" fmla="*/ 1 h 186"/>
                <a:gd name="T32" fmla="*/ 2 w 134"/>
                <a:gd name="T33" fmla="*/ 1 h 186"/>
                <a:gd name="T34" fmla="*/ 1 w 134"/>
                <a:gd name="T35" fmla="*/ 1 h 186"/>
                <a:gd name="T36" fmla="*/ 1 w 134"/>
                <a:gd name="T37" fmla="*/ 0 h 186"/>
                <a:gd name="T38" fmla="*/ 1 w 134"/>
                <a:gd name="T39" fmla="*/ 0 h 186"/>
                <a:gd name="T40" fmla="*/ 1 w 134"/>
                <a:gd name="T41" fmla="*/ 1 h 186"/>
                <a:gd name="T42" fmla="*/ 0 w 134"/>
                <a:gd name="T43" fmla="*/ 1 h 186"/>
                <a:gd name="T44" fmla="*/ 0 w 134"/>
                <a:gd name="T45" fmla="*/ 1 h 18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4" h="186">
                  <a:moveTo>
                    <a:pt x="0" y="31"/>
                  </a:moveTo>
                  <a:lnTo>
                    <a:pt x="0" y="62"/>
                  </a:lnTo>
                  <a:lnTo>
                    <a:pt x="0" y="77"/>
                  </a:lnTo>
                  <a:lnTo>
                    <a:pt x="15" y="77"/>
                  </a:lnTo>
                  <a:lnTo>
                    <a:pt x="30" y="108"/>
                  </a:lnTo>
                  <a:lnTo>
                    <a:pt x="44" y="123"/>
                  </a:lnTo>
                  <a:lnTo>
                    <a:pt x="59" y="108"/>
                  </a:lnTo>
                  <a:lnTo>
                    <a:pt x="74" y="123"/>
                  </a:lnTo>
                  <a:lnTo>
                    <a:pt x="89" y="139"/>
                  </a:lnTo>
                  <a:lnTo>
                    <a:pt x="103" y="170"/>
                  </a:lnTo>
                  <a:lnTo>
                    <a:pt x="118" y="185"/>
                  </a:lnTo>
                  <a:lnTo>
                    <a:pt x="133" y="185"/>
                  </a:lnTo>
                  <a:lnTo>
                    <a:pt x="133" y="154"/>
                  </a:lnTo>
                  <a:lnTo>
                    <a:pt x="118" y="139"/>
                  </a:lnTo>
                  <a:lnTo>
                    <a:pt x="89" y="93"/>
                  </a:lnTo>
                  <a:lnTo>
                    <a:pt x="74" y="62"/>
                  </a:lnTo>
                  <a:lnTo>
                    <a:pt x="59" y="31"/>
                  </a:lnTo>
                  <a:lnTo>
                    <a:pt x="44" y="31"/>
                  </a:lnTo>
                  <a:lnTo>
                    <a:pt x="44" y="0"/>
                  </a:lnTo>
                  <a:lnTo>
                    <a:pt x="30" y="15"/>
                  </a:lnTo>
                  <a:lnTo>
                    <a:pt x="30" y="31"/>
                  </a:lnTo>
                  <a:lnTo>
                    <a:pt x="15" y="46"/>
                  </a:lnTo>
                  <a:lnTo>
                    <a:pt x="0" y="31"/>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75" name="Oval 300"/>
            <p:cNvSpPr>
              <a:spLocks noChangeArrowheads="1"/>
            </p:cNvSpPr>
            <p:nvPr/>
          </p:nvSpPr>
          <p:spPr bwMode="auto">
            <a:xfrm>
              <a:off x="1986" y="1668"/>
              <a:ext cx="1" cy="6"/>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676" name="Oval 301"/>
            <p:cNvSpPr>
              <a:spLocks noChangeArrowheads="1"/>
            </p:cNvSpPr>
            <p:nvPr/>
          </p:nvSpPr>
          <p:spPr bwMode="auto">
            <a:xfrm>
              <a:off x="1974" y="1668"/>
              <a:ext cx="5" cy="6"/>
            </a:xfrm>
            <a:prstGeom prst="ellipse">
              <a:avLst/>
            </a:prstGeom>
            <a:solidFill>
              <a:srgbClr val="FF004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677" name="Freeform 302"/>
            <p:cNvSpPr>
              <a:spLocks/>
            </p:cNvSpPr>
            <p:nvPr/>
          </p:nvSpPr>
          <p:spPr bwMode="auto">
            <a:xfrm>
              <a:off x="1813" y="1367"/>
              <a:ext cx="13" cy="35"/>
            </a:xfrm>
            <a:custGeom>
              <a:avLst/>
              <a:gdLst>
                <a:gd name="T0" fmla="*/ 0 w 30"/>
                <a:gd name="T1" fmla="*/ 0 h 93"/>
                <a:gd name="T2" fmla="*/ 0 w 30"/>
                <a:gd name="T3" fmla="*/ 1 h 93"/>
                <a:gd name="T4" fmla="*/ 0 w 30"/>
                <a:gd name="T5" fmla="*/ 2 h 93"/>
                <a:gd name="T6" fmla="*/ 1 w 30"/>
                <a:gd name="T7" fmla="*/ 2 h 93"/>
                <a:gd name="T8" fmla="*/ 1 w 30"/>
                <a:gd name="T9" fmla="*/ 1 h 93"/>
                <a:gd name="T10" fmla="*/ 0 w 30"/>
                <a:gd name="T11" fmla="*/ 0 h 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93">
                  <a:moveTo>
                    <a:pt x="15" y="0"/>
                  </a:moveTo>
                  <a:lnTo>
                    <a:pt x="15" y="46"/>
                  </a:lnTo>
                  <a:lnTo>
                    <a:pt x="0" y="92"/>
                  </a:lnTo>
                  <a:lnTo>
                    <a:pt x="29" y="92"/>
                  </a:lnTo>
                  <a:lnTo>
                    <a:pt x="29" y="46"/>
                  </a:lnTo>
                  <a:lnTo>
                    <a:pt x="15" y="0"/>
                  </a:lnTo>
                </a:path>
              </a:pathLst>
            </a:custGeom>
            <a:solidFill>
              <a:srgbClr val="FFFFFF"/>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78" name="Line 303"/>
            <p:cNvSpPr>
              <a:spLocks noChangeShapeType="1"/>
            </p:cNvSpPr>
            <p:nvPr/>
          </p:nvSpPr>
          <p:spPr bwMode="auto">
            <a:xfrm>
              <a:off x="2031" y="1524"/>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79" name="Line 304"/>
            <p:cNvSpPr>
              <a:spLocks noChangeShapeType="1"/>
            </p:cNvSpPr>
            <p:nvPr/>
          </p:nvSpPr>
          <p:spPr bwMode="auto">
            <a:xfrm>
              <a:off x="2038" y="1524"/>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80" name="Line 305"/>
            <p:cNvSpPr>
              <a:spLocks noChangeShapeType="1"/>
            </p:cNvSpPr>
            <p:nvPr/>
          </p:nvSpPr>
          <p:spPr bwMode="auto">
            <a:xfrm flipV="1">
              <a:off x="2038" y="1517"/>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81" name="Line 306"/>
            <p:cNvSpPr>
              <a:spLocks noChangeShapeType="1"/>
            </p:cNvSpPr>
            <p:nvPr/>
          </p:nvSpPr>
          <p:spPr bwMode="auto">
            <a:xfrm>
              <a:off x="2038" y="1518"/>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82" name="Line 307"/>
            <p:cNvSpPr>
              <a:spLocks noChangeShapeType="1"/>
            </p:cNvSpPr>
            <p:nvPr/>
          </p:nvSpPr>
          <p:spPr bwMode="auto">
            <a:xfrm>
              <a:off x="2038" y="1518"/>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83" name="Line 308"/>
            <p:cNvSpPr>
              <a:spLocks noChangeShapeType="1"/>
            </p:cNvSpPr>
            <p:nvPr/>
          </p:nvSpPr>
          <p:spPr bwMode="auto">
            <a:xfrm>
              <a:off x="2044" y="1518"/>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84" name="Line 309"/>
            <p:cNvSpPr>
              <a:spLocks noChangeShapeType="1"/>
            </p:cNvSpPr>
            <p:nvPr/>
          </p:nvSpPr>
          <p:spPr bwMode="auto">
            <a:xfrm>
              <a:off x="2044" y="1518"/>
              <a:ext cx="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685" name="Freeform 310"/>
            <p:cNvSpPr>
              <a:spLocks/>
            </p:cNvSpPr>
            <p:nvPr/>
          </p:nvSpPr>
          <p:spPr bwMode="auto">
            <a:xfrm>
              <a:off x="2031" y="1518"/>
              <a:ext cx="26" cy="40"/>
            </a:xfrm>
            <a:custGeom>
              <a:avLst/>
              <a:gdLst>
                <a:gd name="T0" fmla="*/ 1 w 61"/>
                <a:gd name="T1" fmla="*/ 0 h 108"/>
                <a:gd name="T2" fmla="*/ 0 w 61"/>
                <a:gd name="T3" fmla="*/ 0 h 108"/>
                <a:gd name="T4" fmla="*/ 0 w 61"/>
                <a:gd name="T5" fmla="*/ 0 h 108"/>
                <a:gd name="T6" fmla="*/ 0 w 61"/>
                <a:gd name="T7" fmla="*/ 1 h 108"/>
                <a:gd name="T8" fmla="*/ 0 w 61"/>
                <a:gd name="T9" fmla="*/ 1 h 108"/>
                <a:gd name="T10" fmla="*/ 0 w 61"/>
                <a:gd name="T11" fmla="*/ 2 h 108"/>
                <a:gd name="T12" fmla="*/ 2 w 61"/>
                <a:gd name="T13" fmla="*/ 1 h 108"/>
                <a:gd name="T14" fmla="*/ 2 w 61"/>
                <a:gd name="T15" fmla="*/ 1 h 108"/>
                <a:gd name="T16" fmla="*/ 2 w 61"/>
                <a:gd name="T17" fmla="*/ 0 h 108"/>
                <a:gd name="T18" fmla="*/ 1 w 61"/>
                <a:gd name="T19" fmla="*/ 0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108">
                  <a:moveTo>
                    <a:pt x="30" y="0"/>
                  </a:moveTo>
                  <a:lnTo>
                    <a:pt x="0" y="15"/>
                  </a:lnTo>
                  <a:lnTo>
                    <a:pt x="15" y="31"/>
                  </a:lnTo>
                  <a:lnTo>
                    <a:pt x="0" y="46"/>
                  </a:lnTo>
                  <a:lnTo>
                    <a:pt x="15" y="46"/>
                  </a:lnTo>
                  <a:lnTo>
                    <a:pt x="15" y="107"/>
                  </a:lnTo>
                  <a:lnTo>
                    <a:pt x="60" y="76"/>
                  </a:lnTo>
                  <a:lnTo>
                    <a:pt x="60" y="46"/>
                  </a:lnTo>
                  <a:lnTo>
                    <a:pt x="60" y="31"/>
                  </a:lnTo>
                  <a:lnTo>
                    <a:pt x="3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86" name="Freeform 311"/>
            <p:cNvSpPr>
              <a:spLocks/>
            </p:cNvSpPr>
            <p:nvPr/>
          </p:nvSpPr>
          <p:spPr bwMode="auto">
            <a:xfrm>
              <a:off x="2012" y="1471"/>
              <a:ext cx="32" cy="53"/>
            </a:xfrm>
            <a:custGeom>
              <a:avLst/>
              <a:gdLst>
                <a:gd name="T0" fmla="*/ 3 w 75"/>
                <a:gd name="T1" fmla="*/ 0 h 139"/>
                <a:gd name="T2" fmla="*/ 1 w 75"/>
                <a:gd name="T3" fmla="*/ 0 h 139"/>
                <a:gd name="T4" fmla="*/ 1 w 75"/>
                <a:gd name="T5" fmla="*/ 1 h 139"/>
                <a:gd name="T6" fmla="*/ 0 w 75"/>
                <a:gd name="T7" fmla="*/ 1 h 139"/>
                <a:gd name="T8" fmla="*/ 0 w 75"/>
                <a:gd name="T9" fmla="*/ 2 h 139"/>
                <a:gd name="T10" fmla="*/ 0 w 75"/>
                <a:gd name="T11" fmla="*/ 2 h 139"/>
                <a:gd name="T12" fmla="*/ 0 w 75"/>
                <a:gd name="T13" fmla="*/ 3 h 139"/>
                <a:gd name="T14" fmla="*/ 1 w 75"/>
                <a:gd name="T15" fmla="*/ 3 h 139"/>
                <a:gd name="T16" fmla="*/ 1 w 75"/>
                <a:gd name="T17" fmla="*/ 3 h 139"/>
                <a:gd name="T18" fmla="*/ 3 w 75"/>
                <a:gd name="T19" fmla="*/ 3 h 139"/>
                <a:gd name="T20" fmla="*/ 2 w 75"/>
                <a:gd name="T21" fmla="*/ 2 h 139"/>
                <a:gd name="T22" fmla="*/ 1 w 75"/>
                <a:gd name="T23" fmla="*/ 2 h 139"/>
                <a:gd name="T24" fmla="*/ 3 w 75"/>
                <a:gd name="T25" fmla="*/ 1 h 139"/>
                <a:gd name="T26" fmla="*/ 2 w 75"/>
                <a:gd name="T27" fmla="*/ 1 h 139"/>
                <a:gd name="T28" fmla="*/ 3 w 75"/>
                <a:gd name="T29" fmla="*/ 0 h 1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5" h="139">
                  <a:moveTo>
                    <a:pt x="74" y="0"/>
                  </a:moveTo>
                  <a:lnTo>
                    <a:pt x="44" y="0"/>
                  </a:lnTo>
                  <a:lnTo>
                    <a:pt x="30" y="46"/>
                  </a:lnTo>
                  <a:lnTo>
                    <a:pt x="0" y="46"/>
                  </a:lnTo>
                  <a:lnTo>
                    <a:pt x="0" y="92"/>
                  </a:lnTo>
                  <a:lnTo>
                    <a:pt x="15" y="107"/>
                  </a:lnTo>
                  <a:lnTo>
                    <a:pt x="0" y="123"/>
                  </a:lnTo>
                  <a:lnTo>
                    <a:pt x="30" y="138"/>
                  </a:lnTo>
                  <a:lnTo>
                    <a:pt x="44" y="138"/>
                  </a:lnTo>
                  <a:lnTo>
                    <a:pt x="74" y="123"/>
                  </a:lnTo>
                  <a:lnTo>
                    <a:pt x="59" y="107"/>
                  </a:lnTo>
                  <a:lnTo>
                    <a:pt x="44" y="92"/>
                  </a:lnTo>
                  <a:lnTo>
                    <a:pt x="74" y="46"/>
                  </a:lnTo>
                  <a:lnTo>
                    <a:pt x="59" y="31"/>
                  </a:lnTo>
                  <a:lnTo>
                    <a:pt x="74" y="0"/>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87" name="Freeform 312"/>
            <p:cNvSpPr>
              <a:spLocks/>
            </p:cNvSpPr>
            <p:nvPr/>
          </p:nvSpPr>
          <p:spPr bwMode="auto">
            <a:xfrm>
              <a:off x="2070" y="1478"/>
              <a:ext cx="70" cy="75"/>
            </a:xfrm>
            <a:custGeom>
              <a:avLst/>
              <a:gdLst>
                <a:gd name="T0" fmla="*/ 4 w 165"/>
                <a:gd name="T1" fmla="*/ 0 h 200"/>
                <a:gd name="T2" fmla="*/ 3 w 165"/>
                <a:gd name="T3" fmla="*/ 1 h 200"/>
                <a:gd name="T4" fmla="*/ 4 w 165"/>
                <a:gd name="T5" fmla="*/ 1 h 200"/>
                <a:gd name="T6" fmla="*/ 4 w 165"/>
                <a:gd name="T7" fmla="*/ 2 h 200"/>
                <a:gd name="T8" fmla="*/ 3 w 165"/>
                <a:gd name="T9" fmla="*/ 2 h 200"/>
                <a:gd name="T10" fmla="*/ 3 w 165"/>
                <a:gd name="T11" fmla="*/ 2 h 200"/>
                <a:gd name="T12" fmla="*/ 3 w 165"/>
                <a:gd name="T13" fmla="*/ 3 h 200"/>
                <a:gd name="T14" fmla="*/ 2 w 165"/>
                <a:gd name="T15" fmla="*/ 3 h 200"/>
                <a:gd name="T16" fmla="*/ 1 w 165"/>
                <a:gd name="T17" fmla="*/ 3 h 200"/>
                <a:gd name="T18" fmla="*/ 0 w 165"/>
                <a:gd name="T19" fmla="*/ 4 h 200"/>
                <a:gd name="T20" fmla="*/ 0 w 165"/>
                <a:gd name="T21" fmla="*/ 4 h 200"/>
                <a:gd name="T22" fmla="*/ 1 w 165"/>
                <a:gd name="T23" fmla="*/ 4 h 200"/>
                <a:gd name="T24" fmla="*/ 3 w 165"/>
                <a:gd name="T25" fmla="*/ 4 h 200"/>
                <a:gd name="T26" fmla="*/ 3 w 165"/>
                <a:gd name="T27" fmla="*/ 4 h 200"/>
                <a:gd name="T28" fmla="*/ 3 w 165"/>
                <a:gd name="T29" fmla="*/ 4 h 200"/>
                <a:gd name="T30" fmla="*/ 3 w 165"/>
                <a:gd name="T31" fmla="*/ 3 h 200"/>
                <a:gd name="T32" fmla="*/ 4 w 165"/>
                <a:gd name="T33" fmla="*/ 4 h 200"/>
                <a:gd name="T34" fmla="*/ 4 w 165"/>
                <a:gd name="T35" fmla="*/ 3 h 200"/>
                <a:gd name="T36" fmla="*/ 6 w 165"/>
                <a:gd name="T37" fmla="*/ 3 h 200"/>
                <a:gd name="T38" fmla="*/ 5 w 165"/>
                <a:gd name="T39" fmla="*/ 2 h 200"/>
                <a:gd name="T40" fmla="*/ 6 w 165"/>
                <a:gd name="T41" fmla="*/ 2 h 200"/>
                <a:gd name="T42" fmla="*/ 5 w 165"/>
                <a:gd name="T43" fmla="*/ 1 h 200"/>
                <a:gd name="T44" fmla="*/ 4 w 165"/>
                <a:gd name="T45" fmla="*/ 0 h 2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65" h="200">
                  <a:moveTo>
                    <a:pt x="119" y="0"/>
                  </a:moveTo>
                  <a:lnTo>
                    <a:pt x="104" y="31"/>
                  </a:lnTo>
                  <a:lnTo>
                    <a:pt x="119" y="46"/>
                  </a:lnTo>
                  <a:lnTo>
                    <a:pt x="119" y="92"/>
                  </a:lnTo>
                  <a:lnTo>
                    <a:pt x="104" y="122"/>
                  </a:lnTo>
                  <a:lnTo>
                    <a:pt x="89" y="107"/>
                  </a:lnTo>
                  <a:lnTo>
                    <a:pt x="75" y="153"/>
                  </a:lnTo>
                  <a:lnTo>
                    <a:pt x="60" y="153"/>
                  </a:lnTo>
                  <a:lnTo>
                    <a:pt x="30" y="153"/>
                  </a:lnTo>
                  <a:lnTo>
                    <a:pt x="0" y="199"/>
                  </a:lnTo>
                  <a:lnTo>
                    <a:pt x="15" y="199"/>
                  </a:lnTo>
                  <a:lnTo>
                    <a:pt x="30" y="199"/>
                  </a:lnTo>
                  <a:lnTo>
                    <a:pt x="75" y="184"/>
                  </a:lnTo>
                  <a:lnTo>
                    <a:pt x="89" y="199"/>
                  </a:lnTo>
                  <a:lnTo>
                    <a:pt x="104" y="184"/>
                  </a:lnTo>
                  <a:lnTo>
                    <a:pt x="104" y="168"/>
                  </a:lnTo>
                  <a:lnTo>
                    <a:pt x="119" y="184"/>
                  </a:lnTo>
                  <a:lnTo>
                    <a:pt x="134" y="168"/>
                  </a:lnTo>
                  <a:lnTo>
                    <a:pt x="164" y="153"/>
                  </a:lnTo>
                  <a:lnTo>
                    <a:pt x="149" y="77"/>
                  </a:lnTo>
                  <a:lnTo>
                    <a:pt x="164" y="77"/>
                  </a:lnTo>
                  <a:lnTo>
                    <a:pt x="149" y="31"/>
                  </a:lnTo>
                  <a:lnTo>
                    <a:pt x="11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88" name="Freeform 313"/>
            <p:cNvSpPr>
              <a:spLocks/>
            </p:cNvSpPr>
            <p:nvPr/>
          </p:nvSpPr>
          <p:spPr bwMode="auto">
            <a:xfrm>
              <a:off x="2101" y="1431"/>
              <a:ext cx="39" cy="47"/>
            </a:xfrm>
            <a:custGeom>
              <a:avLst/>
              <a:gdLst>
                <a:gd name="T0" fmla="*/ 0 w 91"/>
                <a:gd name="T1" fmla="*/ 0 h 125"/>
                <a:gd name="T2" fmla="*/ 1 w 91"/>
                <a:gd name="T3" fmla="*/ 1 h 125"/>
                <a:gd name="T4" fmla="*/ 0 w 91"/>
                <a:gd name="T5" fmla="*/ 1 h 125"/>
                <a:gd name="T6" fmla="*/ 0 w 91"/>
                <a:gd name="T7" fmla="*/ 2 h 125"/>
                <a:gd name="T8" fmla="*/ 0 w 91"/>
                <a:gd name="T9" fmla="*/ 2 h 125"/>
                <a:gd name="T10" fmla="*/ 1 w 91"/>
                <a:gd name="T11" fmla="*/ 3 h 125"/>
                <a:gd name="T12" fmla="*/ 1 w 91"/>
                <a:gd name="T13" fmla="*/ 2 h 125"/>
                <a:gd name="T14" fmla="*/ 1 w 91"/>
                <a:gd name="T15" fmla="*/ 2 h 125"/>
                <a:gd name="T16" fmla="*/ 3 w 91"/>
                <a:gd name="T17" fmla="*/ 2 h 125"/>
                <a:gd name="T18" fmla="*/ 3 w 91"/>
                <a:gd name="T19" fmla="*/ 1 h 125"/>
                <a:gd name="T20" fmla="*/ 3 w 91"/>
                <a:gd name="T21" fmla="*/ 1 h 125"/>
                <a:gd name="T22" fmla="*/ 3 w 91"/>
                <a:gd name="T23" fmla="*/ 0 h 125"/>
                <a:gd name="T24" fmla="*/ 2 w 91"/>
                <a:gd name="T25" fmla="*/ 0 h 125"/>
                <a:gd name="T26" fmla="*/ 0 w 91"/>
                <a:gd name="T27" fmla="*/ 0 h 1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1" h="125">
                  <a:moveTo>
                    <a:pt x="15" y="0"/>
                  </a:moveTo>
                  <a:lnTo>
                    <a:pt x="30" y="62"/>
                  </a:lnTo>
                  <a:lnTo>
                    <a:pt x="15" y="62"/>
                  </a:lnTo>
                  <a:lnTo>
                    <a:pt x="0" y="78"/>
                  </a:lnTo>
                  <a:lnTo>
                    <a:pt x="0" y="109"/>
                  </a:lnTo>
                  <a:lnTo>
                    <a:pt x="30" y="124"/>
                  </a:lnTo>
                  <a:lnTo>
                    <a:pt x="45" y="93"/>
                  </a:lnTo>
                  <a:lnTo>
                    <a:pt x="30" y="78"/>
                  </a:lnTo>
                  <a:lnTo>
                    <a:pt x="75" y="78"/>
                  </a:lnTo>
                  <a:lnTo>
                    <a:pt x="75" y="62"/>
                  </a:lnTo>
                  <a:lnTo>
                    <a:pt x="90" y="47"/>
                  </a:lnTo>
                  <a:lnTo>
                    <a:pt x="75" y="16"/>
                  </a:lnTo>
                  <a:lnTo>
                    <a:pt x="60" y="16"/>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89" name="Freeform 314"/>
            <p:cNvSpPr>
              <a:spLocks/>
            </p:cNvSpPr>
            <p:nvPr/>
          </p:nvSpPr>
          <p:spPr bwMode="auto">
            <a:xfrm>
              <a:off x="2070" y="1558"/>
              <a:ext cx="12" cy="24"/>
            </a:xfrm>
            <a:custGeom>
              <a:avLst/>
              <a:gdLst>
                <a:gd name="T0" fmla="*/ 0 w 30"/>
                <a:gd name="T1" fmla="*/ 0 h 63"/>
                <a:gd name="T2" fmla="*/ 0 w 30"/>
                <a:gd name="T3" fmla="*/ 1 h 63"/>
                <a:gd name="T4" fmla="*/ 0 w 30"/>
                <a:gd name="T5" fmla="*/ 0 h 63"/>
                <a:gd name="T6" fmla="*/ 0 w 30"/>
                <a:gd name="T7" fmla="*/ 1 h 63"/>
                <a:gd name="T8" fmla="*/ 1 w 30"/>
                <a:gd name="T9" fmla="*/ 1 h 63"/>
                <a:gd name="T10" fmla="*/ 1 w 30"/>
                <a:gd name="T11" fmla="*/ 0 h 63"/>
                <a:gd name="T12" fmla="*/ 0 w 30"/>
                <a:gd name="T13" fmla="*/ 0 h 63"/>
                <a:gd name="T14" fmla="*/ 0 w 30"/>
                <a:gd name="T15" fmla="*/ 0 h 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63">
                  <a:moveTo>
                    <a:pt x="0" y="16"/>
                  </a:moveTo>
                  <a:lnTo>
                    <a:pt x="0" y="31"/>
                  </a:lnTo>
                  <a:lnTo>
                    <a:pt x="15" y="16"/>
                  </a:lnTo>
                  <a:lnTo>
                    <a:pt x="15" y="62"/>
                  </a:lnTo>
                  <a:lnTo>
                    <a:pt x="29" y="62"/>
                  </a:lnTo>
                  <a:lnTo>
                    <a:pt x="29" y="16"/>
                  </a:lnTo>
                  <a:lnTo>
                    <a:pt x="15"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90" name="Freeform 315"/>
            <p:cNvSpPr>
              <a:spLocks/>
            </p:cNvSpPr>
            <p:nvPr/>
          </p:nvSpPr>
          <p:spPr bwMode="auto">
            <a:xfrm>
              <a:off x="2081" y="1552"/>
              <a:ext cx="20" cy="13"/>
            </a:xfrm>
            <a:custGeom>
              <a:avLst/>
              <a:gdLst>
                <a:gd name="T0" fmla="*/ 0 w 46"/>
                <a:gd name="T1" fmla="*/ 1 h 32"/>
                <a:gd name="T2" fmla="*/ 1 w 46"/>
                <a:gd name="T3" fmla="*/ 0 h 32"/>
                <a:gd name="T4" fmla="*/ 2 w 46"/>
                <a:gd name="T5" fmla="*/ 0 h 32"/>
                <a:gd name="T6" fmla="*/ 1 w 46"/>
                <a:gd name="T7" fmla="*/ 0 h 32"/>
                <a:gd name="T8" fmla="*/ 0 w 46"/>
                <a:gd name="T9" fmla="*/ 0 h 32"/>
                <a:gd name="T10" fmla="*/ 0 w 46"/>
                <a:gd name="T11" fmla="*/ 0 h 32"/>
                <a:gd name="T12" fmla="*/ 0 w 46"/>
                <a:gd name="T13" fmla="*/ 1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32">
                  <a:moveTo>
                    <a:pt x="15" y="31"/>
                  </a:moveTo>
                  <a:lnTo>
                    <a:pt x="30" y="16"/>
                  </a:lnTo>
                  <a:lnTo>
                    <a:pt x="45" y="0"/>
                  </a:lnTo>
                  <a:lnTo>
                    <a:pt x="30" y="0"/>
                  </a:lnTo>
                  <a:lnTo>
                    <a:pt x="15" y="0"/>
                  </a:lnTo>
                  <a:lnTo>
                    <a:pt x="0" y="16"/>
                  </a:lnTo>
                  <a:lnTo>
                    <a:pt x="15"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91" name="Freeform 316"/>
            <p:cNvSpPr>
              <a:spLocks/>
            </p:cNvSpPr>
            <p:nvPr/>
          </p:nvSpPr>
          <p:spPr bwMode="auto">
            <a:xfrm>
              <a:off x="1724" y="1797"/>
              <a:ext cx="13" cy="30"/>
            </a:xfrm>
            <a:custGeom>
              <a:avLst/>
              <a:gdLst>
                <a:gd name="T0" fmla="*/ 0 w 30"/>
                <a:gd name="T1" fmla="*/ 0 h 78"/>
                <a:gd name="T2" fmla="*/ 0 w 30"/>
                <a:gd name="T3" fmla="*/ 1 h 78"/>
                <a:gd name="T4" fmla="*/ 0 w 30"/>
                <a:gd name="T5" fmla="*/ 1 h 78"/>
                <a:gd name="T6" fmla="*/ 0 w 30"/>
                <a:gd name="T7" fmla="*/ 2 h 78"/>
                <a:gd name="T8" fmla="*/ 1 w 30"/>
                <a:gd name="T9" fmla="*/ 1 h 78"/>
                <a:gd name="T10" fmla="*/ 1 w 30"/>
                <a:gd name="T11" fmla="*/ 1 h 78"/>
                <a:gd name="T12" fmla="*/ 0 w 30"/>
                <a:gd name="T13" fmla="*/ 0 h 78"/>
                <a:gd name="T14" fmla="*/ 0 w 30"/>
                <a:gd name="T15" fmla="*/ 0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78">
                  <a:moveTo>
                    <a:pt x="0" y="0"/>
                  </a:moveTo>
                  <a:lnTo>
                    <a:pt x="0" y="31"/>
                  </a:lnTo>
                  <a:lnTo>
                    <a:pt x="0" y="62"/>
                  </a:lnTo>
                  <a:lnTo>
                    <a:pt x="15" y="77"/>
                  </a:lnTo>
                  <a:lnTo>
                    <a:pt x="29" y="62"/>
                  </a:lnTo>
                  <a:lnTo>
                    <a:pt x="29" y="46"/>
                  </a:lnTo>
                  <a:lnTo>
                    <a:pt x="15" y="15"/>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92" name="Freeform 317"/>
            <p:cNvSpPr>
              <a:spLocks/>
            </p:cNvSpPr>
            <p:nvPr/>
          </p:nvSpPr>
          <p:spPr bwMode="auto">
            <a:xfrm>
              <a:off x="2018" y="1652"/>
              <a:ext cx="13" cy="23"/>
            </a:xfrm>
            <a:custGeom>
              <a:avLst/>
              <a:gdLst>
                <a:gd name="T0" fmla="*/ 0 w 30"/>
                <a:gd name="T1" fmla="*/ 0 h 62"/>
                <a:gd name="T2" fmla="*/ 0 w 30"/>
                <a:gd name="T3" fmla="*/ 0 h 62"/>
                <a:gd name="T4" fmla="*/ 0 w 30"/>
                <a:gd name="T5" fmla="*/ 0 h 62"/>
                <a:gd name="T6" fmla="*/ 0 w 30"/>
                <a:gd name="T7" fmla="*/ 1 h 62"/>
                <a:gd name="T8" fmla="*/ 0 w 30"/>
                <a:gd name="T9" fmla="*/ 1 h 62"/>
                <a:gd name="T10" fmla="*/ 1 w 30"/>
                <a:gd name="T11" fmla="*/ 1 h 62"/>
                <a:gd name="T12" fmla="*/ 1 w 30"/>
                <a:gd name="T13" fmla="*/ 0 h 62"/>
                <a:gd name="T14" fmla="*/ 0 w 30"/>
                <a:gd name="T15" fmla="*/ 0 h 6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62">
                  <a:moveTo>
                    <a:pt x="15" y="0"/>
                  </a:moveTo>
                  <a:lnTo>
                    <a:pt x="0" y="0"/>
                  </a:lnTo>
                  <a:lnTo>
                    <a:pt x="0" y="15"/>
                  </a:lnTo>
                  <a:lnTo>
                    <a:pt x="15" y="61"/>
                  </a:lnTo>
                  <a:lnTo>
                    <a:pt x="15" y="46"/>
                  </a:lnTo>
                  <a:lnTo>
                    <a:pt x="29" y="46"/>
                  </a:lnTo>
                  <a:lnTo>
                    <a:pt x="29" y="0"/>
                  </a:lnTo>
                  <a:lnTo>
                    <a:pt x="15" y="0"/>
                  </a:lnTo>
                </a:path>
              </a:pathLst>
            </a:custGeom>
            <a:solidFill>
              <a:srgbClr val="C0C0C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93" name="Freeform 318"/>
            <p:cNvSpPr>
              <a:spLocks/>
            </p:cNvSpPr>
            <p:nvPr/>
          </p:nvSpPr>
          <p:spPr bwMode="auto">
            <a:xfrm>
              <a:off x="1960" y="1814"/>
              <a:ext cx="65" cy="53"/>
            </a:xfrm>
            <a:custGeom>
              <a:avLst/>
              <a:gdLst>
                <a:gd name="T0" fmla="*/ 0 w 151"/>
                <a:gd name="T1" fmla="*/ 3 h 140"/>
                <a:gd name="T2" fmla="*/ 0 w 151"/>
                <a:gd name="T3" fmla="*/ 3 h 140"/>
                <a:gd name="T4" fmla="*/ 1 w 151"/>
                <a:gd name="T5" fmla="*/ 3 h 140"/>
                <a:gd name="T6" fmla="*/ 1 w 151"/>
                <a:gd name="T7" fmla="*/ 3 h 140"/>
                <a:gd name="T8" fmla="*/ 3 w 151"/>
                <a:gd name="T9" fmla="*/ 3 h 140"/>
                <a:gd name="T10" fmla="*/ 3 w 151"/>
                <a:gd name="T11" fmla="*/ 2 h 140"/>
                <a:gd name="T12" fmla="*/ 3 w 151"/>
                <a:gd name="T13" fmla="*/ 1 h 140"/>
                <a:gd name="T14" fmla="*/ 5 w 151"/>
                <a:gd name="T15" fmla="*/ 2 h 140"/>
                <a:gd name="T16" fmla="*/ 5 w 151"/>
                <a:gd name="T17" fmla="*/ 1 h 140"/>
                <a:gd name="T18" fmla="*/ 5 w 151"/>
                <a:gd name="T19" fmla="*/ 1 h 140"/>
                <a:gd name="T20" fmla="*/ 5 w 151"/>
                <a:gd name="T21" fmla="*/ 1 h 140"/>
                <a:gd name="T22" fmla="*/ 5 w 151"/>
                <a:gd name="T23" fmla="*/ 1 h 140"/>
                <a:gd name="T24" fmla="*/ 4 w 151"/>
                <a:gd name="T25" fmla="*/ 0 h 140"/>
                <a:gd name="T26" fmla="*/ 3 w 151"/>
                <a:gd name="T27" fmla="*/ 0 h 140"/>
                <a:gd name="T28" fmla="*/ 3 w 151"/>
                <a:gd name="T29" fmla="*/ 1 h 140"/>
                <a:gd name="T30" fmla="*/ 3 w 151"/>
                <a:gd name="T31" fmla="*/ 1 h 140"/>
                <a:gd name="T32" fmla="*/ 3 w 151"/>
                <a:gd name="T33" fmla="*/ 1 h 140"/>
                <a:gd name="T34" fmla="*/ 1 w 151"/>
                <a:gd name="T35" fmla="*/ 2 h 140"/>
                <a:gd name="T36" fmla="*/ 0 w 151"/>
                <a:gd name="T37" fmla="*/ 2 h 140"/>
                <a:gd name="T38" fmla="*/ 0 w 151"/>
                <a:gd name="T39" fmla="*/ 3 h 140"/>
                <a:gd name="T40" fmla="*/ 0 w 151"/>
                <a:gd name="T41" fmla="*/ 3 h 1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1" h="140">
                  <a:moveTo>
                    <a:pt x="0" y="124"/>
                  </a:moveTo>
                  <a:lnTo>
                    <a:pt x="0" y="139"/>
                  </a:lnTo>
                  <a:lnTo>
                    <a:pt x="30" y="139"/>
                  </a:lnTo>
                  <a:lnTo>
                    <a:pt x="45" y="124"/>
                  </a:lnTo>
                  <a:lnTo>
                    <a:pt x="90" y="124"/>
                  </a:lnTo>
                  <a:lnTo>
                    <a:pt x="105" y="77"/>
                  </a:lnTo>
                  <a:lnTo>
                    <a:pt x="105" y="62"/>
                  </a:lnTo>
                  <a:lnTo>
                    <a:pt x="135" y="77"/>
                  </a:lnTo>
                  <a:lnTo>
                    <a:pt x="150" y="62"/>
                  </a:lnTo>
                  <a:lnTo>
                    <a:pt x="135" y="46"/>
                  </a:lnTo>
                  <a:lnTo>
                    <a:pt x="150" y="31"/>
                  </a:lnTo>
                  <a:lnTo>
                    <a:pt x="135" y="31"/>
                  </a:lnTo>
                  <a:lnTo>
                    <a:pt x="120" y="0"/>
                  </a:lnTo>
                  <a:lnTo>
                    <a:pt x="105" y="15"/>
                  </a:lnTo>
                  <a:lnTo>
                    <a:pt x="90" y="46"/>
                  </a:lnTo>
                  <a:lnTo>
                    <a:pt x="90" y="62"/>
                  </a:lnTo>
                  <a:lnTo>
                    <a:pt x="75" y="62"/>
                  </a:lnTo>
                  <a:lnTo>
                    <a:pt x="45" y="93"/>
                  </a:lnTo>
                  <a:lnTo>
                    <a:pt x="15" y="93"/>
                  </a:lnTo>
                  <a:lnTo>
                    <a:pt x="15" y="124"/>
                  </a:lnTo>
                  <a:lnTo>
                    <a:pt x="0" y="124"/>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694" name="Freeform 319"/>
            <p:cNvSpPr>
              <a:spLocks/>
            </p:cNvSpPr>
            <p:nvPr/>
          </p:nvSpPr>
          <p:spPr bwMode="auto">
            <a:xfrm>
              <a:off x="1877" y="1814"/>
              <a:ext cx="39" cy="47"/>
            </a:xfrm>
            <a:custGeom>
              <a:avLst/>
              <a:gdLst>
                <a:gd name="T0" fmla="*/ 0 w 91"/>
                <a:gd name="T1" fmla="*/ 0 h 124"/>
                <a:gd name="T2" fmla="*/ 0 w 91"/>
                <a:gd name="T3" fmla="*/ 1 h 124"/>
                <a:gd name="T4" fmla="*/ 1 w 91"/>
                <a:gd name="T5" fmla="*/ 2 h 124"/>
                <a:gd name="T6" fmla="*/ 2 w 91"/>
                <a:gd name="T7" fmla="*/ 3 h 124"/>
                <a:gd name="T8" fmla="*/ 3 w 91"/>
                <a:gd name="T9" fmla="*/ 2 h 124"/>
                <a:gd name="T10" fmla="*/ 3 w 91"/>
                <a:gd name="T11" fmla="*/ 2 h 124"/>
                <a:gd name="T12" fmla="*/ 3 w 91"/>
                <a:gd name="T13" fmla="*/ 2 h 124"/>
                <a:gd name="T14" fmla="*/ 3 w 91"/>
                <a:gd name="T15" fmla="*/ 1 h 124"/>
                <a:gd name="T16" fmla="*/ 3 w 91"/>
                <a:gd name="T17" fmla="*/ 1 h 124"/>
                <a:gd name="T18" fmla="*/ 1 w 91"/>
                <a:gd name="T19" fmla="*/ 1 h 124"/>
                <a:gd name="T20" fmla="*/ 1 w 91"/>
                <a:gd name="T21" fmla="*/ 0 h 124"/>
                <a:gd name="T22" fmla="*/ 0 w 91"/>
                <a:gd name="T23" fmla="*/ 0 h 1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1" h="124">
                  <a:moveTo>
                    <a:pt x="0" y="0"/>
                  </a:moveTo>
                  <a:lnTo>
                    <a:pt x="15" y="31"/>
                  </a:lnTo>
                  <a:lnTo>
                    <a:pt x="30" y="92"/>
                  </a:lnTo>
                  <a:lnTo>
                    <a:pt x="60" y="123"/>
                  </a:lnTo>
                  <a:lnTo>
                    <a:pt x="75" y="108"/>
                  </a:lnTo>
                  <a:lnTo>
                    <a:pt x="90" y="108"/>
                  </a:lnTo>
                  <a:lnTo>
                    <a:pt x="75" y="77"/>
                  </a:lnTo>
                  <a:lnTo>
                    <a:pt x="75" y="62"/>
                  </a:lnTo>
                  <a:lnTo>
                    <a:pt x="75" y="46"/>
                  </a:lnTo>
                  <a:lnTo>
                    <a:pt x="45" y="31"/>
                  </a:lnTo>
                  <a:lnTo>
                    <a:pt x="30" y="15"/>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695" name="Freeform 320"/>
            <p:cNvSpPr>
              <a:spLocks/>
            </p:cNvSpPr>
            <p:nvPr/>
          </p:nvSpPr>
          <p:spPr bwMode="auto">
            <a:xfrm>
              <a:off x="1852" y="1704"/>
              <a:ext cx="70" cy="123"/>
            </a:xfrm>
            <a:custGeom>
              <a:avLst/>
              <a:gdLst>
                <a:gd name="T0" fmla="*/ 1 w 165"/>
                <a:gd name="T1" fmla="*/ 0 h 324"/>
                <a:gd name="T2" fmla="*/ 0 w 165"/>
                <a:gd name="T3" fmla="*/ 0 h 324"/>
                <a:gd name="T4" fmla="*/ 0 w 165"/>
                <a:gd name="T5" fmla="*/ 1 h 324"/>
                <a:gd name="T6" fmla="*/ 1 w 165"/>
                <a:gd name="T7" fmla="*/ 2 h 324"/>
                <a:gd name="T8" fmla="*/ 1 w 165"/>
                <a:gd name="T9" fmla="*/ 2 h 324"/>
                <a:gd name="T10" fmla="*/ 1 w 165"/>
                <a:gd name="T11" fmla="*/ 4 h 324"/>
                <a:gd name="T12" fmla="*/ 1 w 165"/>
                <a:gd name="T13" fmla="*/ 5 h 324"/>
                <a:gd name="T14" fmla="*/ 1 w 165"/>
                <a:gd name="T15" fmla="*/ 5 h 324"/>
                <a:gd name="T16" fmla="*/ 1 w 165"/>
                <a:gd name="T17" fmla="*/ 5 h 324"/>
                <a:gd name="T18" fmla="*/ 2 w 165"/>
                <a:gd name="T19" fmla="*/ 6 h 324"/>
                <a:gd name="T20" fmla="*/ 3 w 165"/>
                <a:gd name="T21" fmla="*/ 6 h 324"/>
                <a:gd name="T22" fmla="*/ 3 w 165"/>
                <a:gd name="T23" fmla="*/ 7 h 324"/>
                <a:gd name="T24" fmla="*/ 3 w 165"/>
                <a:gd name="T25" fmla="*/ 6 h 324"/>
                <a:gd name="T26" fmla="*/ 3 w 165"/>
                <a:gd name="T27" fmla="*/ 6 h 324"/>
                <a:gd name="T28" fmla="*/ 3 w 165"/>
                <a:gd name="T29" fmla="*/ 5 h 324"/>
                <a:gd name="T30" fmla="*/ 2 w 165"/>
                <a:gd name="T31" fmla="*/ 5 h 324"/>
                <a:gd name="T32" fmla="*/ 1 w 165"/>
                <a:gd name="T33" fmla="*/ 5 h 324"/>
                <a:gd name="T34" fmla="*/ 1 w 165"/>
                <a:gd name="T35" fmla="*/ 5 h 324"/>
                <a:gd name="T36" fmla="*/ 2 w 165"/>
                <a:gd name="T37" fmla="*/ 4 h 324"/>
                <a:gd name="T38" fmla="*/ 2 w 165"/>
                <a:gd name="T39" fmla="*/ 3 h 324"/>
                <a:gd name="T40" fmla="*/ 2 w 165"/>
                <a:gd name="T41" fmla="*/ 3 h 324"/>
                <a:gd name="T42" fmla="*/ 3 w 165"/>
                <a:gd name="T43" fmla="*/ 3 h 324"/>
                <a:gd name="T44" fmla="*/ 3 w 165"/>
                <a:gd name="T45" fmla="*/ 4 h 324"/>
                <a:gd name="T46" fmla="*/ 3 w 165"/>
                <a:gd name="T47" fmla="*/ 3 h 324"/>
                <a:gd name="T48" fmla="*/ 4 w 165"/>
                <a:gd name="T49" fmla="*/ 3 h 324"/>
                <a:gd name="T50" fmla="*/ 5 w 165"/>
                <a:gd name="T51" fmla="*/ 3 h 324"/>
                <a:gd name="T52" fmla="*/ 6 w 165"/>
                <a:gd name="T53" fmla="*/ 3 h 324"/>
                <a:gd name="T54" fmla="*/ 5 w 165"/>
                <a:gd name="T55" fmla="*/ 2 h 324"/>
                <a:gd name="T56" fmla="*/ 4 w 165"/>
                <a:gd name="T57" fmla="*/ 2 h 324"/>
                <a:gd name="T58" fmla="*/ 4 w 165"/>
                <a:gd name="T59" fmla="*/ 1 h 324"/>
                <a:gd name="T60" fmla="*/ 3 w 165"/>
                <a:gd name="T61" fmla="*/ 1 h 324"/>
                <a:gd name="T62" fmla="*/ 3 w 165"/>
                <a:gd name="T63" fmla="*/ 1 h 324"/>
                <a:gd name="T64" fmla="*/ 3 w 165"/>
                <a:gd name="T65" fmla="*/ 1 h 324"/>
                <a:gd name="T66" fmla="*/ 2 w 165"/>
                <a:gd name="T67" fmla="*/ 0 h 324"/>
                <a:gd name="T68" fmla="*/ 1 w 165"/>
                <a:gd name="T69" fmla="*/ 0 h 324"/>
                <a:gd name="T70" fmla="*/ 1 w 165"/>
                <a:gd name="T71" fmla="*/ 0 h 3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5" h="324">
                  <a:moveTo>
                    <a:pt x="45" y="0"/>
                  </a:moveTo>
                  <a:lnTo>
                    <a:pt x="15" y="0"/>
                  </a:lnTo>
                  <a:lnTo>
                    <a:pt x="0" y="31"/>
                  </a:lnTo>
                  <a:lnTo>
                    <a:pt x="30" y="77"/>
                  </a:lnTo>
                  <a:lnTo>
                    <a:pt x="30" y="108"/>
                  </a:lnTo>
                  <a:lnTo>
                    <a:pt x="45" y="185"/>
                  </a:lnTo>
                  <a:lnTo>
                    <a:pt x="30" y="215"/>
                  </a:lnTo>
                  <a:lnTo>
                    <a:pt x="30" y="261"/>
                  </a:lnTo>
                  <a:lnTo>
                    <a:pt x="45" y="261"/>
                  </a:lnTo>
                  <a:lnTo>
                    <a:pt x="60" y="292"/>
                  </a:lnTo>
                  <a:lnTo>
                    <a:pt x="89" y="308"/>
                  </a:lnTo>
                  <a:lnTo>
                    <a:pt x="104" y="323"/>
                  </a:lnTo>
                  <a:lnTo>
                    <a:pt x="89" y="292"/>
                  </a:lnTo>
                  <a:lnTo>
                    <a:pt x="75" y="277"/>
                  </a:lnTo>
                  <a:lnTo>
                    <a:pt x="75" y="261"/>
                  </a:lnTo>
                  <a:lnTo>
                    <a:pt x="60" y="246"/>
                  </a:lnTo>
                  <a:lnTo>
                    <a:pt x="45" y="246"/>
                  </a:lnTo>
                  <a:lnTo>
                    <a:pt x="45" y="231"/>
                  </a:lnTo>
                  <a:lnTo>
                    <a:pt x="60" y="185"/>
                  </a:lnTo>
                  <a:lnTo>
                    <a:pt x="60" y="154"/>
                  </a:lnTo>
                  <a:lnTo>
                    <a:pt x="60" y="138"/>
                  </a:lnTo>
                  <a:lnTo>
                    <a:pt x="75" y="154"/>
                  </a:lnTo>
                  <a:lnTo>
                    <a:pt x="104" y="185"/>
                  </a:lnTo>
                  <a:lnTo>
                    <a:pt x="104" y="154"/>
                  </a:lnTo>
                  <a:lnTo>
                    <a:pt x="119" y="123"/>
                  </a:lnTo>
                  <a:lnTo>
                    <a:pt x="149" y="123"/>
                  </a:lnTo>
                  <a:lnTo>
                    <a:pt x="164" y="123"/>
                  </a:lnTo>
                  <a:lnTo>
                    <a:pt x="149" y="108"/>
                  </a:lnTo>
                  <a:lnTo>
                    <a:pt x="134" y="77"/>
                  </a:lnTo>
                  <a:lnTo>
                    <a:pt x="119" y="62"/>
                  </a:lnTo>
                  <a:lnTo>
                    <a:pt x="104" y="46"/>
                  </a:lnTo>
                  <a:lnTo>
                    <a:pt x="89" y="62"/>
                  </a:lnTo>
                  <a:lnTo>
                    <a:pt x="75" y="46"/>
                  </a:lnTo>
                  <a:lnTo>
                    <a:pt x="60" y="15"/>
                  </a:lnTo>
                  <a:lnTo>
                    <a:pt x="45" y="15"/>
                  </a:lnTo>
                  <a:lnTo>
                    <a:pt x="45"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96" name="Freeform 321"/>
            <p:cNvSpPr>
              <a:spLocks/>
            </p:cNvSpPr>
            <p:nvPr/>
          </p:nvSpPr>
          <p:spPr bwMode="auto">
            <a:xfrm>
              <a:off x="1948" y="1837"/>
              <a:ext cx="77" cy="76"/>
            </a:xfrm>
            <a:custGeom>
              <a:avLst/>
              <a:gdLst>
                <a:gd name="T0" fmla="*/ 6 w 181"/>
                <a:gd name="T1" fmla="*/ 0 h 200"/>
                <a:gd name="T2" fmla="*/ 6 w 181"/>
                <a:gd name="T3" fmla="*/ 1 h 200"/>
                <a:gd name="T4" fmla="*/ 6 w 181"/>
                <a:gd name="T5" fmla="*/ 1 h 200"/>
                <a:gd name="T6" fmla="*/ 6 w 181"/>
                <a:gd name="T7" fmla="*/ 2 h 200"/>
                <a:gd name="T8" fmla="*/ 6 w 181"/>
                <a:gd name="T9" fmla="*/ 2 h 200"/>
                <a:gd name="T10" fmla="*/ 6 w 181"/>
                <a:gd name="T11" fmla="*/ 2 h 200"/>
                <a:gd name="T12" fmla="*/ 4 w 181"/>
                <a:gd name="T13" fmla="*/ 3 h 200"/>
                <a:gd name="T14" fmla="*/ 5 w 181"/>
                <a:gd name="T15" fmla="*/ 3 h 200"/>
                <a:gd name="T16" fmla="*/ 4 w 181"/>
                <a:gd name="T17" fmla="*/ 4 h 200"/>
                <a:gd name="T18" fmla="*/ 3 w 181"/>
                <a:gd name="T19" fmla="*/ 4 h 200"/>
                <a:gd name="T20" fmla="*/ 3 w 181"/>
                <a:gd name="T21" fmla="*/ 4 h 200"/>
                <a:gd name="T22" fmla="*/ 3 w 181"/>
                <a:gd name="T23" fmla="*/ 3 h 200"/>
                <a:gd name="T24" fmla="*/ 2 w 181"/>
                <a:gd name="T25" fmla="*/ 4 h 200"/>
                <a:gd name="T26" fmla="*/ 1 w 181"/>
                <a:gd name="T27" fmla="*/ 3 h 200"/>
                <a:gd name="T28" fmla="*/ 1 w 181"/>
                <a:gd name="T29" fmla="*/ 3 h 200"/>
                <a:gd name="T30" fmla="*/ 0 w 181"/>
                <a:gd name="T31" fmla="*/ 2 h 200"/>
                <a:gd name="T32" fmla="*/ 0 w 181"/>
                <a:gd name="T33" fmla="*/ 2 h 200"/>
                <a:gd name="T34" fmla="*/ 1 w 181"/>
                <a:gd name="T35" fmla="*/ 1 h 200"/>
                <a:gd name="T36" fmla="*/ 1 w 181"/>
                <a:gd name="T37" fmla="*/ 2 h 200"/>
                <a:gd name="T38" fmla="*/ 2 w 181"/>
                <a:gd name="T39" fmla="*/ 2 h 200"/>
                <a:gd name="T40" fmla="*/ 3 w 181"/>
                <a:gd name="T41" fmla="*/ 1 h 200"/>
                <a:gd name="T42" fmla="*/ 4 w 181"/>
                <a:gd name="T43" fmla="*/ 1 h 200"/>
                <a:gd name="T44" fmla="*/ 4 w 181"/>
                <a:gd name="T45" fmla="*/ 0 h 200"/>
                <a:gd name="T46" fmla="*/ 4 w 181"/>
                <a:gd name="T47" fmla="*/ 0 h 200"/>
                <a:gd name="T48" fmla="*/ 6 w 181"/>
                <a:gd name="T49" fmla="*/ 0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81" h="200">
                  <a:moveTo>
                    <a:pt x="165" y="15"/>
                  </a:moveTo>
                  <a:lnTo>
                    <a:pt x="180" y="46"/>
                  </a:lnTo>
                  <a:lnTo>
                    <a:pt x="180" y="61"/>
                  </a:lnTo>
                  <a:lnTo>
                    <a:pt x="180" y="77"/>
                  </a:lnTo>
                  <a:lnTo>
                    <a:pt x="165" y="92"/>
                  </a:lnTo>
                  <a:lnTo>
                    <a:pt x="165" y="122"/>
                  </a:lnTo>
                  <a:lnTo>
                    <a:pt x="135" y="153"/>
                  </a:lnTo>
                  <a:lnTo>
                    <a:pt x="150" y="153"/>
                  </a:lnTo>
                  <a:lnTo>
                    <a:pt x="135" y="184"/>
                  </a:lnTo>
                  <a:lnTo>
                    <a:pt x="105" y="199"/>
                  </a:lnTo>
                  <a:lnTo>
                    <a:pt x="105" y="184"/>
                  </a:lnTo>
                  <a:lnTo>
                    <a:pt x="75" y="168"/>
                  </a:lnTo>
                  <a:lnTo>
                    <a:pt x="60" y="184"/>
                  </a:lnTo>
                  <a:lnTo>
                    <a:pt x="30" y="168"/>
                  </a:lnTo>
                  <a:lnTo>
                    <a:pt x="30" y="138"/>
                  </a:lnTo>
                  <a:lnTo>
                    <a:pt x="0" y="107"/>
                  </a:lnTo>
                  <a:lnTo>
                    <a:pt x="0" y="92"/>
                  </a:lnTo>
                  <a:lnTo>
                    <a:pt x="30" y="61"/>
                  </a:lnTo>
                  <a:lnTo>
                    <a:pt x="30" y="77"/>
                  </a:lnTo>
                  <a:lnTo>
                    <a:pt x="60" y="77"/>
                  </a:lnTo>
                  <a:lnTo>
                    <a:pt x="75" y="61"/>
                  </a:lnTo>
                  <a:lnTo>
                    <a:pt x="120" y="61"/>
                  </a:lnTo>
                  <a:lnTo>
                    <a:pt x="135" y="15"/>
                  </a:lnTo>
                  <a:lnTo>
                    <a:pt x="135" y="0"/>
                  </a:lnTo>
                  <a:lnTo>
                    <a:pt x="165" y="15"/>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97" name="Freeform 322"/>
            <p:cNvSpPr>
              <a:spLocks/>
            </p:cNvSpPr>
            <p:nvPr/>
          </p:nvSpPr>
          <p:spPr bwMode="auto">
            <a:xfrm>
              <a:off x="1852" y="1825"/>
              <a:ext cx="77" cy="94"/>
            </a:xfrm>
            <a:custGeom>
              <a:avLst/>
              <a:gdLst>
                <a:gd name="T0" fmla="*/ 0 w 179"/>
                <a:gd name="T1" fmla="*/ 0 h 247"/>
                <a:gd name="T2" fmla="*/ 1 w 179"/>
                <a:gd name="T3" fmla="*/ 0 h 247"/>
                <a:gd name="T4" fmla="*/ 1 w 179"/>
                <a:gd name="T5" fmla="*/ 1 h 247"/>
                <a:gd name="T6" fmla="*/ 3 w 179"/>
                <a:gd name="T7" fmla="*/ 1 h 247"/>
                <a:gd name="T8" fmla="*/ 3 w 179"/>
                <a:gd name="T9" fmla="*/ 2 h 247"/>
                <a:gd name="T10" fmla="*/ 5 w 179"/>
                <a:gd name="T11" fmla="*/ 2 h 247"/>
                <a:gd name="T12" fmla="*/ 5 w 179"/>
                <a:gd name="T13" fmla="*/ 3 h 247"/>
                <a:gd name="T14" fmla="*/ 5 w 179"/>
                <a:gd name="T15" fmla="*/ 3 h 247"/>
                <a:gd name="T16" fmla="*/ 6 w 179"/>
                <a:gd name="T17" fmla="*/ 4 h 247"/>
                <a:gd name="T18" fmla="*/ 6 w 179"/>
                <a:gd name="T19" fmla="*/ 5 h 247"/>
                <a:gd name="T20" fmla="*/ 5 w 179"/>
                <a:gd name="T21" fmla="*/ 5 h 247"/>
                <a:gd name="T22" fmla="*/ 3 w 179"/>
                <a:gd name="T23" fmla="*/ 4 h 247"/>
                <a:gd name="T24" fmla="*/ 3 w 179"/>
                <a:gd name="T25" fmla="*/ 3 h 247"/>
                <a:gd name="T26" fmla="*/ 2 w 179"/>
                <a:gd name="T27" fmla="*/ 2 h 247"/>
                <a:gd name="T28" fmla="*/ 2 w 179"/>
                <a:gd name="T29" fmla="*/ 2 h 247"/>
                <a:gd name="T30" fmla="*/ 0 w 179"/>
                <a:gd name="T31" fmla="*/ 1 h 247"/>
                <a:gd name="T32" fmla="*/ 0 w 179"/>
                <a:gd name="T33" fmla="*/ 0 h 247"/>
                <a:gd name="T34" fmla="*/ 0 w 179"/>
                <a:gd name="T35" fmla="*/ 0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9" h="247">
                  <a:moveTo>
                    <a:pt x="0" y="0"/>
                  </a:moveTo>
                  <a:lnTo>
                    <a:pt x="30" y="0"/>
                  </a:lnTo>
                  <a:lnTo>
                    <a:pt x="45" y="31"/>
                  </a:lnTo>
                  <a:lnTo>
                    <a:pt x="74" y="46"/>
                  </a:lnTo>
                  <a:lnTo>
                    <a:pt x="89" y="77"/>
                  </a:lnTo>
                  <a:lnTo>
                    <a:pt x="134" y="108"/>
                  </a:lnTo>
                  <a:lnTo>
                    <a:pt x="134" y="138"/>
                  </a:lnTo>
                  <a:lnTo>
                    <a:pt x="148" y="154"/>
                  </a:lnTo>
                  <a:lnTo>
                    <a:pt x="178" y="185"/>
                  </a:lnTo>
                  <a:lnTo>
                    <a:pt x="163" y="246"/>
                  </a:lnTo>
                  <a:lnTo>
                    <a:pt x="148" y="246"/>
                  </a:lnTo>
                  <a:lnTo>
                    <a:pt x="104" y="200"/>
                  </a:lnTo>
                  <a:lnTo>
                    <a:pt x="89" y="154"/>
                  </a:lnTo>
                  <a:lnTo>
                    <a:pt x="59" y="108"/>
                  </a:lnTo>
                  <a:lnTo>
                    <a:pt x="59" y="92"/>
                  </a:lnTo>
                  <a:lnTo>
                    <a:pt x="15" y="46"/>
                  </a:lnTo>
                  <a:lnTo>
                    <a:pt x="0" y="15"/>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98" name="Freeform 323"/>
            <p:cNvSpPr>
              <a:spLocks/>
            </p:cNvSpPr>
            <p:nvPr/>
          </p:nvSpPr>
          <p:spPr bwMode="auto">
            <a:xfrm>
              <a:off x="2127" y="1878"/>
              <a:ext cx="77" cy="76"/>
            </a:xfrm>
            <a:custGeom>
              <a:avLst/>
              <a:gdLst>
                <a:gd name="T0" fmla="*/ 6 w 180"/>
                <a:gd name="T1" fmla="*/ 1 h 201"/>
                <a:gd name="T2" fmla="*/ 6 w 180"/>
                <a:gd name="T3" fmla="*/ 4 h 201"/>
                <a:gd name="T4" fmla="*/ 4 w 180"/>
                <a:gd name="T5" fmla="*/ 4 h 201"/>
                <a:gd name="T6" fmla="*/ 4 w 180"/>
                <a:gd name="T7" fmla="*/ 3 h 201"/>
                <a:gd name="T8" fmla="*/ 1 w 180"/>
                <a:gd name="T9" fmla="*/ 1 h 201"/>
                <a:gd name="T10" fmla="*/ 1 w 180"/>
                <a:gd name="T11" fmla="*/ 2 h 201"/>
                <a:gd name="T12" fmla="*/ 0 w 180"/>
                <a:gd name="T13" fmla="*/ 1 h 201"/>
                <a:gd name="T14" fmla="*/ 1 w 180"/>
                <a:gd name="T15" fmla="*/ 1 h 201"/>
                <a:gd name="T16" fmla="*/ 0 w 180"/>
                <a:gd name="T17" fmla="*/ 0 h 201"/>
                <a:gd name="T18" fmla="*/ 0 w 180"/>
                <a:gd name="T19" fmla="*/ 0 h 201"/>
                <a:gd name="T20" fmla="*/ 1 w 180"/>
                <a:gd name="T21" fmla="*/ 0 h 201"/>
                <a:gd name="T22" fmla="*/ 1 w 180"/>
                <a:gd name="T23" fmla="*/ 0 h 201"/>
                <a:gd name="T24" fmla="*/ 2 w 180"/>
                <a:gd name="T25" fmla="*/ 1 h 201"/>
                <a:gd name="T26" fmla="*/ 3 w 180"/>
                <a:gd name="T27" fmla="*/ 1 h 201"/>
                <a:gd name="T28" fmla="*/ 3 w 180"/>
                <a:gd name="T29" fmla="*/ 1 h 201"/>
                <a:gd name="T30" fmla="*/ 4 w 180"/>
                <a:gd name="T31" fmla="*/ 1 h 201"/>
                <a:gd name="T32" fmla="*/ 6 w 180"/>
                <a:gd name="T33" fmla="*/ 1 h 2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0" h="201">
                  <a:moveTo>
                    <a:pt x="179" y="46"/>
                  </a:moveTo>
                  <a:lnTo>
                    <a:pt x="179" y="200"/>
                  </a:lnTo>
                  <a:lnTo>
                    <a:pt x="134" y="185"/>
                  </a:lnTo>
                  <a:lnTo>
                    <a:pt x="119" y="123"/>
                  </a:lnTo>
                  <a:lnTo>
                    <a:pt x="45" y="62"/>
                  </a:lnTo>
                  <a:lnTo>
                    <a:pt x="30" y="77"/>
                  </a:lnTo>
                  <a:lnTo>
                    <a:pt x="15" y="46"/>
                  </a:lnTo>
                  <a:lnTo>
                    <a:pt x="30" y="46"/>
                  </a:lnTo>
                  <a:lnTo>
                    <a:pt x="0" y="15"/>
                  </a:lnTo>
                  <a:lnTo>
                    <a:pt x="0" y="0"/>
                  </a:lnTo>
                  <a:lnTo>
                    <a:pt x="30" y="0"/>
                  </a:lnTo>
                  <a:lnTo>
                    <a:pt x="45" y="15"/>
                  </a:lnTo>
                  <a:lnTo>
                    <a:pt x="60" y="46"/>
                  </a:lnTo>
                  <a:lnTo>
                    <a:pt x="75" y="62"/>
                  </a:lnTo>
                  <a:lnTo>
                    <a:pt x="90" y="46"/>
                  </a:lnTo>
                  <a:lnTo>
                    <a:pt x="119" y="31"/>
                  </a:lnTo>
                  <a:lnTo>
                    <a:pt x="179" y="4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699" name="Freeform 324"/>
            <p:cNvSpPr>
              <a:spLocks/>
            </p:cNvSpPr>
            <p:nvPr/>
          </p:nvSpPr>
          <p:spPr bwMode="auto">
            <a:xfrm>
              <a:off x="2031" y="1861"/>
              <a:ext cx="46" cy="58"/>
            </a:xfrm>
            <a:custGeom>
              <a:avLst/>
              <a:gdLst>
                <a:gd name="T0" fmla="*/ 4 w 106"/>
                <a:gd name="T1" fmla="*/ 0 h 155"/>
                <a:gd name="T2" fmla="*/ 3 w 106"/>
                <a:gd name="T3" fmla="*/ 0 h 155"/>
                <a:gd name="T4" fmla="*/ 1 w 106"/>
                <a:gd name="T5" fmla="*/ 0 h 155"/>
                <a:gd name="T6" fmla="*/ 1 w 106"/>
                <a:gd name="T7" fmla="*/ 1 h 155"/>
                <a:gd name="T8" fmla="*/ 2 w 106"/>
                <a:gd name="T9" fmla="*/ 1 h 155"/>
                <a:gd name="T10" fmla="*/ 2 w 106"/>
                <a:gd name="T11" fmla="*/ 1 h 155"/>
                <a:gd name="T12" fmla="*/ 2 w 106"/>
                <a:gd name="T13" fmla="*/ 1 h 155"/>
                <a:gd name="T14" fmla="*/ 2 w 106"/>
                <a:gd name="T15" fmla="*/ 1 h 155"/>
                <a:gd name="T16" fmla="*/ 2 w 106"/>
                <a:gd name="T17" fmla="*/ 2 h 155"/>
                <a:gd name="T18" fmla="*/ 2 w 106"/>
                <a:gd name="T19" fmla="*/ 3 h 155"/>
                <a:gd name="T20" fmla="*/ 2 w 106"/>
                <a:gd name="T21" fmla="*/ 2 h 155"/>
                <a:gd name="T22" fmla="*/ 1 w 106"/>
                <a:gd name="T23" fmla="*/ 2 h 155"/>
                <a:gd name="T24" fmla="*/ 1 w 106"/>
                <a:gd name="T25" fmla="*/ 3 h 155"/>
                <a:gd name="T26" fmla="*/ 0 w 106"/>
                <a:gd name="T27" fmla="*/ 3 h 155"/>
                <a:gd name="T28" fmla="*/ 0 w 106"/>
                <a:gd name="T29" fmla="*/ 2 h 155"/>
                <a:gd name="T30" fmla="*/ 0 w 106"/>
                <a:gd name="T31" fmla="*/ 2 h 155"/>
                <a:gd name="T32" fmla="*/ 0 w 106"/>
                <a:gd name="T33" fmla="*/ 1 h 155"/>
                <a:gd name="T34" fmla="*/ 0 w 106"/>
                <a:gd name="T35" fmla="*/ 0 h 155"/>
                <a:gd name="T36" fmla="*/ 1 w 106"/>
                <a:gd name="T37" fmla="*/ 0 h 155"/>
                <a:gd name="T38" fmla="*/ 3 w 106"/>
                <a:gd name="T39" fmla="*/ 0 h 155"/>
                <a:gd name="T40" fmla="*/ 4 w 106"/>
                <a:gd name="T41" fmla="*/ 0 h 15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6" h="155">
                  <a:moveTo>
                    <a:pt x="105" y="0"/>
                  </a:moveTo>
                  <a:lnTo>
                    <a:pt x="90" y="15"/>
                  </a:lnTo>
                  <a:lnTo>
                    <a:pt x="30" y="15"/>
                  </a:lnTo>
                  <a:lnTo>
                    <a:pt x="30" y="62"/>
                  </a:lnTo>
                  <a:lnTo>
                    <a:pt x="45" y="46"/>
                  </a:lnTo>
                  <a:lnTo>
                    <a:pt x="60" y="46"/>
                  </a:lnTo>
                  <a:lnTo>
                    <a:pt x="45" y="77"/>
                  </a:lnTo>
                  <a:lnTo>
                    <a:pt x="60" y="77"/>
                  </a:lnTo>
                  <a:lnTo>
                    <a:pt x="60" y="123"/>
                  </a:lnTo>
                  <a:lnTo>
                    <a:pt x="45" y="139"/>
                  </a:lnTo>
                  <a:lnTo>
                    <a:pt x="45" y="92"/>
                  </a:lnTo>
                  <a:lnTo>
                    <a:pt x="30" y="92"/>
                  </a:lnTo>
                  <a:lnTo>
                    <a:pt x="30" y="154"/>
                  </a:lnTo>
                  <a:lnTo>
                    <a:pt x="0" y="154"/>
                  </a:lnTo>
                  <a:lnTo>
                    <a:pt x="15" y="108"/>
                  </a:lnTo>
                  <a:lnTo>
                    <a:pt x="0" y="108"/>
                  </a:lnTo>
                  <a:lnTo>
                    <a:pt x="15" y="46"/>
                  </a:lnTo>
                  <a:lnTo>
                    <a:pt x="15" y="15"/>
                  </a:lnTo>
                  <a:lnTo>
                    <a:pt x="30" y="0"/>
                  </a:lnTo>
                  <a:lnTo>
                    <a:pt x="75" y="0"/>
                  </a:lnTo>
                  <a:lnTo>
                    <a:pt x="105"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0" name="Freeform 325"/>
            <p:cNvSpPr>
              <a:spLocks/>
            </p:cNvSpPr>
            <p:nvPr/>
          </p:nvSpPr>
          <p:spPr bwMode="auto">
            <a:xfrm>
              <a:off x="1928" y="1919"/>
              <a:ext cx="65" cy="29"/>
            </a:xfrm>
            <a:custGeom>
              <a:avLst/>
              <a:gdLst>
                <a:gd name="T0" fmla="*/ 0 w 152"/>
                <a:gd name="T1" fmla="*/ 1 h 77"/>
                <a:gd name="T2" fmla="*/ 0 w 152"/>
                <a:gd name="T3" fmla="*/ 0 h 77"/>
                <a:gd name="T4" fmla="*/ 2 w 152"/>
                <a:gd name="T5" fmla="*/ 0 h 77"/>
                <a:gd name="T6" fmla="*/ 3 w 152"/>
                <a:gd name="T7" fmla="*/ 1 h 77"/>
                <a:gd name="T8" fmla="*/ 3 w 152"/>
                <a:gd name="T9" fmla="*/ 0 h 77"/>
                <a:gd name="T10" fmla="*/ 4 w 152"/>
                <a:gd name="T11" fmla="*/ 1 h 77"/>
                <a:gd name="T12" fmla="*/ 5 w 152"/>
                <a:gd name="T13" fmla="*/ 1 h 77"/>
                <a:gd name="T14" fmla="*/ 5 w 152"/>
                <a:gd name="T15" fmla="*/ 1 h 77"/>
                <a:gd name="T16" fmla="*/ 5 w 152"/>
                <a:gd name="T17" fmla="*/ 2 h 77"/>
                <a:gd name="T18" fmla="*/ 3 w 152"/>
                <a:gd name="T19" fmla="*/ 1 h 77"/>
                <a:gd name="T20" fmla="*/ 3 w 152"/>
                <a:gd name="T21" fmla="*/ 1 h 77"/>
                <a:gd name="T22" fmla="*/ 2 w 152"/>
                <a:gd name="T23" fmla="*/ 1 h 77"/>
                <a:gd name="T24" fmla="*/ 0 w 152"/>
                <a:gd name="T25" fmla="*/ 1 h 77"/>
                <a:gd name="T26" fmla="*/ 0 w 152"/>
                <a:gd name="T27" fmla="*/ 1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2" h="77">
                  <a:moveTo>
                    <a:pt x="0" y="30"/>
                  </a:moveTo>
                  <a:lnTo>
                    <a:pt x="15" y="0"/>
                  </a:lnTo>
                  <a:lnTo>
                    <a:pt x="60" y="15"/>
                  </a:lnTo>
                  <a:lnTo>
                    <a:pt x="76" y="30"/>
                  </a:lnTo>
                  <a:lnTo>
                    <a:pt x="91" y="15"/>
                  </a:lnTo>
                  <a:lnTo>
                    <a:pt x="121" y="30"/>
                  </a:lnTo>
                  <a:lnTo>
                    <a:pt x="136" y="30"/>
                  </a:lnTo>
                  <a:lnTo>
                    <a:pt x="151" y="46"/>
                  </a:lnTo>
                  <a:lnTo>
                    <a:pt x="151" y="76"/>
                  </a:lnTo>
                  <a:lnTo>
                    <a:pt x="91" y="61"/>
                  </a:lnTo>
                  <a:lnTo>
                    <a:pt x="76" y="46"/>
                  </a:lnTo>
                  <a:lnTo>
                    <a:pt x="60" y="61"/>
                  </a:lnTo>
                  <a:lnTo>
                    <a:pt x="15" y="30"/>
                  </a:lnTo>
                  <a:lnTo>
                    <a:pt x="0" y="3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1" name="Freeform 326"/>
            <p:cNvSpPr>
              <a:spLocks/>
            </p:cNvSpPr>
            <p:nvPr/>
          </p:nvSpPr>
          <p:spPr bwMode="auto">
            <a:xfrm>
              <a:off x="2088" y="1849"/>
              <a:ext cx="20" cy="29"/>
            </a:xfrm>
            <a:custGeom>
              <a:avLst/>
              <a:gdLst>
                <a:gd name="T0" fmla="*/ 1 w 45"/>
                <a:gd name="T1" fmla="*/ 2 h 77"/>
                <a:gd name="T2" fmla="*/ 0 w 45"/>
                <a:gd name="T3" fmla="*/ 0 h 77"/>
                <a:gd name="T4" fmla="*/ 0 w 45"/>
                <a:gd name="T5" fmla="*/ 0 h 77"/>
                <a:gd name="T6" fmla="*/ 2 w 45"/>
                <a:gd name="T7" fmla="*/ 2 h 77"/>
                <a:gd name="T8" fmla="*/ 1 w 45"/>
                <a:gd name="T9" fmla="*/ 2 h 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77">
                  <a:moveTo>
                    <a:pt x="29" y="76"/>
                  </a:moveTo>
                  <a:lnTo>
                    <a:pt x="0" y="15"/>
                  </a:lnTo>
                  <a:lnTo>
                    <a:pt x="15" y="0"/>
                  </a:lnTo>
                  <a:lnTo>
                    <a:pt x="44" y="76"/>
                  </a:lnTo>
                  <a:lnTo>
                    <a:pt x="29" y="7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2" name="Freeform 327"/>
            <p:cNvSpPr>
              <a:spLocks/>
            </p:cNvSpPr>
            <p:nvPr/>
          </p:nvSpPr>
          <p:spPr bwMode="auto">
            <a:xfrm>
              <a:off x="2038" y="1941"/>
              <a:ext cx="19" cy="7"/>
            </a:xfrm>
            <a:custGeom>
              <a:avLst/>
              <a:gdLst>
                <a:gd name="T0" fmla="*/ 0 w 45"/>
                <a:gd name="T1" fmla="*/ 0 h 17"/>
                <a:gd name="T2" fmla="*/ 1 w 45"/>
                <a:gd name="T3" fmla="*/ 0 h 17"/>
                <a:gd name="T4" fmla="*/ 1 w 45"/>
                <a:gd name="T5" fmla="*/ 0 h 17"/>
                <a:gd name="T6" fmla="*/ 0 w 45"/>
                <a:gd name="T7" fmla="*/ 0 h 17"/>
                <a:gd name="T8" fmla="*/ 0 w 45"/>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17">
                  <a:moveTo>
                    <a:pt x="0" y="0"/>
                  </a:moveTo>
                  <a:lnTo>
                    <a:pt x="44" y="0"/>
                  </a:lnTo>
                  <a:lnTo>
                    <a:pt x="44" y="16"/>
                  </a:lnTo>
                  <a:lnTo>
                    <a:pt x="0" y="16"/>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3" name="Freeform 328"/>
            <p:cNvSpPr>
              <a:spLocks/>
            </p:cNvSpPr>
            <p:nvPr/>
          </p:nvSpPr>
          <p:spPr bwMode="auto">
            <a:xfrm>
              <a:off x="2064" y="1947"/>
              <a:ext cx="25" cy="13"/>
            </a:xfrm>
            <a:custGeom>
              <a:avLst/>
              <a:gdLst>
                <a:gd name="T0" fmla="*/ 0 w 60"/>
                <a:gd name="T1" fmla="*/ 1 h 32"/>
                <a:gd name="T2" fmla="*/ 0 w 60"/>
                <a:gd name="T3" fmla="*/ 0 h 32"/>
                <a:gd name="T4" fmla="*/ 0 w 60"/>
                <a:gd name="T5" fmla="*/ 0 h 32"/>
                <a:gd name="T6" fmla="*/ 2 w 60"/>
                <a:gd name="T7" fmla="*/ 0 h 32"/>
                <a:gd name="T8" fmla="*/ 1 w 60"/>
                <a:gd name="T9" fmla="*/ 0 h 32"/>
                <a:gd name="T10" fmla="*/ 0 w 60"/>
                <a:gd name="T11" fmla="*/ 1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 h="32">
                  <a:moveTo>
                    <a:pt x="0" y="31"/>
                  </a:moveTo>
                  <a:lnTo>
                    <a:pt x="0" y="16"/>
                  </a:lnTo>
                  <a:lnTo>
                    <a:pt x="15" y="0"/>
                  </a:lnTo>
                  <a:lnTo>
                    <a:pt x="59" y="0"/>
                  </a:lnTo>
                  <a:lnTo>
                    <a:pt x="30" y="16"/>
                  </a:lnTo>
                  <a:lnTo>
                    <a:pt x="0" y="31"/>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4" name="Freeform 329"/>
            <p:cNvSpPr>
              <a:spLocks/>
            </p:cNvSpPr>
            <p:nvPr/>
          </p:nvSpPr>
          <p:spPr bwMode="auto">
            <a:xfrm>
              <a:off x="2095" y="1895"/>
              <a:ext cx="26" cy="12"/>
            </a:xfrm>
            <a:custGeom>
              <a:avLst/>
              <a:gdLst>
                <a:gd name="T0" fmla="*/ 0 w 60"/>
                <a:gd name="T1" fmla="*/ 0 h 32"/>
                <a:gd name="T2" fmla="*/ 0 w 60"/>
                <a:gd name="T3" fmla="*/ 1 h 32"/>
                <a:gd name="T4" fmla="*/ 1 w 60"/>
                <a:gd name="T5" fmla="*/ 0 h 32"/>
                <a:gd name="T6" fmla="*/ 2 w 60"/>
                <a:gd name="T7" fmla="*/ 0 h 32"/>
                <a:gd name="T8" fmla="*/ 2 w 60"/>
                <a:gd name="T9" fmla="*/ 0 h 32"/>
                <a:gd name="T10" fmla="*/ 0 w 60"/>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 h="32">
                  <a:moveTo>
                    <a:pt x="0" y="16"/>
                  </a:moveTo>
                  <a:lnTo>
                    <a:pt x="15" y="31"/>
                  </a:lnTo>
                  <a:lnTo>
                    <a:pt x="30" y="16"/>
                  </a:lnTo>
                  <a:lnTo>
                    <a:pt x="59" y="16"/>
                  </a:lnTo>
                  <a:lnTo>
                    <a:pt x="59" y="0"/>
                  </a:lnTo>
                  <a:lnTo>
                    <a:pt x="0" y="16"/>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5" name="Freeform 330"/>
            <p:cNvSpPr>
              <a:spLocks/>
            </p:cNvSpPr>
            <p:nvPr/>
          </p:nvSpPr>
          <p:spPr bwMode="auto">
            <a:xfrm>
              <a:off x="2005" y="1937"/>
              <a:ext cx="20" cy="11"/>
            </a:xfrm>
            <a:custGeom>
              <a:avLst/>
              <a:gdLst>
                <a:gd name="T0" fmla="*/ 0 w 46"/>
                <a:gd name="T1" fmla="*/ 0 h 31"/>
                <a:gd name="T2" fmla="*/ 0 w 46"/>
                <a:gd name="T3" fmla="*/ 0 h 31"/>
                <a:gd name="T4" fmla="*/ 2 w 46"/>
                <a:gd name="T5" fmla="*/ 0 h 31"/>
                <a:gd name="T6" fmla="*/ 0 w 46"/>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 h="31">
                  <a:moveTo>
                    <a:pt x="0" y="0"/>
                  </a:moveTo>
                  <a:lnTo>
                    <a:pt x="0" y="30"/>
                  </a:lnTo>
                  <a:lnTo>
                    <a:pt x="45" y="30"/>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6" name="Freeform 331"/>
            <p:cNvSpPr>
              <a:spLocks/>
            </p:cNvSpPr>
            <p:nvPr/>
          </p:nvSpPr>
          <p:spPr bwMode="auto">
            <a:xfrm>
              <a:off x="2031" y="1953"/>
              <a:ext cx="13" cy="7"/>
            </a:xfrm>
            <a:custGeom>
              <a:avLst/>
              <a:gdLst>
                <a:gd name="T0" fmla="*/ 0 w 32"/>
                <a:gd name="T1" fmla="*/ 0 h 17"/>
                <a:gd name="T2" fmla="*/ 1 w 32"/>
                <a:gd name="T3" fmla="*/ 0 h 17"/>
                <a:gd name="T4" fmla="*/ 1 w 32"/>
                <a:gd name="T5" fmla="*/ 0 h 17"/>
                <a:gd name="T6" fmla="*/ 0 w 32"/>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17">
                  <a:moveTo>
                    <a:pt x="0" y="0"/>
                  </a:moveTo>
                  <a:lnTo>
                    <a:pt x="31" y="0"/>
                  </a:lnTo>
                  <a:lnTo>
                    <a:pt x="31" y="16"/>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7" name="Freeform 332"/>
            <p:cNvSpPr>
              <a:spLocks/>
            </p:cNvSpPr>
            <p:nvPr/>
          </p:nvSpPr>
          <p:spPr bwMode="auto">
            <a:xfrm>
              <a:off x="2172" y="1937"/>
              <a:ext cx="14" cy="11"/>
            </a:xfrm>
            <a:custGeom>
              <a:avLst/>
              <a:gdLst>
                <a:gd name="T0" fmla="*/ 0 w 32"/>
                <a:gd name="T1" fmla="*/ 0 h 31"/>
                <a:gd name="T2" fmla="*/ 1 w 32"/>
                <a:gd name="T3" fmla="*/ 0 h 31"/>
                <a:gd name="T4" fmla="*/ 0 w 32"/>
                <a:gd name="T5" fmla="*/ 0 h 31"/>
                <a:gd name="T6" fmla="*/ 0 w 32"/>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31">
                  <a:moveTo>
                    <a:pt x="0" y="0"/>
                  </a:moveTo>
                  <a:lnTo>
                    <a:pt x="31" y="30"/>
                  </a:lnTo>
                  <a:lnTo>
                    <a:pt x="16" y="30"/>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8" name="Freeform 333"/>
            <p:cNvSpPr>
              <a:spLocks/>
            </p:cNvSpPr>
            <p:nvPr/>
          </p:nvSpPr>
          <p:spPr bwMode="auto">
            <a:xfrm>
              <a:off x="2076" y="1901"/>
              <a:ext cx="13" cy="7"/>
            </a:xfrm>
            <a:custGeom>
              <a:avLst/>
              <a:gdLst>
                <a:gd name="T0" fmla="*/ 0 w 31"/>
                <a:gd name="T1" fmla="*/ 0 h 17"/>
                <a:gd name="T2" fmla="*/ 1 w 31"/>
                <a:gd name="T3" fmla="*/ 0 h 17"/>
                <a:gd name="T4" fmla="*/ 0 w 31"/>
                <a:gd name="T5" fmla="*/ 0 h 17"/>
                <a:gd name="T6" fmla="*/ 0 w 31"/>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17">
                  <a:moveTo>
                    <a:pt x="0" y="0"/>
                  </a:moveTo>
                  <a:lnTo>
                    <a:pt x="30" y="0"/>
                  </a:lnTo>
                  <a:lnTo>
                    <a:pt x="15" y="16"/>
                  </a:lnTo>
                  <a:lnTo>
                    <a:pt x="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09" name="Line 334"/>
            <p:cNvSpPr>
              <a:spLocks noChangeShapeType="1"/>
            </p:cNvSpPr>
            <p:nvPr/>
          </p:nvSpPr>
          <p:spPr bwMode="auto">
            <a:xfrm>
              <a:off x="1928" y="1884"/>
              <a:ext cx="7" cy="1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710" name="Oval 335"/>
            <p:cNvSpPr>
              <a:spLocks noChangeArrowheads="1"/>
            </p:cNvSpPr>
            <p:nvPr/>
          </p:nvSpPr>
          <p:spPr bwMode="auto">
            <a:xfrm>
              <a:off x="1903" y="1849"/>
              <a:ext cx="6" cy="6"/>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711" name="Oval 336"/>
            <p:cNvSpPr>
              <a:spLocks noChangeArrowheads="1"/>
            </p:cNvSpPr>
            <p:nvPr/>
          </p:nvSpPr>
          <p:spPr bwMode="auto">
            <a:xfrm>
              <a:off x="1993" y="1825"/>
              <a:ext cx="6" cy="6"/>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712" name="Oval 337"/>
            <p:cNvSpPr>
              <a:spLocks noChangeArrowheads="1"/>
            </p:cNvSpPr>
            <p:nvPr/>
          </p:nvSpPr>
          <p:spPr bwMode="auto">
            <a:xfrm>
              <a:off x="1679" y="1831"/>
              <a:ext cx="6" cy="6"/>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713" name="Freeform 338"/>
            <p:cNvSpPr>
              <a:spLocks/>
            </p:cNvSpPr>
            <p:nvPr/>
          </p:nvSpPr>
          <p:spPr bwMode="auto">
            <a:xfrm>
              <a:off x="2031" y="1704"/>
              <a:ext cx="33" cy="53"/>
            </a:xfrm>
            <a:custGeom>
              <a:avLst/>
              <a:gdLst>
                <a:gd name="T0" fmla="*/ 1 w 77"/>
                <a:gd name="T1" fmla="*/ 0 h 140"/>
                <a:gd name="T2" fmla="*/ 0 w 77"/>
                <a:gd name="T3" fmla="*/ 0 h 140"/>
                <a:gd name="T4" fmla="*/ 0 w 77"/>
                <a:gd name="T5" fmla="*/ 1 h 140"/>
                <a:gd name="T6" fmla="*/ 0 w 77"/>
                <a:gd name="T7" fmla="*/ 2 h 140"/>
                <a:gd name="T8" fmla="*/ 0 w 77"/>
                <a:gd name="T9" fmla="*/ 1 h 140"/>
                <a:gd name="T10" fmla="*/ 0 w 77"/>
                <a:gd name="T11" fmla="*/ 2 h 140"/>
                <a:gd name="T12" fmla="*/ 0 w 77"/>
                <a:gd name="T13" fmla="*/ 2 h 140"/>
                <a:gd name="T14" fmla="*/ 1 w 77"/>
                <a:gd name="T15" fmla="*/ 2 h 140"/>
                <a:gd name="T16" fmla="*/ 1 w 77"/>
                <a:gd name="T17" fmla="*/ 3 h 140"/>
                <a:gd name="T18" fmla="*/ 2 w 77"/>
                <a:gd name="T19" fmla="*/ 3 h 140"/>
                <a:gd name="T20" fmla="*/ 3 w 77"/>
                <a:gd name="T21" fmla="*/ 3 h 140"/>
                <a:gd name="T22" fmla="*/ 3 w 77"/>
                <a:gd name="T23" fmla="*/ 2 h 140"/>
                <a:gd name="T24" fmla="*/ 2 w 77"/>
                <a:gd name="T25" fmla="*/ 2 h 140"/>
                <a:gd name="T26" fmla="*/ 1 w 77"/>
                <a:gd name="T27" fmla="*/ 2 h 140"/>
                <a:gd name="T28" fmla="*/ 2 w 77"/>
                <a:gd name="T29" fmla="*/ 1 h 140"/>
                <a:gd name="T30" fmla="*/ 1 w 77"/>
                <a:gd name="T31" fmla="*/ 1 h 140"/>
                <a:gd name="T32" fmla="*/ 1 w 77"/>
                <a:gd name="T33" fmla="*/ 0 h 1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7" h="140">
                  <a:moveTo>
                    <a:pt x="30" y="15"/>
                  </a:moveTo>
                  <a:lnTo>
                    <a:pt x="15" y="0"/>
                  </a:lnTo>
                  <a:lnTo>
                    <a:pt x="0" y="46"/>
                  </a:lnTo>
                  <a:lnTo>
                    <a:pt x="0" y="77"/>
                  </a:lnTo>
                  <a:lnTo>
                    <a:pt x="0" y="62"/>
                  </a:lnTo>
                  <a:lnTo>
                    <a:pt x="0" y="93"/>
                  </a:lnTo>
                  <a:lnTo>
                    <a:pt x="0" y="108"/>
                  </a:lnTo>
                  <a:lnTo>
                    <a:pt x="30" y="108"/>
                  </a:lnTo>
                  <a:lnTo>
                    <a:pt x="30" y="124"/>
                  </a:lnTo>
                  <a:lnTo>
                    <a:pt x="61" y="124"/>
                  </a:lnTo>
                  <a:lnTo>
                    <a:pt x="76" y="139"/>
                  </a:lnTo>
                  <a:lnTo>
                    <a:pt x="76" y="108"/>
                  </a:lnTo>
                  <a:lnTo>
                    <a:pt x="46" y="108"/>
                  </a:lnTo>
                  <a:lnTo>
                    <a:pt x="30" y="77"/>
                  </a:lnTo>
                  <a:lnTo>
                    <a:pt x="46" y="46"/>
                  </a:lnTo>
                  <a:lnTo>
                    <a:pt x="30" y="31"/>
                  </a:lnTo>
                  <a:lnTo>
                    <a:pt x="30" y="15"/>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14" name="Freeform 339"/>
            <p:cNvSpPr>
              <a:spLocks/>
            </p:cNvSpPr>
            <p:nvPr/>
          </p:nvSpPr>
          <p:spPr bwMode="auto">
            <a:xfrm>
              <a:off x="2050" y="1785"/>
              <a:ext cx="39" cy="30"/>
            </a:xfrm>
            <a:custGeom>
              <a:avLst/>
              <a:gdLst>
                <a:gd name="T0" fmla="*/ 2 w 91"/>
                <a:gd name="T1" fmla="*/ 0 h 77"/>
                <a:gd name="T2" fmla="*/ 1 w 91"/>
                <a:gd name="T3" fmla="*/ 1 h 77"/>
                <a:gd name="T4" fmla="*/ 0 w 91"/>
                <a:gd name="T5" fmla="*/ 1 h 77"/>
                <a:gd name="T6" fmla="*/ 0 w 91"/>
                <a:gd name="T7" fmla="*/ 2 h 77"/>
                <a:gd name="T8" fmla="*/ 1 w 91"/>
                <a:gd name="T9" fmla="*/ 1 h 77"/>
                <a:gd name="T10" fmla="*/ 1 w 91"/>
                <a:gd name="T11" fmla="*/ 1 h 77"/>
                <a:gd name="T12" fmla="*/ 1 w 91"/>
                <a:gd name="T13" fmla="*/ 2 h 77"/>
                <a:gd name="T14" fmla="*/ 3 w 91"/>
                <a:gd name="T15" fmla="*/ 2 h 77"/>
                <a:gd name="T16" fmla="*/ 3 w 91"/>
                <a:gd name="T17" fmla="*/ 2 h 77"/>
                <a:gd name="T18" fmla="*/ 3 w 91"/>
                <a:gd name="T19" fmla="*/ 2 h 77"/>
                <a:gd name="T20" fmla="*/ 3 w 91"/>
                <a:gd name="T21" fmla="*/ 2 h 77"/>
                <a:gd name="T22" fmla="*/ 3 w 91"/>
                <a:gd name="T23" fmla="*/ 0 h 77"/>
                <a:gd name="T24" fmla="*/ 2 w 91"/>
                <a:gd name="T25" fmla="*/ 0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77">
                  <a:moveTo>
                    <a:pt x="60" y="0"/>
                  </a:moveTo>
                  <a:lnTo>
                    <a:pt x="45" y="30"/>
                  </a:lnTo>
                  <a:lnTo>
                    <a:pt x="15" y="30"/>
                  </a:lnTo>
                  <a:lnTo>
                    <a:pt x="0" y="61"/>
                  </a:lnTo>
                  <a:lnTo>
                    <a:pt x="30" y="46"/>
                  </a:lnTo>
                  <a:lnTo>
                    <a:pt x="45" y="46"/>
                  </a:lnTo>
                  <a:lnTo>
                    <a:pt x="45" y="76"/>
                  </a:lnTo>
                  <a:lnTo>
                    <a:pt x="75" y="76"/>
                  </a:lnTo>
                  <a:lnTo>
                    <a:pt x="75" y="61"/>
                  </a:lnTo>
                  <a:lnTo>
                    <a:pt x="90" y="76"/>
                  </a:lnTo>
                  <a:lnTo>
                    <a:pt x="90" y="61"/>
                  </a:lnTo>
                  <a:lnTo>
                    <a:pt x="75" y="15"/>
                  </a:lnTo>
                  <a:lnTo>
                    <a:pt x="60"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15" name="Freeform 340"/>
            <p:cNvSpPr>
              <a:spLocks/>
            </p:cNvSpPr>
            <p:nvPr/>
          </p:nvSpPr>
          <p:spPr bwMode="auto">
            <a:xfrm>
              <a:off x="2018" y="1774"/>
              <a:ext cx="13" cy="29"/>
            </a:xfrm>
            <a:custGeom>
              <a:avLst/>
              <a:gdLst>
                <a:gd name="T0" fmla="*/ 1 w 30"/>
                <a:gd name="T1" fmla="*/ 0 h 78"/>
                <a:gd name="T2" fmla="*/ 0 w 30"/>
                <a:gd name="T3" fmla="*/ 0 h 78"/>
                <a:gd name="T4" fmla="*/ 0 w 30"/>
                <a:gd name="T5" fmla="*/ 1 h 78"/>
                <a:gd name="T6" fmla="*/ 0 w 30"/>
                <a:gd name="T7" fmla="*/ 0 h 78"/>
                <a:gd name="T8" fmla="*/ 1 w 30"/>
                <a:gd name="T9" fmla="*/ 0 h 7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78">
                  <a:moveTo>
                    <a:pt x="29" y="0"/>
                  </a:moveTo>
                  <a:lnTo>
                    <a:pt x="15" y="31"/>
                  </a:lnTo>
                  <a:lnTo>
                    <a:pt x="0" y="77"/>
                  </a:lnTo>
                  <a:lnTo>
                    <a:pt x="15" y="31"/>
                  </a:lnTo>
                  <a:lnTo>
                    <a:pt x="29"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16" name="Freeform 341"/>
            <p:cNvSpPr>
              <a:spLocks/>
            </p:cNvSpPr>
            <p:nvPr/>
          </p:nvSpPr>
          <p:spPr bwMode="auto">
            <a:xfrm>
              <a:off x="2056" y="1780"/>
              <a:ext cx="8" cy="6"/>
            </a:xfrm>
            <a:custGeom>
              <a:avLst/>
              <a:gdLst>
                <a:gd name="T0" fmla="*/ 1 w 17"/>
                <a:gd name="T1" fmla="*/ 0 h 17"/>
                <a:gd name="T2" fmla="*/ 0 w 17"/>
                <a:gd name="T3" fmla="*/ 0 h 17"/>
                <a:gd name="T4" fmla="*/ 1 w 17"/>
                <a:gd name="T5" fmla="*/ 0 h 17"/>
                <a:gd name="T6" fmla="*/ 1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16" y="0"/>
                  </a:moveTo>
                  <a:lnTo>
                    <a:pt x="0" y="16"/>
                  </a:lnTo>
                  <a:lnTo>
                    <a:pt x="16" y="16"/>
                  </a:lnTo>
                  <a:lnTo>
                    <a:pt x="16"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17" name="Freeform 342"/>
            <p:cNvSpPr>
              <a:spLocks/>
            </p:cNvSpPr>
            <p:nvPr/>
          </p:nvSpPr>
          <p:spPr bwMode="auto">
            <a:xfrm>
              <a:off x="2070" y="1762"/>
              <a:ext cx="7" cy="6"/>
            </a:xfrm>
            <a:custGeom>
              <a:avLst/>
              <a:gdLst>
                <a:gd name="T0" fmla="*/ 0 w 18"/>
                <a:gd name="T1" fmla="*/ 0 h 17"/>
                <a:gd name="T2" fmla="*/ 0 w 18"/>
                <a:gd name="T3" fmla="*/ 0 h 17"/>
                <a:gd name="T4" fmla="*/ 0 w 18"/>
                <a:gd name="T5" fmla="*/ 0 h 17"/>
                <a:gd name="T6" fmla="*/ 0 w 18"/>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17">
                  <a:moveTo>
                    <a:pt x="17" y="0"/>
                  </a:moveTo>
                  <a:lnTo>
                    <a:pt x="0" y="0"/>
                  </a:lnTo>
                  <a:lnTo>
                    <a:pt x="17" y="16"/>
                  </a:lnTo>
                  <a:lnTo>
                    <a:pt x="17" y="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18" name="Freeform 343"/>
            <p:cNvSpPr>
              <a:spLocks/>
            </p:cNvSpPr>
            <p:nvPr/>
          </p:nvSpPr>
          <p:spPr bwMode="auto">
            <a:xfrm>
              <a:off x="2050" y="1768"/>
              <a:ext cx="7" cy="12"/>
            </a:xfrm>
            <a:custGeom>
              <a:avLst/>
              <a:gdLst>
                <a:gd name="T0" fmla="*/ 0 w 17"/>
                <a:gd name="T1" fmla="*/ 1 h 31"/>
                <a:gd name="T2" fmla="*/ 0 w 17"/>
                <a:gd name="T3" fmla="*/ 0 h 31"/>
                <a:gd name="T4" fmla="*/ 0 w 17"/>
                <a:gd name="T5" fmla="*/ 0 h 31"/>
                <a:gd name="T6" fmla="*/ 0 w 17"/>
                <a:gd name="T7" fmla="*/ 1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1">
                  <a:moveTo>
                    <a:pt x="0" y="30"/>
                  </a:moveTo>
                  <a:lnTo>
                    <a:pt x="16" y="15"/>
                  </a:lnTo>
                  <a:lnTo>
                    <a:pt x="0" y="0"/>
                  </a:lnTo>
                  <a:lnTo>
                    <a:pt x="0" y="30"/>
                  </a:lnTo>
                </a:path>
              </a:pathLst>
            </a:custGeom>
            <a:solidFill>
              <a:srgbClr val="FF0040"/>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19" name="Line 344"/>
            <p:cNvSpPr>
              <a:spLocks noChangeShapeType="1"/>
            </p:cNvSpPr>
            <p:nvPr/>
          </p:nvSpPr>
          <p:spPr bwMode="auto">
            <a:xfrm flipH="1">
              <a:off x="2064" y="1780"/>
              <a:ext cx="6"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720" name="Line 345"/>
            <p:cNvSpPr>
              <a:spLocks noChangeShapeType="1"/>
            </p:cNvSpPr>
            <p:nvPr/>
          </p:nvSpPr>
          <p:spPr bwMode="auto">
            <a:xfrm>
              <a:off x="2044" y="1756"/>
              <a:ext cx="0" cy="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980" fontAlgn="base">
                <a:spcBef>
                  <a:spcPct val="0"/>
                </a:spcBef>
                <a:spcAft>
                  <a:spcPct val="0"/>
                </a:spcAft>
                <a:defRPr/>
              </a:pPr>
              <a:endParaRPr lang="en-GB" sz="1662" kern="0">
                <a:solidFill>
                  <a:srgbClr val="FFFFFF"/>
                </a:solidFill>
              </a:endParaRPr>
            </a:p>
          </p:txBody>
        </p:sp>
        <p:sp>
          <p:nvSpPr>
            <p:cNvPr id="721" name="Oval 346"/>
            <p:cNvSpPr>
              <a:spLocks noChangeArrowheads="1"/>
            </p:cNvSpPr>
            <p:nvPr/>
          </p:nvSpPr>
          <p:spPr bwMode="auto">
            <a:xfrm>
              <a:off x="2121" y="1791"/>
              <a:ext cx="6" cy="6"/>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722" name="Oval 347"/>
            <p:cNvSpPr>
              <a:spLocks noChangeArrowheads="1"/>
            </p:cNvSpPr>
            <p:nvPr/>
          </p:nvSpPr>
          <p:spPr bwMode="auto">
            <a:xfrm>
              <a:off x="2146" y="1680"/>
              <a:ext cx="6" cy="6"/>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723" name="Oval 348"/>
            <p:cNvSpPr>
              <a:spLocks noChangeArrowheads="1"/>
            </p:cNvSpPr>
            <p:nvPr/>
          </p:nvSpPr>
          <p:spPr bwMode="auto">
            <a:xfrm>
              <a:off x="2179" y="1710"/>
              <a:ext cx="0" cy="5"/>
            </a:xfrm>
            <a:prstGeom prst="ellipse">
              <a:avLst/>
            </a:prstGeom>
            <a:solidFill>
              <a:srgbClr val="00FF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724" name="Freeform 349"/>
            <p:cNvSpPr>
              <a:spLocks/>
            </p:cNvSpPr>
            <p:nvPr/>
          </p:nvSpPr>
          <p:spPr bwMode="auto">
            <a:xfrm>
              <a:off x="1960" y="1971"/>
              <a:ext cx="302" cy="274"/>
            </a:xfrm>
            <a:custGeom>
              <a:avLst/>
              <a:gdLst>
                <a:gd name="T0" fmla="*/ 19 w 702"/>
                <a:gd name="T1" fmla="*/ 3 h 724"/>
                <a:gd name="T2" fmla="*/ 16 w 702"/>
                <a:gd name="T3" fmla="*/ 2 h 724"/>
                <a:gd name="T4" fmla="*/ 15 w 702"/>
                <a:gd name="T5" fmla="*/ 1 h 724"/>
                <a:gd name="T6" fmla="*/ 16 w 702"/>
                <a:gd name="T7" fmla="*/ 1 h 724"/>
                <a:gd name="T8" fmla="*/ 16 w 702"/>
                <a:gd name="T9" fmla="*/ 1 h 724"/>
                <a:gd name="T10" fmla="*/ 13 w 702"/>
                <a:gd name="T11" fmla="*/ 0 h 724"/>
                <a:gd name="T12" fmla="*/ 13 w 702"/>
                <a:gd name="T13" fmla="*/ 1 h 724"/>
                <a:gd name="T14" fmla="*/ 12 w 702"/>
                <a:gd name="T15" fmla="*/ 2 h 724"/>
                <a:gd name="T16" fmla="*/ 11 w 702"/>
                <a:gd name="T17" fmla="*/ 2 h 724"/>
                <a:gd name="T18" fmla="*/ 10 w 702"/>
                <a:gd name="T19" fmla="*/ 1 h 724"/>
                <a:gd name="T20" fmla="*/ 8 w 702"/>
                <a:gd name="T21" fmla="*/ 2 h 724"/>
                <a:gd name="T22" fmla="*/ 8 w 702"/>
                <a:gd name="T23" fmla="*/ 2 h 724"/>
                <a:gd name="T24" fmla="*/ 7 w 702"/>
                <a:gd name="T25" fmla="*/ 3 h 724"/>
                <a:gd name="T26" fmla="*/ 6 w 702"/>
                <a:gd name="T27" fmla="*/ 4 h 724"/>
                <a:gd name="T28" fmla="*/ 1 w 702"/>
                <a:gd name="T29" fmla="*/ 5 h 724"/>
                <a:gd name="T30" fmla="*/ 0 w 702"/>
                <a:gd name="T31" fmla="*/ 8 h 724"/>
                <a:gd name="T32" fmla="*/ 0 w 702"/>
                <a:gd name="T33" fmla="*/ 11 h 724"/>
                <a:gd name="T34" fmla="*/ 1 w 702"/>
                <a:gd name="T35" fmla="*/ 11 h 724"/>
                <a:gd name="T36" fmla="*/ 5 w 702"/>
                <a:gd name="T37" fmla="*/ 11 h 724"/>
                <a:gd name="T38" fmla="*/ 9 w 702"/>
                <a:gd name="T39" fmla="*/ 10 h 724"/>
                <a:gd name="T40" fmla="*/ 12 w 702"/>
                <a:gd name="T41" fmla="*/ 12 h 724"/>
                <a:gd name="T42" fmla="*/ 12 w 702"/>
                <a:gd name="T43" fmla="*/ 12 h 724"/>
                <a:gd name="T44" fmla="*/ 13 w 702"/>
                <a:gd name="T45" fmla="*/ 14 h 724"/>
                <a:gd name="T46" fmla="*/ 16 w 702"/>
                <a:gd name="T47" fmla="*/ 14 h 724"/>
                <a:gd name="T48" fmla="*/ 18 w 702"/>
                <a:gd name="T49" fmla="*/ 14 h 724"/>
                <a:gd name="T50" fmla="*/ 19 w 702"/>
                <a:gd name="T51" fmla="*/ 14 h 724"/>
                <a:gd name="T52" fmla="*/ 22 w 702"/>
                <a:gd name="T53" fmla="*/ 12 h 724"/>
                <a:gd name="T54" fmla="*/ 24 w 702"/>
                <a:gd name="T55" fmla="*/ 9 h 724"/>
                <a:gd name="T56" fmla="*/ 24 w 702"/>
                <a:gd name="T57" fmla="*/ 8 h 724"/>
                <a:gd name="T58" fmla="*/ 23 w 702"/>
                <a:gd name="T59" fmla="*/ 6 h 724"/>
                <a:gd name="T60" fmla="*/ 22 w 702"/>
                <a:gd name="T61" fmla="*/ 5 h 724"/>
                <a:gd name="T62" fmla="*/ 21 w 702"/>
                <a:gd name="T63" fmla="*/ 2 h 724"/>
                <a:gd name="T64" fmla="*/ 19 w 702"/>
                <a:gd name="T65" fmla="*/ 0 h 7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02" h="724">
                  <a:moveTo>
                    <a:pt x="567" y="0"/>
                  </a:moveTo>
                  <a:lnTo>
                    <a:pt x="552" y="123"/>
                  </a:lnTo>
                  <a:lnTo>
                    <a:pt x="522" y="169"/>
                  </a:lnTo>
                  <a:lnTo>
                    <a:pt x="477" y="108"/>
                  </a:lnTo>
                  <a:lnTo>
                    <a:pt x="447" y="92"/>
                  </a:lnTo>
                  <a:lnTo>
                    <a:pt x="447" y="62"/>
                  </a:lnTo>
                  <a:lnTo>
                    <a:pt x="462" y="62"/>
                  </a:lnTo>
                  <a:lnTo>
                    <a:pt x="477" y="46"/>
                  </a:lnTo>
                  <a:lnTo>
                    <a:pt x="477" y="31"/>
                  </a:lnTo>
                  <a:lnTo>
                    <a:pt x="462" y="46"/>
                  </a:lnTo>
                  <a:lnTo>
                    <a:pt x="418" y="15"/>
                  </a:lnTo>
                  <a:lnTo>
                    <a:pt x="388" y="15"/>
                  </a:lnTo>
                  <a:lnTo>
                    <a:pt x="388" y="31"/>
                  </a:lnTo>
                  <a:lnTo>
                    <a:pt x="373" y="31"/>
                  </a:lnTo>
                  <a:lnTo>
                    <a:pt x="343" y="77"/>
                  </a:lnTo>
                  <a:lnTo>
                    <a:pt x="343" y="92"/>
                  </a:lnTo>
                  <a:lnTo>
                    <a:pt x="328" y="77"/>
                  </a:lnTo>
                  <a:lnTo>
                    <a:pt x="313" y="92"/>
                  </a:lnTo>
                  <a:lnTo>
                    <a:pt x="313" y="62"/>
                  </a:lnTo>
                  <a:lnTo>
                    <a:pt x="298" y="62"/>
                  </a:lnTo>
                  <a:lnTo>
                    <a:pt x="283" y="77"/>
                  </a:lnTo>
                  <a:lnTo>
                    <a:pt x="224" y="108"/>
                  </a:lnTo>
                  <a:lnTo>
                    <a:pt x="224" y="123"/>
                  </a:lnTo>
                  <a:lnTo>
                    <a:pt x="224" y="108"/>
                  </a:lnTo>
                  <a:lnTo>
                    <a:pt x="194" y="123"/>
                  </a:lnTo>
                  <a:lnTo>
                    <a:pt x="209" y="154"/>
                  </a:lnTo>
                  <a:lnTo>
                    <a:pt x="194" y="169"/>
                  </a:lnTo>
                  <a:lnTo>
                    <a:pt x="179" y="185"/>
                  </a:lnTo>
                  <a:lnTo>
                    <a:pt x="149" y="200"/>
                  </a:lnTo>
                  <a:lnTo>
                    <a:pt x="30" y="231"/>
                  </a:lnTo>
                  <a:lnTo>
                    <a:pt x="15" y="338"/>
                  </a:lnTo>
                  <a:lnTo>
                    <a:pt x="15" y="400"/>
                  </a:lnTo>
                  <a:lnTo>
                    <a:pt x="15" y="461"/>
                  </a:lnTo>
                  <a:lnTo>
                    <a:pt x="0" y="508"/>
                  </a:lnTo>
                  <a:lnTo>
                    <a:pt x="15" y="538"/>
                  </a:lnTo>
                  <a:lnTo>
                    <a:pt x="45" y="554"/>
                  </a:lnTo>
                  <a:lnTo>
                    <a:pt x="89" y="523"/>
                  </a:lnTo>
                  <a:lnTo>
                    <a:pt x="149" y="538"/>
                  </a:lnTo>
                  <a:lnTo>
                    <a:pt x="164" y="508"/>
                  </a:lnTo>
                  <a:lnTo>
                    <a:pt x="283" y="492"/>
                  </a:lnTo>
                  <a:lnTo>
                    <a:pt x="328" y="523"/>
                  </a:lnTo>
                  <a:lnTo>
                    <a:pt x="343" y="585"/>
                  </a:lnTo>
                  <a:lnTo>
                    <a:pt x="388" y="538"/>
                  </a:lnTo>
                  <a:lnTo>
                    <a:pt x="358" y="600"/>
                  </a:lnTo>
                  <a:lnTo>
                    <a:pt x="388" y="585"/>
                  </a:lnTo>
                  <a:lnTo>
                    <a:pt x="388" y="661"/>
                  </a:lnTo>
                  <a:lnTo>
                    <a:pt x="433" y="708"/>
                  </a:lnTo>
                  <a:lnTo>
                    <a:pt x="477" y="692"/>
                  </a:lnTo>
                  <a:lnTo>
                    <a:pt x="492" y="723"/>
                  </a:lnTo>
                  <a:lnTo>
                    <a:pt x="522" y="708"/>
                  </a:lnTo>
                  <a:lnTo>
                    <a:pt x="552" y="708"/>
                  </a:lnTo>
                  <a:lnTo>
                    <a:pt x="567" y="677"/>
                  </a:lnTo>
                  <a:lnTo>
                    <a:pt x="612" y="600"/>
                  </a:lnTo>
                  <a:lnTo>
                    <a:pt x="641" y="585"/>
                  </a:lnTo>
                  <a:lnTo>
                    <a:pt x="671" y="538"/>
                  </a:lnTo>
                  <a:lnTo>
                    <a:pt x="701" y="461"/>
                  </a:lnTo>
                  <a:lnTo>
                    <a:pt x="701" y="446"/>
                  </a:lnTo>
                  <a:lnTo>
                    <a:pt x="701" y="400"/>
                  </a:lnTo>
                  <a:lnTo>
                    <a:pt x="686" y="338"/>
                  </a:lnTo>
                  <a:lnTo>
                    <a:pt x="671" y="308"/>
                  </a:lnTo>
                  <a:lnTo>
                    <a:pt x="656" y="308"/>
                  </a:lnTo>
                  <a:lnTo>
                    <a:pt x="656" y="262"/>
                  </a:lnTo>
                  <a:lnTo>
                    <a:pt x="626" y="200"/>
                  </a:lnTo>
                  <a:lnTo>
                    <a:pt x="612" y="108"/>
                  </a:lnTo>
                  <a:lnTo>
                    <a:pt x="597" y="92"/>
                  </a:lnTo>
                  <a:lnTo>
                    <a:pt x="567"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25" name="Freeform 350"/>
            <p:cNvSpPr>
              <a:spLocks/>
            </p:cNvSpPr>
            <p:nvPr/>
          </p:nvSpPr>
          <p:spPr bwMode="auto">
            <a:xfrm>
              <a:off x="2146" y="2268"/>
              <a:ext cx="26" cy="29"/>
            </a:xfrm>
            <a:custGeom>
              <a:avLst/>
              <a:gdLst>
                <a:gd name="T0" fmla="*/ 0 w 60"/>
                <a:gd name="T1" fmla="*/ 0 h 78"/>
                <a:gd name="T2" fmla="*/ 0 w 60"/>
                <a:gd name="T3" fmla="*/ 1 h 78"/>
                <a:gd name="T4" fmla="*/ 0 w 60"/>
                <a:gd name="T5" fmla="*/ 1 h 78"/>
                <a:gd name="T6" fmla="*/ 1 w 60"/>
                <a:gd name="T7" fmla="*/ 1 h 78"/>
                <a:gd name="T8" fmla="*/ 2 w 60"/>
                <a:gd name="T9" fmla="*/ 0 h 78"/>
                <a:gd name="T10" fmla="*/ 2 w 60"/>
                <a:gd name="T11" fmla="*/ 0 h 78"/>
                <a:gd name="T12" fmla="*/ 1 w 60"/>
                <a:gd name="T13" fmla="*/ 0 h 78"/>
                <a:gd name="T14" fmla="*/ 0 w 60"/>
                <a:gd name="T15" fmla="*/ 0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0" h="78">
                  <a:moveTo>
                    <a:pt x="0" y="0"/>
                  </a:moveTo>
                  <a:lnTo>
                    <a:pt x="0" y="46"/>
                  </a:lnTo>
                  <a:lnTo>
                    <a:pt x="0" y="77"/>
                  </a:lnTo>
                  <a:lnTo>
                    <a:pt x="30" y="77"/>
                  </a:lnTo>
                  <a:lnTo>
                    <a:pt x="59" y="15"/>
                  </a:lnTo>
                  <a:lnTo>
                    <a:pt x="59" y="0"/>
                  </a:lnTo>
                  <a:lnTo>
                    <a:pt x="30"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26" name="Freeform 351"/>
            <p:cNvSpPr>
              <a:spLocks/>
            </p:cNvSpPr>
            <p:nvPr/>
          </p:nvSpPr>
          <p:spPr bwMode="auto">
            <a:xfrm>
              <a:off x="2281" y="2302"/>
              <a:ext cx="77" cy="65"/>
            </a:xfrm>
            <a:custGeom>
              <a:avLst/>
              <a:gdLst>
                <a:gd name="T0" fmla="*/ 1 w 181"/>
                <a:gd name="T1" fmla="*/ 4 h 170"/>
                <a:gd name="T2" fmla="*/ 1 w 181"/>
                <a:gd name="T3" fmla="*/ 3 h 170"/>
                <a:gd name="T4" fmla="*/ 2 w 181"/>
                <a:gd name="T5" fmla="*/ 3 h 170"/>
                <a:gd name="T6" fmla="*/ 3 w 181"/>
                <a:gd name="T7" fmla="*/ 2 h 170"/>
                <a:gd name="T8" fmla="*/ 4 w 181"/>
                <a:gd name="T9" fmla="*/ 2 h 170"/>
                <a:gd name="T10" fmla="*/ 4 w 181"/>
                <a:gd name="T11" fmla="*/ 2 h 170"/>
                <a:gd name="T12" fmla="*/ 4 w 181"/>
                <a:gd name="T13" fmla="*/ 2 h 170"/>
                <a:gd name="T14" fmla="*/ 6 w 181"/>
                <a:gd name="T15" fmla="*/ 1 h 170"/>
                <a:gd name="T16" fmla="*/ 6 w 181"/>
                <a:gd name="T17" fmla="*/ 0 h 170"/>
                <a:gd name="T18" fmla="*/ 6 w 181"/>
                <a:gd name="T19" fmla="*/ 0 h 170"/>
                <a:gd name="T20" fmla="*/ 6 w 181"/>
                <a:gd name="T21" fmla="*/ 0 h 170"/>
                <a:gd name="T22" fmla="*/ 4 w 181"/>
                <a:gd name="T23" fmla="*/ 1 h 170"/>
                <a:gd name="T24" fmla="*/ 3 w 181"/>
                <a:gd name="T25" fmla="*/ 1 h 170"/>
                <a:gd name="T26" fmla="*/ 2 w 181"/>
                <a:gd name="T27" fmla="*/ 1 h 170"/>
                <a:gd name="T28" fmla="*/ 1 w 181"/>
                <a:gd name="T29" fmla="*/ 2 h 170"/>
                <a:gd name="T30" fmla="*/ 0 w 181"/>
                <a:gd name="T31" fmla="*/ 3 h 170"/>
                <a:gd name="T32" fmla="*/ 0 w 181"/>
                <a:gd name="T33" fmla="*/ 3 h 170"/>
                <a:gd name="T34" fmla="*/ 1 w 181"/>
                <a:gd name="T35" fmla="*/ 4 h 1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1" h="170">
                  <a:moveTo>
                    <a:pt x="30" y="169"/>
                  </a:moveTo>
                  <a:lnTo>
                    <a:pt x="45" y="154"/>
                  </a:lnTo>
                  <a:lnTo>
                    <a:pt x="60" y="138"/>
                  </a:lnTo>
                  <a:lnTo>
                    <a:pt x="90" y="108"/>
                  </a:lnTo>
                  <a:lnTo>
                    <a:pt x="120" y="92"/>
                  </a:lnTo>
                  <a:lnTo>
                    <a:pt x="135" y="92"/>
                  </a:lnTo>
                  <a:lnTo>
                    <a:pt x="135" y="77"/>
                  </a:lnTo>
                  <a:lnTo>
                    <a:pt x="180" y="31"/>
                  </a:lnTo>
                  <a:lnTo>
                    <a:pt x="180" y="15"/>
                  </a:lnTo>
                  <a:lnTo>
                    <a:pt x="165" y="15"/>
                  </a:lnTo>
                  <a:lnTo>
                    <a:pt x="165" y="0"/>
                  </a:lnTo>
                  <a:lnTo>
                    <a:pt x="120" y="46"/>
                  </a:lnTo>
                  <a:lnTo>
                    <a:pt x="75" y="61"/>
                  </a:lnTo>
                  <a:lnTo>
                    <a:pt x="60" y="61"/>
                  </a:lnTo>
                  <a:lnTo>
                    <a:pt x="30" y="92"/>
                  </a:lnTo>
                  <a:lnTo>
                    <a:pt x="0" y="123"/>
                  </a:lnTo>
                  <a:lnTo>
                    <a:pt x="15" y="138"/>
                  </a:lnTo>
                  <a:lnTo>
                    <a:pt x="30" y="16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27" name="Freeform 352"/>
            <p:cNvSpPr>
              <a:spLocks/>
            </p:cNvSpPr>
            <p:nvPr/>
          </p:nvSpPr>
          <p:spPr bwMode="auto">
            <a:xfrm>
              <a:off x="2364" y="2232"/>
              <a:ext cx="46" cy="83"/>
            </a:xfrm>
            <a:custGeom>
              <a:avLst/>
              <a:gdLst>
                <a:gd name="T0" fmla="*/ 2 w 106"/>
                <a:gd name="T1" fmla="*/ 0 h 217"/>
                <a:gd name="T2" fmla="*/ 1 w 106"/>
                <a:gd name="T3" fmla="*/ 0 h 217"/>
                <a:gd name="T4" fmla="*/ 2 w 106"/>
                <a:gd name="T5" fmla="*/ 1 h 217"/>
                <a:gd name="T6" fmla="*/ 1 w 106"/>
                <a:gd name="T7" fmla="*/ 3 h 217"/>
                <a:gd name="T8" fmla="*/ 0 w 106"/>
                <a:gd name="T9" fmla="*/ 3 h 217"/>
                <a:gd name="T10" fmla="*/ 0 w 106"/>
                <a:gd name="T11" fmla="*/ 4 h 217"/>
                <a:gd name="T12" fmla="*/ 0 w 106"/>
                <a:gd name="T13" fmla="*/ 4 h 217"/>
                <a:gd name="T14" fmla="*/ 0 w 106"/>
                <a:gd name="T15" fmla="*/ 5 h 217"/>
                <a:gd name="T16" fmla="*/ 2 w 106"/>
                <a:gd name="T17" fmla="*/ 4 h 217"/>
                <a:gd name="T18" fmla="*/ 2 w 106"/>
                <a:gd name="T19" fmla="*/ 3 h 217"/>
                <a:gd name="T20" fmla="*/ 3 w 106"/>
                <a:gd name="T21" fmla="*/ 3 h 217"/>
                <a:gd name="T22" fmla="*/ 4 w 106"/>
                <a:gd name="T23" fmla="*/ 2 h 217"/>
                <a:gd name="T24" fmla="*/ 3 w 106"/>
                <a:gd name="T25" fmla="*/ 2 h 217"/>
                <a:gd name="T26" fmla="*/ 3 w 106"/>
                <a:gd name="T27" fmla="*/ 1 h 217"/>
                <a:gd name="T28" fmla="*/ 3 w 106"/>
                <a:gd name="T29" fmla="*/ 2 h 217"/>
                <a:gd name="T30" fmla="*/ 2 w 106"/>
                <a:gd name="T31" fmla="*/ 1 h 217"/>
                <a:gd name="T32" fmla="*/ 2 w 106"/>
                <a:gd name="T33" fmla="*/ 0 h 2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6" h="217">
                  <a:moveTo>
                    <a:pt x="45" y="0"/>
                  </a:moveTo>
                  <a:lnTo>
                    <a:pt x="30" y="0"/>
                  </a:lnTo>
                  <a:lnTo>
                    <a:pt x="45" y="62"/>
                  </a:lnTo>
                  <a:lnTo>
                    <a:pt x="30" y="123"/>
                  </a:lnTo>
                  <a:lnTo>
                    <a:pt x="0" y="139"/>
                  </a:lnTo>
                  <a:lnTo>
                    <a:pt x="15" y="185"/>
                  </a:lnTo>
                  <a:lnTo>
                    <a:pt x="0" y="201"/>
                  </a:lnTo>
                  <a:lnTo>
                    <a:pt x="0" y="216"/>
                  </a:lnTo>
                  <a:lnTo>
                    <a:pt x="60" y="170"/>
                  </a:lnTo>
                  <a:lnTo>
                    <a:pt x="60" y="139"/>
                  </a:lnTo>
                  <a:lnTo>
                    <a:pt x="75" y="139"/>
                  </a:lnTo>
                  <a:lnTo>
                    <a:pt x="105" y="93"/>
                  </a:lnTo>
                  <a:lnTo>
                    <a:pt x="75" y="93"/>
                  </a:lnTo>
                  <a:lnTo>
                    <a:pt x="75" y="62"/>
                  </a:lnTo>
                  <a:lnTo>
                    <a:pt x="75" y="77"/>
                  </a:lnTo>
                  <a:lnTo>
                    <a:pt x="60" y="46"/>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28" name="Oval 353"/>
            <p:cNvSpPr>
              <a:spLocks noChangeArrowheads="1"/>
            </p:cNvSpPr>
            <p:nvPr/>
          </p:nvSpPr>
          <p:spPr bwMode="auto">
            <a:xfrm>
              <a:off x="2390" y="2012"/>
              <a:ext cx="6" cy="5"/>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29" name="Oval 354"/>
            <p:cNvSpPr>
              <a:spLocks noChangeArrowheads="1"/>
            </p:cNvSpPr>
            <p:nvPr/>
          </p:nvSpPr>
          <p:spPr bwMode="auto">
            <a:xfrm>
              <a:off x="2365" y="2100"/>
              <a:ext cx="6" cy="5"/>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30" name="Oval 355"/>
            <p:cNvSpPr>
              <a:spLocks noChangeArrowheads="1"/>
            </p:cNvSpPr>
            <p:nvPr/>
          </p:nvSpPr>
          <p:spPr bwMode="auto">
            <a:xfrm>
              <a:off x="2422" y="2036"/>
              <a:ext cx="5" cy="5"/>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31" name="Oval 356"/>
            <p:cNvSpPr>
              <a:spLocks noChangeArrowheads="1"/>
            </p:cNvSpPr>
            <p:nvPr/>
          </p:nvSpPr>
          <p:spPr bwMode="auto">
            <a:xfrm>
              <a:off x="2448" y="2052"/>
              <a:ext cx="6" cy="6"/>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32" name="Oval 357"/>
            <p:cNvSpPr>
              <a:spLocks noChangeArrowheads="1"/>
            </p:cNvSpPr>
            <p:nvPr/>
          </p:nvSpPr>
          <p:spPr bwMode="auto">
            <a:xfrm>
              <a:off x="2448" y="2070"/>
              <a:ext cx="6" cy="6"/>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33" name="Freeform 358"/>
            <p:cNvSpPr>
              <a:spLocks/>
            </p:cNvSpPr>
            <p:nvPr/>
          </p:nvSpPr>
          <p:spPr bwMode="auto">
            <a:xfrm>
              <a:off x="2357" y="2099"/>
              <a:ext cx="20" cy="12"/>
            </a:xfrm>
            <a:custGeom>
              <a:avLst/>
              <a:gdLst>
                <a:gd name="T0" fmla="*/ 0 w 46"/>
                <a:gd name="T1" fmla="*/ 0 h 32"/>
                <a:gd name="T2" fmla="*/ 1 w 46"/>
                <a:gd name="T3" fmla="*/ 1 h 32"/>
                <a:gd name="T4" fmla="*/ 2 w 46"/>
                <a:gd name="T5" fmla="*/ 1 h 32"/>
                <a:gd name="T6" fmla="*/ 0 w 46"/>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 h="32">
                  <a:moveTo>
                    <a:pt x="0" y="0"/>
                  </a:moveTo>
                  <a:lnTo>
                    <a:pt x="30" y="31"/>
                  </a:lnTo>
                  <a:lnTo>
                    <a:pt x="45"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34" name="Freeform 359"/>
            <p:cNvSpPr>
              <a:spLocks/>
            </p:cNvSpPr>
            <p:nvPr/>
          </p:nvSpPr>
          <p:spPr bwMode="auto">
            <a:xfrm>
              <a:off x="2204" y="1895"/>
              <a:ext cx="70" cy="77"/>
            </a:xfrm>
            <a:custGeom>
              <a:avLst/>
              <a:gdLst>
                <a:gd name="T0" fmla="*/ 0 w 164"/>
                <a:gd name="T1" fmla="*/ 0 h 201"/>
                <a:gd name="T2" fmla="*/ 0 w 164"/>
                <a:gd name="T3" fmla="*/ 3 h 201"/>
                <a:gd name="T4" fmla="*/ 1 w 164"/>
                <a:gd name="T5" fmla="*/ 3 h 201"/>
                <a:gd name="T6" fmla="*/ 0 w 164"/>
                <a:gd name="T7" fmla="*/ 3 h 201"/>
                <a:gd name="T8" fmla="*/ 1 w 164"/>
                <a:gd name="T9" fmla="*/ 3 h 201"/>
                <a:gd name="T10" fmla="*/ 3 w 164"/>
                <a:gd name="T11" fmla="*/ 3 h 201"/>
                <a:gd name="T12" fmla="*/ 3 w 164"/>
                <a:gd name="T13" fmla="*/ 4 h 201"/>
                <a:gd name="T14" fmla="*/ 4 w 164"/>
                <a:gd name="T15" fmla="*/ 4 h 201"/>
                <a:gd name="T16" fmla="*/ 6 w 164"/>
                <a:gd name="T17" fmla="*/ 4 h 201"/>
                <a:gd name="T18" fmla="*/ 4 w 164"/>
                <a:gd name="T19" fmla="*/ 3 h 201"/>
                <a:gd name="T20" fmla="*/ 3 w 164"/>
                <a:gd name="T21" fmla="*/ 3 h 201"/>
                <a:gd name="T22" fmla="*/ 3 w 164"/>
                <a:gd name="T23" fmla="*/ 2 h 201"/>
                <a:gd name="T24" fmla="*/ 3 w 164"/>
                <a:gd name="T25" fmla="*/ 2 h 201"/>
                <a:gd name="T26" fmla="*/ 3 w 164"/>
                <a:gd name="T27" fmla="*/ 2 h 201"/>
                <a:gd name="T28" fmla="*/ 3 w 164"/>
                <a:gd name="T29" fmla="*/ 1 h 201"/>
                <a:gd name="T30" fmla="*/ 0 w 164"/>
                <a:gd name="T31" fmla="*/ 0 h 20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4" h="201">
                  <a:moveTo>
                    <a:pt x="0" y="0"/>
                  </a:moveTo>
                  <a:lnTo>
                    <a:pt x="0" y="154"/>
                  </a:lnTo>
                  <a:lnTo>
                    <a:pt x="30" y="154"/>
                  </a:lnTo>
                  <a:lnTo>
                    <a:pt x="15" y="138"/>
                  </a:lnTo>
                  <a:lnTo>
                    <a:pt x="44" y="138"/>
                  </a:lnTo>
                  <a:lnTo>
                    <a:pt x="74" y="138"/>
                  </a:lnTo>
                  <a:lnTo>
                    <a:pt x="104" y="185"/>
                  </a:lnTo>
                  <a:lnTo>
                    <a:pt x="133" y="200"/>
                  </a:lnTo>
                  <a:lnTo>
                    <a:pt x="163" y="200"/>
                  </a:lnTo>
                  <a:lnTo>
                    <a:pt x="119" y="154"/>
                  </a:lnTo>
                  <a:lnTo>
                    <a:pt x="104" y="138"/>
                  </a:lnTo>
                  <a:lnTo>
                    <a:pt x="89" y="108"/>
                  </a:lnTo>
                  <a:lnTo>
                    <a:pt x="104" y="108"/>
                  </a:lnTo>
                  <a:lnTo>
                    <a:pt x="104" y="92"/>
                  </a:lnTo>
                  <a:lnTo>
                    <a:pt x="74" y="62"/>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735" name="Freeform 360"/>
            <p:cNvSpPr>
              <a:spLocks/>
            </p:cNvSpPr>
            <p:nvPr/>
          </p:nvSpPr>
          <p:spPr bwMode="auto">
            <a:xfrm>
              <a:off x="2262" y="1913"/>
              <a:ext cx="26" cy="18"/>
            </a:xfrm>
            <a:custGeom>
              <a:avLst/>
              <a:gdLst>
                <a:gd name="T0" fmla="*/ 0 w 61"/>
                <a:gd name="T1" fmla="*/ 1 h 47"/>
                <a:gd name="T2" fmla="*/ 0 w 61"/>
                <a:gd name="T3" fmla="*/ 1 h 47"/>
                <a:gd name="T4" fmla="*/ 1 w 61"/>
                <a:gd name="T5" fmla="*/ 1 h 47"/>
                <a:gd name="T6" fmla="*/ 1 w 61"/>
                <a:gd name="T7" fmla="*/ 1 h 47"/>
                <a:gd name="T8" fmla="*/ 2 w 61"/>
                <a:gd name="T9" fmla="*/ 0 h 47"/>
                <a:gd name="T10" fmla="*/ 2 w 61"/>
                <a:gd name="T11" fmla="*/ 0 h 47"/>
                <a:gd name="T12" fmla="*/ 1 w 61"/>
                <a:gd name="T13" fmla="*/ 0 h 47"/>
                <a:gd name="T14" fmla="*/ 1 w 61"/>
                <a:gd name="T15" fmla="*/ 1 h 47"/>
                <a:gd name="T16" fmla="*/ 0 w 61"/>
                <a:gd name="T17" fmla="*/ 1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1" h="47">
                  <a:moveTo>
                    <a:pt x="0" y="31"/>
                  </a:moveTo>
                  <a:lnTo>
                    <a:pt x="0" y="46"/>
                  </a:lnTo>
                  <a:lnTo>
                    <a:pt x="30" y="46"/>
                  </a:lnTo>
                  <a:lnTo>
                    <a:pt x="45" y="31"/>
                  </a:lnTo>
                  <a:lnTo>
                    <a:pt x="60" y="15"/>
                  </a:lnTo>
                  <a:lnTo>
                    <a:pt x="60" y="0"/>
                  </a:lnTo>
                  <a:lnTo>
                    <a:pt x="45" y="15"/>
                  </a:lnTo>
                  <a:lnTo>
                    <a:pt x="30" y="31"/>
                  </a:lnTo>
                  <a:lnTo>
                    <a:pt x="0" y="31"/>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736" name="Freeform 361"/>
            <p:cNvSpPr>
              <a:spLocks/>
            </p:cNvSpPr>
            <p:nvPr/>
          </p:nvSpPr>
          <p:spPr bwMode="auto">
            <a:xfrm>
              <a:off x="2281" y="1895"/>
              <a:ext cx="19" cy="24"/>
            </a:xfrm>
            <a:custGeom>
              <a:avLst/>
              <a:gdLst>
                <a:gd name="T0" fmla="*/ 0 w 46"/>
                <a:gd name="T1" fmla="*/ 0 h 63"/>
                <a:gd name="T2" fmla="*/ 0 w 46"/>
                <a:gd name="T3" fmla="*/ 1 h 63"/>
                <a:gd name="T4" fmla="*/ 1 w 46"/>
                <a:gd name="T5" fmla="*/ 1 h 63"/>
                <a:gd name="T6" fmla="*/ 1 w 46"/>
                <a:gd name="T7" fmla="*/ 1 h 63"/>
                <a:gd name="T8" fmla="*/ 1 w 46"/>
                <a:gd name="T9" fmla="*/ 1 h 63"/>
                <a:gd name="T10" fmla="*/ 1 w 46"/>
                <a:gd name="T11" fmla="*/ 1 h 63"/>
                <a:gd name="T12" fmla="*/ 1 w 46"/>
                <a:gd name="T13" fmla="*/ 1 h 63"/>
                <a:gd name="T14" fmla="*/ 0 w 46"/>
                <a:gd name="T15" fmla="*/ 0 h 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63">
                  <a:moveTo>
                    <a:pt x="0" y="0"/>
                  </a:moveTo>
                  <a:lnTo>
                    <a:pt x="0" y="31"/>
                  </a:lnTo>
                  <a:lnTo>
                    <a:pt x="30" y="31"/>
                  </a:lnTo>
                  <a:lnTo>
                    <a:pt x="30" y="47"/>
                  </a:lnTo>
                  <a:lnTo>
                    <a:pt x="45" y="62"/>
                  </a:lnTo>
                  <a:lnTo>
                    <a:pt x="45" y="47"/>
                  </a:lnTo>
                  <a:lnTo>
                    <a:pt x="30" y="31"/>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737" name="Oval 362"/>
            <p:cNvSpPr>
              <a:spLocks noChangeArrowheads="1"/>
            </p:cNvSpPr>
            <p:nvPr/>
          </p:nvSpPr>
          <p:spPr bwMode="auto">
            <a:xfrm>
              <a:off x="2237" y="1774"/>
              <a:ext cx="5" cy="6"/>
            </a:xfrm>
            <a:prstGeom prst="ellipse">
              <a:avLst/>
            </a:prstGeom>
            <a:solidFill>
              <a:srgbClr val="C0C0C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eaLnBrk="0" fontAlgn="base" hangingPunct="0">
                <a:spcBef>
                  <a:spcPct val="50000"/>
                </a:spcBef>
                <a:spcAft>
                  <a:spcPct val="0"/>
                </a:spcAft>
                <a:defRPr/>
              </a:pPr>
              <a:endParaRPr lang="en-US" sz="2585" kern="0">
                <a:solidFill>
                  <a:srgbClr val="FFFFFF"/>
                </a:solidFill>
              </a:endParaRPr>
            </a:p>
          </p:txBody>
        </p:sp>
        <p:sp>
          <p:nvSpPr>
            <p:cNvPr id="738" name="Freeform 363"/>
            <p:cNvSpPr>
              <a:spLocks/>
            </p:cNvSpPr>
            <p:nvPr/>
          </p:nvSpPr>
          <p:spPr bwMode="auto">
            <a:xfrm>
              <a:off x="2333" y="1941"/>
              <a:ext cx="6" cy="13"/>
            </a:xfrm>
            <a:custGeom>
              <a:avLst/>
              <a:gdLst>
                <a:gd name="T0" fmla="*/ 0 w 17"/>
                <a:gd name="T1" fmla="*/ 0 h 32"/>
                <a:gd name="T2" fmla="*/ 0 w 17"/>
                <a:gd name="T3" fmla="*/ 1 h 32"/>
                <a:gd name="T4" fmla="*/ 0 w 17"/>
                <a:gd name="T5" fmla="*/ 0 h 32"/>
                <a:gd name="T6" fmla="*/ 0 w 17"/>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0" y="0"/>
                  </a:moveTo>
                  <a:lnTo>
                    <a:pt x="16" y="31"/>
                  </a:lnTo>
                  <a:lnTo>
                    <a:pt x="16" y="0"/>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739" name="Freeform 364"/>
            <p:cNvSpPr>
              <a:spLocks/>
            </p:cNvSpPr>
            <p:nvPr/>
          </p:nvSpPr>
          <p:spPr bwMode="auto">
            <a:xfrm>
              <a:off x="2326" y="1930"/>
              <a:ext cx="13" cy="7"/>
            </a:xfrm>
            <a:custGeom>
              <a:avLst/>
              <a:gdLst>
                <a:gd name="T0" fmla="*/ 0 w 31"/>
                <a:gd name="T1" fmla="*/ 0 h 17"/>
                <a:gd name="T2" fmla="*/ 0 w 31"/>
                <a:gd name="T3" fmla="*/ 0 h 17"/>
                <a:gd name="T4" fmla="*/ 1 w 31"/>
                <a:gd name="T5" fmla="*/ 0 h 17"/>
                <a:gd name="T6" fmla="*/ 0 w 31"/>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17">
                  <a:moveTo>
                    <a:pt x="0" y="0"/>
                  </a:moveTo>
                  <a:lnTo>
                    <a:pt x="15" y="16"/>
                  </a:lnTo>
                  <a:lnTo>
                    <a:pt x="30" y="0"/>
                  </a:lnTo>
                  <a:lnTo>
                    <a:pt x="0" y="0"/>
                  </a:lnTo>
                </a:path>
              </a:pathLst>
            </a:custGeom>
            <a:solidFill>
              <a:srgbClr val="C0C0C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740" name="Freeform 365"/>
            <p:cNvSpPr>
              <a:spLocks/>
            </p:cNvSpPr>
            <p:nvPr/>
          </p:nvSpPr>
          <p:spPr bwMode="auto">
            <a:xfrm>
              <a:off x="2345" y="1953"/>
              <a:ext cx="8" cy="7"/>
            </a:xfrm>
            <a:custGeom>
              <a:avLst/>
              <a:gdLst>
                <a:gd name="T0" fmla="*/ 0 w 17"/>
                <a:gd name="T1" fmla="*/ 0 h 17"/>
                <a:gd name="T2" fmla="*/ 1 w 17"/>
                <a:gd name="T3" fmla="*/ 0 h 17"/>
                <a:gd name="T4" fmla="*/ 1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16" y="0"/>
                  </a:lnTo>
                  <a:lnTo>
                    <a:pt x="0" y="0"/>
                  </a:lnTo>
                </a:path>
              </a:pathLst>
            </a:custGeom>
            <a:solidFill>
              <a:srgbClr val="FFFF0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741" name="Freeform 366"/>
            <p:cNvSpPr>
              <a:spLocks/>
            </p:cNvSpPr>
            <p:nvPr/>
          </p:nvSpPr>
          <p:spPr bwMode="auto">
            <a:xfrm>
              <a:off x="2351" y="1941"/>
              <a:ext cx="8" cy="7"/>
            </a:xfrm>
            <a:custGeom>
              <a:avLst/>
              <a:gdLst>
                <a:gd name="T0" fmla="*/ 0 w 17"/>
                <a:gd name="T1" fmla="*/ 0 h 17"/>
                <a:gd name="T2" fmla="*/ 1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0" y="16"/>
                  </a:lnTo>
                  <a:lnTo>
                    <a:pt x="0" y="0"/>
                  </a:lnTo>
                </a:path>
              </a:pathLst>
            </a:custGeom>
            <a:solidFill>
              <a:srgbClr val="FFFF00"/>
            </a:solidFill>
            <a:ln w="1270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742" name="Line 367"/>
            <p:cNvSpPr>
              <a:spLocks noChangeShapeType="1"/>
            </p:cNvSpPr>
            <p:nvPr/>
          </p:nvSpPr>
          <p:spPr bwMode="auto">
            <a:xfrm>
              <a:off x="2357" y="1959"/>
              <a:ext cx="7"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527" tIns="41031" rIns="83527" bIns="41031" anchor="ctr"/>
            <a:lstStyle/>
            <a:p>
              <a:pPr defTabSz="913980" fontAlgn="base">
                <a:spcBef>
                  <a:spcPct val="0"/>
                </a:spcBef>
                <a:spcAft>
                  <a:spcPct val="0"/>
                </a:spcAft>
                <a:defRPr/>
              </a:pPr>
              <a:endParaRPr lang="en-GB" sz="1662" kern="0">
                <a:solidFill>
                  <a:srgbClr val="FFFFFF"/>
                </a:solidFill>
              </a:endParaRPr>
            </a:p>
          </p:txBody>
        </p:sp>
        <p:sp>
          <p:nvSpPr>
            <p:cNvPr id="743" name="Oval 368"/>
            <p:cNvSpPr>
              <a:spLocks noChangeArrowheads="1"/>
            </p:cNvSpPr>
            <p:nvPr/>
          </p:nvSpPr>
          <p:spPr bwMode="auto">
            <a:xfrm>
              <a:off x="2371" y="1878"/>
              <a:ext cx="6" cy="6"/>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44" name="Oval 369"/>
            <p:cNvSpPr>
              <a:spLocks noChangeArrowheads="1"/>
            </p:cNvSpPr>
            <p:nvPr/>
          </p:nvSpPr>
          <p:spPr bwMode="auto">
            <a:xfrm>
              <a:off x="2448" y="1953"/>
              <a:ext cx="0" cy="6"/>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45" name="Oval 370"/>
            <p:cNvSpPr>
              <a:spLocks noChangeArrowheads="1"/>
            </p:cNvSpPr>
            <p:nvPr/>
          </p:nvSpPr>
          <p:spPr bwMode="auto">
            <a:xfrm>
              <a:off x="2377" y="1809"/>
              <a:ext cx="0" cy="5"/>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46" name="Oval 371"/>
            <p:cNvSpPr>
              <a:spLocks noChangeArrowheads="1"/>
            </p:cNvSpPr>
            <p:nvPr/>
          </p:nvSpPr>
          <p:spPr bwMode="auto">
            <a:xfrm>
              <a:off x="2403" y="1925"/>
              <a:ext cx="6" cy="5"/>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47" name="Oval 372"/>
            <p:cNvSpPr>
              <a:spLocks noChangeArrowheads="1"/>
            </p:cNvSpPr>
            <p:nvPr/>
          </p:nvSpPr>
          <p:spPr bwMode="auto">
            <a:xfrm>
              <a:off x="2448" y="1931"/>
              <a:ext cx="0" cy="4"/>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48" name="Oval 373"/>
            <p:cNvSpPr>
              <a:spLocks noChangeArrowheads="1"/>
            </p:cNvSpPr>
            <p:nvPr/>
          </p:nvSpPr>
          <p:spPr bwMode="auto">
            <a:xfrm>
              <a:off x="2448" y="1971"/>
              <a:ext cx="6" cy="6"/>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49" name="Oval 374"/>
            <p:cNvSpPr>
              <a:spLocks noChangeArrowheads="1"/>
            </p:cNvSpPr>
            <p:nvPr/>
          </p:nvSpPr>
          <p:spPr bwMode="auto">
            <a:xfrm>
              <a:off x="2448" y="1988"/>
              <a:ext cx="6" cy="6"/>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750" name="Oval 375"/>
            <p:cNvSpPr>
              <a:spLocks noChangeArrowheads="1"/>
            </p:cNvSpPr>
            <p:nvPr/>
          </p:nvSpPr>
          <p:spPr bwMode="auto">
            <a:xfrm>
              <a:off x="2403" y="1861"/>
              <a:ext cx="0" cy="5"/>
            </a:xfrm>
            <a:prstGeom prst="ellipse">
              <a:avLst/>
            </a:prstGeom>
            <a:solidFill>
              <a:srgbClr val="C0C0C0"/>
            </a:solidFill>
            <a:ln w="12700" cap="rnd">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grpSp>
      <p:grpSp>
        <p:nvGrpSpPr>
          <p:cNvPr id="751" name="Group 376"/>
          <p:cNvGrpSpPr>
            <a:grpSpLocks/>
          </p:cNvGrpSpPr>
          <p:nvPr/>
        </p:nvGrpSpPr>
        <p:grpSpPr bwMode="auto">
          <a:xfrm>
            <a:off x="3442028" y="1169057"/>
            <a:ext cx="5184576" cy="3124039"/>
            <a:chOff x="5932" y="935"/>
            <a:chExt cx="2454" cy="1370"/>
          </a:xfrm>
        </p:grpSpPr>
        <p:sp>
          <p:nvSpPr>
            <p:cNvPr id="752" name="Text Box 377"/>
            <p:cNvSpPr txBox="1">
              <a:spLocks noChangeArrowheads="1"/>
            </p:cNvSpPr>
            <p:nvPr/>
          </p:nvSpPr>
          <p:spPr bwMode="auto">
            <a:xfrm>
              <a:off x="6976" y="2093"/>
              <a:ext cx="483" cy="212"/>
            </a:xfrm>
            <a:prstGeom prst="rect">
              <a:avLst/>
            </a:prstGeom>
            <a:solidFill>
              <a:srgbClr val="000000"/>
            </a:solidFill>
            <a:ln>
              <a:noFill/>
            </a:ln>
            <a:effectLst/>
            <a:extLst>
              <a:ext uri="{91240B29-F687-4F45-9708-019B960494DF}">
                <a14:hiddenLine xmlns:a14="http://schemas.microsoft.com/office/drawing/2010/main" w="12700" cap="rnd"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3980" fontAlgn="base">
                <a:spcBef>
                  <a:spcPct val="0"/>
                </a:spcBef>
                <a:spcAft>
                  <a:spcPct val="0"/>
                </a:spcAft>
                <a:defRPr/>
              </a:pPr>
              <a:r>
                <a:rPr lang="en-GB" sz="1662" b="1" kern="0" dirty="0">
                  <a:solidFill>
                    <a:srgbClr val="FFFFFF"/>
                  </a:solidFill>
                </a:rPr>
                <a:t>2012</a:t>
              </a:r>
            </a:p>
          </p:txBody>
        </p:sp>
        <p:sp>
          <p:nvSpPr>
            <p:cNvPr id="753" name="Freeform 378"/>
            <p:cNvSpPr>
              <a:spLocks/>
            </p:cNvSpPr>
            <p:nvPr/>
          </p:nvSpPr>
          <p:spPr bwMode="auto">
            <a:xfrm>
              <a:off x="5932" y="1092"/>
              <a:ext cx="8" cy="6"/>
            </a:xfrm>
            <a:custGeom>
              <a:avLst/>
              <a:gdLst>
                <a:gd name="T0" fmla="*/ 1 w 18"/>
                <a:gd name="T1" fmla="*/ 0 h 17"/>
                <a:gd name="T2" fmla="*/ 1 w 18"/>
                <a:gd name="T3" fmla="*/ 0 h 17"/>
                <a:gd name="T4" fmla="*/ 0 w 18"/>
                <a:gd name="T5" fmla="*/ 0 h 17"/>
                <a:gd name="T6" fmla="*/ 1 w 18"/>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17">
                  <a:moveTo>
                    <a:pt x="17" y="0"/>
                  </a:moveTo>
                  <a:lnTo>
                    <a:pt x="17" y="16"/>
                  </a:lnTo>
                  <a:lnTo>
                    <a:pt x="0" y="16"/>
                  </a:lnTo>
                  <a:lnTo>
                    <a:pt x="17"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54" name="Freeform 379"/>
            <p:cNvSpPr>
              <a:spLocks/>
            </p:cNvSpPr>
            <p:nvPr/>
          </p:nvSpPr>
          <p:spPr bwMode="auto">
            <a:xfrm>
              <a:off x="6124" y="1144"/>
              <a:ext cx="13" cy="18"/>
            </a:xfrm>
            <a:custGeom>
              <a:avLst/>
              <a:gdLst>
                <a:gd name="T0" fmla="*/ 0 w 31"/>
                <a:gd name="T1" fmla="*/ 0 h 47"/>
                <a:gd name="T2" fmla="*/ 0 w 31"/>
                <a:gd name="T3" fmla="*/ 1 h 47"/>
                <a:gd name="T4" fmla="*/ 1 w 31"/>
                <a:gd name="T5" fmla="*/ 1 h 47"/>
                <a:gd name="T6" fmla="*/ 1 w 31"/>
                <a:gd name="T7" fmla="*/ 0 h 47"/>
                <a:gd name="T8" fmla="*/ 0 w 31"/>
                <a:gd name="T9" fmla="*/ 0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47">
                  <a:moveTo>
                    <a:pt x="0" y="15"/>
                  </a:moveTo>
                  <a:lnTo>
                    <a:pt x="15" y="46"/>
                  </a:lnTo>
                  <a:lnTo>
                    <a:pt x="30" y="46"/>
                  </a:lnTo>
                  <a:lnTo>
                    <a:pt x="30" y="0"/>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55" name="Freeform 380"/>
            <p:cNvSpPr>
              <a:spLocks/>
            </p:cNvSpPr>
            <p:nvPr/>
          </p:nvSpPr>
          <p:spPr bwMode="auto">
            <a:xfrm>
              <a:off x="6124" y="1174"/>
              <a:ext cx="8" cy="12"/>
            </a:xfrm>
            <a:custGeom>
              <a:avLst/>
              <a:gdLst>
                <a:gd name="T0" fmla="*/ 1 w 17"/>
                <a:gd name="T1" fmla="*/ 0 h 32"/>
                <a:gd name="T2" fmla="*/ 0 w 17"/>
                <a:gd name="T3" fmla="*/ 0 h 32"/>
                <a:gd name="T4" fmla="*/ 1 w 17"/>
                <a:gd name="T5" fmla="*/ 1 h 32"/>
                <a:gd name="T6" fmla="*/ 1 w 17"/>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16" y="0"/>
                  </a:moveTo>
                  <a:lnTo>
                    <a:pt x="0" y="16"/>
                  </a:lnTo>
                  <a:lnTo>
                    <a:pt x="16" y="31"/>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56" name="Freeform 381"/>
            <p:cNvSpPr>
              <a:spLocks/>
            </p:cNvSpPr>
            <p:nvPr/>
          </p:nvSpPr>
          <p:spPr bwMode="auto">
            <a:xfrm>
              <a:off x="6124" y="1190"/>
              <a:ext cx="8" cy="13"/>
            </a:xfrm>
            <a:custGeom>
              <a:avLst/>
              <a:gdLst>
                <a:gd name="T0" fmla="*/ 0 w 17"/>
                <a:gd name="T1" fmla="*/ 0 h 32"/>
                <a:gd name="T2" fmla="*/ 1 w 17"/>
                <a:gd name="T3" fmla="*/ 0 h 32"/>
                <a:gd name="T4" fmla="*/ 1 w 17"/>
                <a:gd name="T5" fmla="*/ 1 h 32"/>
                <a:gd name="T6" fmla="*/ 0 w 17"/>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0" y="0"/>
                  </a:moveTo>
                  <a:lnTo>
                    <a:pt x="16" y="0"/>
                  </a:lnTo>
                  <a:lnTo>
                    <a:pt x="16"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57" name="Freeform 382"/>
            <p:cNvSpPr>
              <a:spLocks/>
            </p:cNvSpPr>
            <p:nvPr/>
          </p:nvSpPr>
          <p:spPr bwMode="auto">
            <a:xfrm>
              <a:off x="6503" y="1806"/>
              <a:ext cx="95" cy="107"/>
            </a:xfrm>
            <a:custGeom>
              <a:avLst/>
              <a:gdLst>
                <a:gd name="T0" fmla="*/ 3 w 224"/>
                <a:gd name="T1" fmla="*/ 0 h 279"/>
                <a:gd name="T2" fmla="*/ 2 w 224"/>
                <a:gd name="T3" fmla="*/ 0 h 279"/>
                <a:gd name="T4" fmla="*/ 1 w 224"/>
                <a:gd name="T5" fmla="*/ 0 h 279"/>
                <a:gd name="T6" fmla="*/ 1 w 224"/>
                <a:gd name="T7" fmla="*/ 1 h 279"/>
                <a:gd name="T8" fmla="*/ 0 w 224"/>
                <a:gd name="T9" fmla="*/ 0 h 279"/>
                <a:gd name="T10" fmla="*/ 0 w 224"/>
                <a:gd name="T11" fmla="*/ 0 h 279"/>
                <a:gd name="T12" fmla="*/ 0 w 224"/>
                <a:gd name="T13" fmla="*/ 1 h 279"/>
                <a:gd name="T14" fmla="*/ 0 w 224"/>
                <a:gd name="T15" fmla="*/ 2 h 279"/>
                <a:gd name="T16" fmla="*/ 0 w 224"/>
                <a:gd name="T17" fmla="*/ 2 h 279"/>
                <a:gd name="T18" fmla="*/ 0 w 224"/>
                <a:gd name="T19" fmla="*/ 2 h 279"/>
                <a:gd name="T20" fmla="*/ 0 w 224"/>
                <a:gd name="T21" fmla="*/ 3 h 279"/>
                <a:gd name="T22" fmla="*/ 1 w 224"/>
                <a:gd name="T23" fmla="*/ 3 h 279"/>
                <a:gd name="T24" fmla="*/ 1 w 224"/>
                <a:gd name="T25" fmla="*/ 3 h 279"/>
                <a:gd name="T26" fmla="*/ 0 w 224"/>
                <a:gd name="T27" fmla="*/ 3 h 279"/>
                <a:gd name="T28" fmla="*/ 1 w 224"/>
                <a:gd name="T29" fmla="*/ 5 h 279"/>
                <a:gd name="T30" fmla="*/ 2 w 224"/>
                <a:gd name="T31" fmla="*/ 6 h 279"/>
                <a:gd name="T32" fmla="*/ 2 w 224"/>
                <a:gd name="T33" fmla="*/ 6 h 279"/>
                <a:gd name="T34" fmla="*/ 3 w 224"/>
                <a:gd name="T35" fmla="*/ 5 h 279"/>
                <a:gd name="T36" fmla="*/ 3 w 224"/>
                <a:gd name="T37" fmla="*/ 5 h 279"/>
                <a:gd name="T38" fmla="*/ 3 w 224"/>
                <a:gd name="T39" fmla="*/ 5 h 279"/>
                <a:gd name="T40" fmla="*/ 3 w 224"/>
                <a:gd name="T41" fmla="*/ 6 h 279"/>
                <a:gd name="T42" fmla="*/ 4 w 224"/>
                <a:gd name="T43" fmla="*/ 5 h 279"/>
                <a:gd name="T44" fmla="*/ 5 w 224"/>
                <a:gd name="T45" fmla="*/ 5 h 279"/>
                <a:gd name="T46" fmla="*/ 7 w 224"/>
                <a:gd name="T47" fmla="*/ 4 h 279"/>
                <a:gd name="T48" fmla="*/ 7 w 224"/>
                <a:gd name="T49" fmla="*/ 5 h 279"/>
                <a:gd name="T50" fmla="*/ 7 w 224"/>
                <a:gd name="T51" fmla="*/ 3 h 279"/>
                <a:gd name="T52" fmla="*/ 6 w 224"/>
                <a:gd name="T53" fmla="*/ 3 h 279"/>
                <a:gd name="T54" fmla="*/ 6 w 224"/>
                <a:gd name="T55" fmla="*/ 3 h 279"/>
                <a:gd name="T56" fmla="*/ 5 w 224"/>
                <a:gd name="T57" fmla="*/ 2 h 279"/>
                <a:gd name="T58" fmla="*/ 4 w 224"/>
                <a:gd name="T59" fmla="*/ 1 h 279"/>
                <a:gd name="T60" fmla="*/ 3 w 224"/>
                <a:gd name="T61" fmla="*/ 1 h 279"/>
                <a:gd name="T62" fmla="*/ 3 w 224"/>
                <a:gd name="T63" fmla="*/ 1 h 279"/>
                <a:gd name="T64" fmla="*/ 3 w 224"/>
                <a:gd name="T65" fmla="*/ 0 h 2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4" h="279">
                  <a:moveTo>
                    <a:pt x="74" y="0"/>
                  </a:moveTo>
                  <a:lnTo>
                    <a:pt x="59" y="0"/>
                  </a:lnTo>
                  <a:lnTo>
                    <a:pt x="45" y="15"/>
                  </a:lnTo>
                  <a:lnTo>
                    <a:pt x="30" y="31"/>
                  </a:lnTo>
                  <a:lnTo>
                    <a:pt x="15" y="15"/>
                  </a:lnTo>
                  <a:lnTo>
                    <a:pt x="0" y="15"/>
                  </a:lnTo>
                  <a:lnTo>
                    <a:pt x="15" y="46"/>
                  </a:lnTo>
                  <a:lnTo>
                    <a:pt x="15" y="77"/>
                  </a:lnTo>
                  <a:lnTo>
                    <a:pt x="15" y="93"/>
                  </a:lnTo>
                  <a:lnTo>
                    <a:pt x="15" y="108"/>
                  </a:lnTo>
                  <a:lnTo>
                    <a:pt x="15" y="124"/>
                  </a:lnTo>
                  <a:lnTo>
                    <a:pt x="30" y="124"/>
                  </a:lnTo>
                  <a:lnTo>
                    <a:pt x="30" y="139"/>
                  </a:lnTo>
                  <a:lnTo>
                    <a:pt x="15" y="154"/>
                  </a:lnTo>
                  <a:lnTo>
                    <a:pt x="30" y="201"/>
                  </a:lnTo>
                  <a:lnTo>
                    <a:pt x="59" y="263"/>
                  </a:lnTo>
                  <a:lnTo>
                    <a:pt x="59" y="278"/>
                  </a:lnTo>
                  <a:lnTo>
                    <a:pt x="74" y="232"/>
                  </a:lnTo>
                  <a:lnTo>
                    <a:pt x="89" y="247"/>
                  </a:lnTo>
                  <a:lnTo>
                    <a:pt x="104" y="247"/>
                  </a:lnTo>
                  <a:lnTo>
                    <a:pt x="104" y="263"/>
                  </a:lnTo>
                  <a:lnTo>
                    <a:pt x="134" y="247"/>
                  </a:lnTo>
                  <a:lnTo>
                    <a:pt x="149" y="201"/>
                  </a:lnTo>
                  <a:lnTo>
                    <a:pt x="208" y="185"/>
                  </a:lnTo>
                  <a:lnTo>
                    <a:pt x="223" y="201"/>
                  </a:lnTo>
                  <a:lnTo>
                    <a:pt x="223" y="154"/>
                  </a:lnTo>
                  <a:lnTo>
                    <a:pt x="193" y="124"/>
                  </a:lnTo>
                  <a:lnTo>
                    <a:pt x="178" y="124"/>
                  </a:lnTo>
                  <a:lnTo>
                    <a:pt x="149" y="77"/>
                  </a:lnTo>
                  <a:lnTo>
                    <a:pt x="119" y="46"/>
                  </a:lnTo>
                  <a:lnTo>
                    <a:pt x="104" y="46"/>
                  </a:lnTo>
                  <a:lnTo>
                    <a:pt x="74" y="31"/>
                  </a:lnTo>
                  <a:lnTo>
                    <a:pt x="74"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58" name="Freeform 383"/>
            <p:cNvSpPr>
              <a:spLocks/>
            </p:cNvSpPr>
            <p:nvPr/>
          </p:nvSpPr>
          <p:spPr bwMode="auto">
            <a:xfrm>
              <a:off x="6407" y="1731"/>
              <a:ext cx="108" cy="140"/>
            </a:xfrm>
            <a:custGeom>
              <a:avLst/>
              <a:gdLst>
                <a:gd name="T0" fmla="*/ 4 w 253"/>
                <a:gd name="T1" fmla="*/ 0 h 370"/>
                <a:gd name="T2" fmla="*/ 4 w 253"/>
                <a:gd name="T3" fmla="*/ 0 h 370"/>
                <a:gd name="T4" fmla="*/ 4 w 253"/>
                <a:gd name="T5" fmla="*/ 1 h 370"/>
                <a:gd name="T6" fmla="*/ 2 w 253"/>
                <a:gd name="T7" fmla="*/ 2 h 370"/>
                <a:gd name="T8" fmla="*/ 1 w 253"/>
                <a:gd name="T9" fmla="*/ 2 h 370"/>
                <a:gd name="T10" fmla="*/ 1 w 253"/>
                <a:gd name="T11" fmla="*/ 2 h 370"/>
                <a:gd name="T12" fmla="*/ 0 w 253"/>
                <a:gd name="T13" fmla="*/ 2 h 370"/>
                <a:gd name="T14" fmla="*/ 0 w 253"/>
                <a:gd name="T15" fmla="*/ 1 h 370"/>
                <a:gd name="T16" fmla="*/ 0 w 253"/>
                <a:gd name="T17" fmla="*/ 2 h 370"/>
                <a:gd name="T18" fmla="*/ 0 w 253"/>
                <a:gd name="T19" fmla="*/ 3 h 370"/>
                <a:gd name="T20" fmla="*/ 1 w 253"/>
                <a:gd name="T21" fmla="*/ 3 h 370"/>
                <a:gd name="T22" fmla="*/ 2 w 253"/>
                <a:gd name="T23" fmla="*/ 4 h 370"/>
                <a:gd name="T24" fmla="*/ 3 w 253"/>
                <a:gd name="T25" fmla="*/ 6 h 370"/>
                <a:gd name="T26" fmla="*/ 5 w 253"/>
                <a:gd name="T27" fmla="*/ 7 h 370"/>
                <a:gd name="T28" fmla="*/ 6 w 253"/>
                <a:gd name="T29" fmla="*/ 7 h 370"/>
                <a:gd name="T30" fmla="*/ 6 w 253"/>
                <a:gd name="T31" fmla="*/ 7 h 370"/>
                <a:gd name="T32" fmla="*/ 6 w 253"/>
                <a:gd name="T33" fmla="*/ 8 h 370"/>
                <a:gd name="T34" fmla="*/ 7 w 253"/>
                <a:gd name="T35" fmla="*/ 8 h 370"/>
                <a:gd name="T36" fmla="*/ 8 w 253"/>
                <a:gd name="T37" fmla="*/ 7 h 370"/>
                <a:gd name="T38" fmla="*/ 8 w 253"/>
                <a:gd name="T39" fmla="*/ 7 h 370"/>
                <a:gd name="T40" fmla="*/ 8 w 253"/>
                <a:gd name="T41" fmla="*/ 7 h 370"/>
                <a:gd name="T42" fmla="*/ 9 w 253"/>
                <a:gd name="T43" fmla="*/ 7 h 370"/>
                <a:gd name="T44" fmla="*/ 8 w 253"/>
                <a:gd name="T45" fmla="*/ 7 h 370"/>
                <a:gd name="T46" fmla="*/ 8 w 253"/>
                <a:gd name="T47" fmla="*/ 6 h 370"/>
                <a:gd name="T48" fmla="*/ 8 w 253"/>
                <a:gd name="T49" fmla="*/ 6 h 370"/>
                <a:gd name="T50" fmla="*/ 8 w 253"/>
                <a:gd name="T51" fmla="*/ 6 h 370"/>
                <a:gd name="T52" fmla="*/ 8 w 253"/>
                <a:gd name="T53" fmla="*/ 6 h 370"/>
                <a:gd name="T54" fmla="*/ 8 w 253"/>
                <a:gd name="T55" fmla="*/ 5 h 370"/>
                <a:gd name="T56" fmla="*/ 8 w 253"/>
                <a:gd name="T57" fmla="*/ 5 h 370"/>
                <a:gd name="T58" fmla="*/ 6 w 253"/>
                <a:gd name="T59" fmla="*/ 5 h 370"/>
                <a:gd name="T60" fmla="*/ 6 w 253"/>
                <a:gd name="T61" fmla="*/ 4 h 370"/>
                <a:gd name="T62" fmla="*/ 6 w 253"/>
                <a:gd name="T63" fmla="*/ 4 h 370"/>
                <a:gd name="T64" fmla="*/ 5 w 253"/>
                <a:gd name="T65" fmla="*/ 3 h 370"/>
                <a:gd name="T66" fmla="*/ 5 w 253"/>
                <a:gd name="T67" fmla="*/ 3 h 370"/>
                <a:gd name="T68" fmla="*/ 6 w 253"/>
                <a:gd name="T69" fmla="*/ 2 h 370"/>
                <a:gd name="T70" fmla="*/ 6 w 253"/>
                <a:gd name="T71" fmla="*/ 2 h 370"/>
                <a:gd name="T72" fmla="*/ 8 w 253"/>
                <a:gd name="T73" fmla="*/ 2 h 370"/>
                <a:gd name="T74" fmla="*/ 7 w 253"/>
                <a:gd name="T75" fmla="*/ 1 h 370"/>
                <a:gd name="T76" fmla="*/ 6 w 253"/>
                <a:gd name="T77" fmla="*/ 1 h 370"/>
                <a:gd name="T78" fmla="*/ 6 w 253"/>
                <a:gd name="T79" fmla="*/ 1 h 370"/>
                <a:gd name="T80" fmla="*/ 5 w 253"/>
                <a:gd name="T81" fmla="*/ 1 h 370"/>
                <a:gd name="T82" fmla="*/ 4 w 253"/>
                <a:gd name="T83" fmla="*/ 0 h 370"/>
                <a:gd name="T84" fmla="*/ 4 w 253"/>
                <a:gd name="T85" fmla="*/ 0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53" h="370">
                  <a:moveTo>
                    <a:pt x="119" y="0"/>
                  </a:moveTo>
                  <a:lnTo>
                    <a:pt x="133" y="15"/>
                  </a:lnTo>
                  <a:lnTo>
                    <a:pt x="119" y="31"/>
                  </a:lnTo>
                  <a:lnTo>
                    <a:pt x="59" y="77"/>
                  </a:lnTo>
                  <a:lnTo>
                    <a:pt x="44" y="92"/>
                  </a:lnTo>
                  <a:lnTo>
                    <a:pt x="30" y="77"/>
                  </a:lnTo>
                  <a:lnTo>
                    <a:pt x="15" y="92"/>
                  </a:lnTo>
                  <a:lnTo>
                    <a:pt x="15" y="62"/>
                  </a:lnTo>
                  <a:lnTo>
                    <a:pt x="0" y="77"/>
                  </a:lnTo>
                  <a:lnTo>
                    <a:pt x="15" y="123"/>
                  </a:lnTo>
                  <a:lnTo>
                    <a:pt x="30" y="138"/>
                  </a:lnTo>
                  <a:lnTo>
                    <a:pt x="59" y="200"/>
                  </a:lnTo>
                  <a:lnTo>
                    <a:pt x="104" y="277"/>
                  </a:lnTo>
                  <a:lnTo>
                    <a:pt x="148" y="338"/>
                  </a:lnTo>
                  <a:lnTo>
                    <a:pt x="178" y="338"/>
                  </a:lnTo>
                  <a:lnTo>
                    <a:pt x="193" y="354"/>
                  </a:lnTo>
                  <a:lnTo>
                    <a:pt x="193" y="369"/>
                  </a:lnTo>
                  <a:lnTo>
                    <a:pt x="208" y="369"/>
                  </a:lnTo>
                  <a:lnTo>
                    <a:pt x="222" y="354"/>
                  </a:lnTo>
                  <a:lnTo>
                    <a:pt x="237" y="354"/>
                  </a:lnTo>
                  <a:lnTo>
                    <a:pt x="237" y="338"/>
                  </a:lnTo>
                  <a:lnTo>
                    <a:pt x="252" y="338"/>
                  </a:lnTo>
                  <a:lnTo>
                    <a:pt x="237" y="338"/>
                  </a:lnTo>
                  <a:lnTo>
                    <a:pt x="237" y="323"/>
                  </a:lnTo>
                  <a:lnTo>
                    <a:pt x="237" y="308"/>
                  </a:lnTo>
                  <a:lnTo>
                    <a:pt x="237" y="292"/>
                  </a:lnTo>
                  <a:lnTo>
                    <a:pt x="237" y="277"/>
                  </a:lnTo>
                  <a:lnTo>
                    <a:pt x="237" y="246"/>
                  </a:lnTo>
                  <a:lnTo>
                    <a:pt x="222" y="215"/>
                  </a:lnTo>
                  <a:lnTo>
                    <a:pt x="193" y="215"/>
                  </a:lnTo>
                  <a:lnTo>
                    <a:pt x="193" y="200"/>
                  </a:lnTo>
                  <a:lnTo>
                    <a:pt x="178" y="200"/>
                  </a:lnTo>
                  <a:lnTo>
                    <a:pt x="148" y="169"/>
                  </a:lnTo>
                  <a:lnTo>
                    <a:pt x="148" y="138"/>
                  </a:lnTo>
                  <a:lnTo>
                    <a:pt x="163" y="108"/>
                  </a:lnTo>
                  <a:lnTo>
                    <a:pt x="193" y="77"/>
                  </a:lnTo>
                  <a:lnTo>
                    <a:pt x="222" y="77"/>
                  </a:lnTo>
                  <a:lnTo>
                    <a:pt x="208" y="46"/>
                  </a:lnTo>
                  <a:lnTo>
                    <a:pt x="178" y="31"/>
                  </a:lnTo>
                  <a:lnTo>
                    <a:pt x="163" y="31"/>
                  </a:lnTo>
                  <a:lnTo>
                    <a:pt x="148" y="31"/>
                  </a:lnTo>
                  <a:lnTo>
                    <a:pt x="133" y="0"/>
                  </a:lnTo>
                  <a:lnTo>
                    <a:pt x="11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59" name="Freeform 384"/>
            <p:cNvSpPr>
              <a:spLocks/>
            </p:cNvSpPr>
            <p:nvPr/>
          </p:nvSpPr>
          <p:spPr bwMode="auto">
            <a:xfrm>
              <a:off x="6412" y="1720"/>
              <a:ext cx="52" cy="46"/>
            </a:xfrm>
            <a:custGeom>
              <a:avLst/>
              <a:gdLst>
                <a:gd name="T0" fmla="*/ 0 w 120"/>
                <a:gd name="T1" fmla="*/ 0 h 124"/>
                <a:gd name="T2" fmla="*/ 0 w 120"/>
                <a:gd name="T3" fmla="*/ 1 h 124"/>
                <a:gd name="T4" fmla="*/ 0 w 120"/>
                <a:gd name="T5" fmla="*/ 1 h 124"/>
                <a:gd name="T6" fmla="*/ 0 w 120"/>
                <a:gd name="T7" fmla="*/ 1 h 124"/>
                <a:gd name="T8" fmla="*/ 0 w 120"/>
                <a:gd name="T9" fmla="*/ 2 h 124"/>
                <a:gd name="T10" fmla="*/ 0 w 120"/>
                <a:gd name="T11" fmla="*/ 2 h 124"/>
                <a:gd name="T12" fmla="*/ 0 w 120"/>
                <a:gd name="T13" fmla="*/ 2 h 124"/>
                <a:gd name="T14" fmla="*/ 0 w 120"/>
                <a:gd name="T15" fmla="*/ 2 h 124"/>
                <a:gd name="T16" fmla="*/ 1 w 120"/>
                <a:gd name="T17" fmla="*/ 2 h 124"/>
                <a:gd name="T18" fmla="*/ 2 w 120"/>
                <a:gd name="T19" fmla="*/ 2 h 124"/>
                <a:gd name="T20" fmla="*/ 4 w 120"/>
                <a:gd name="T21" fmla="*/ 1 h 124"/>
                <a:gd name="T22" fmla="*/ 4 w 120"/>
                <a:gd name="T23" fmla="*/ 1 h 124"/>
                <a:gd name="T24" fmla="*/ 4 w 120"/>
                <a:gd name="T25" fmla="*/ 0 h 124"/>
                <a:gd name="T26" fmla="*/ 3 w 120"/>
                <a:gd name="T27" fmla="*/ 0 h 124"/>
                <a:gd name="T28" fmla="*/ 1 w 120"/>
                <a:gd name="T29" fmla="*/ 0 h 124"/>
                <a:gd name="T30" fmla="*/ 0 w 120"/>
                <a:gd name="T31" fmla="*/ 0 h 124"/>
                <a:gd name="T32" fmla="*/ 0 w 120"/>
                <a:gd name="T33" fmla="*/ 0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24">
                  <a:moveTo>
                    <a:pt x="0" y="15"/>
                  </a:moveTo>
                  <a:lnTo>
                    <a:pt x="0" y="46"/>
                  </a:lnTo>
                  <a:lnTo>
                    <a:pt x="0" y="77"/>
                  </a:lnTo>
                  <a:lnTo>
                    <a:pt x="15" y="77"/>
                  </a:lnTo>
                  <a:lnTo>
                    <a:pt x="15" y="92"/>
                  </a:lnTo>
                  <a:lnTo>
                    <a:pt x="0" y="92"/>
                  </a:lnTo>
                  <a:lnTo>
                    <a:pt x="0" y="123"/>
                  </a:lnTo>
                  <a:lnTo>
                    <a:pt x="15" y="108"/>
                  </a:lnTo>
                  <a:lnTo>
                    <a:pt x="30" y="123"/>
                  </a:lnTo>
                  <a:lnTo>
                    <a:pt x="45" y="108"/>
                  </a:lnTo>
                  <a:lnTo>
                    <a:pt x="104" y="62"/>
                  </a:lnTo>
                  <a:lnTo>
                    <a:pt x="119" y="46"/>
                  </a:lnTo>
                  <a:lnTo>
                    <a:pt x="104" y="31"/>
                  </a:lnTo>
                  <a:lnTo>
                    <a:pt x="89" y="15"/>
                  </a:lnTo>
                  <a:lnTo>
                    <a:pt x="30" y="0"/>
                  </a:lnTo>
                  <a:lnTo>
                    <a:pt x="15" y="0"/>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0" name="Freeform 385"/>
            <p:cNvSpPr>
              <a:spLocks/>
            </p:cNvSpPr>
            <p:nvPr/>
          </p:nvSpPr>
          <p:spPr bwMode="auto">
            <a:xfrm>
              <a:off x="6137" y="1278"/>
              <a:ext cx="423" cy="245"/>
            </a:xfrm>
            <a:custGeom>
              <a:avLst/>
              <a:gdLst>
                <a:gd name="T0" fmla="*/ 3 w 985"/>
                <a:gd name="T1" fmla="*/ 9 h 647"/>
                <a:gd name="T2" fmla="*/ 8 w 985"/>
                <a:gd name="T3" fmla="*/ 10 h 647"/>
                <a:gd name="T4" fmla="*/ 9 w 985"/>
                <a:gd name="T5" fmla="*/ 9 h 647"/>
                <a:gd name="T6" fmla="*/ 10 w 985"/>
                <a:gd name="T7" fmla="*/ 11 h 647"/>
                <a:gd name="T8" fmla="*/ 12 w 985"/>
                <a:gd name="T9" fmla="*/ 11 h 647"/>
                <a:gd name="T10" fmla="*/ 12 w 985"/>
                <a:gd name="T11" fmla="*/ 12 h 647"/>
                <a:gd name="T12" fmla="*/ 13 w 985"/>
                <a:gd name="T13" fmla="*/ 12 h 647"/>
                <a:gd name="T14" fmla="*/ 15 w 985"/>
                <a:gd name="T15" fmla="*/ 11 h 647"/>
                <a:gd name="T16" fmla="*/ 17 w 985"/>
                <a:gd name="T17" fmla="*/ 11 h 647"/>
                <a:gd name="T18" fmla="*/ 18 w 985"/>
                <a:gd name="T19" fmla="*/ 11 h 647"/>
                <a:gd name="T20" fmla="*/ 18 w 985"/>
                <a:gd name="T21" fmla="*/ 11 h 647"/>
                <a:gd name="T22" fmla="*/ 19 w 985"/>
                <a:gd name="T23" fmla="*/ 11 h 647"/>
                <a:gd name="T24" fmla="*/ 21 w 985"/>
                <a:gd name="T25" fmla="*/ 11 h 647"/>
                <a:gd name="T26" fmla="*/ 22 w 985"/>
                <a:gd name="T27" fmla="*/ 12 h 647"/>
                <a:gd name="T28" fmla="*/ 23 w 985"/>
                <a:gd name="T29" fmla="*/ 13 h 647"/>
                <a:gd name="T30" fmla="*/ 24 w 985"/>
                <a:gd name="T31" fmla="*/ 13 h 647"/>
                <a:gd name="T32" fmla="*/ 23 w 985"/>
                <a:gd name="T33" fmla="*/ 12 h 647"/>
                <a:gd name="T34" fmla="*/ 24 w 985"/>
                <a:gd name="T35" fmla="*/ 11 h 647"/>
                <a:gd name="T36" fmla="*/ 25 w 985"/>
                <a:gd name="T37" fmla="*/ 10 h 647"/>
                <a:gd name="T38" fmla="*/ 26 w 985"/>
                <a:gd name="T39" fmla="*/ 9 h 647"/>
                <a:gd name="T40" fmla="*/ 27 w 985"/>
                <a:gd name="T41" fmla="*/ 8 h 647"/>
                <a:gd name="T42" fmla="*/ 27 w 985"/>
                <a:gd name="T43" fmla="*/ 8 h 647"/>
                <a:gd name="T44" fmla="*/ 27 w 985"/>
                <a:gd name="T45" fmla="*/ 8 h 647"/>
                <a:gd name="T46" fmla="*/ 28 w 985"/>
                <a:gd name="T47" fmla="*/ 7 h 647"/>
                <a:gd name="T48" fmla="*/ 28 w 985"/>
                <a:gd name="T49" fmla="*/ 7 h 647"/>
                <a:gd name="T50" fmla="*/ 29 w 985"/>
                <a:gd name="T51" fmla="*/ 6 h 647"/>
                <a:gd name="T52" fmla="*/ 30 w 985"/>
                <a:gd name="T53" fmla="*/ 6 h 647"/>
                <a:gd name="T54" fmla="*/ 31 w 985"/>
                <a:gd name="T55" fmla="*/ 6 h 647"/>
                <a:gd name="T56" fmla="*/ 32 w 985"/>
                <a:gd name="T57" fmla="*/ 5 h 647"/>
                <a:gd name="T58" fmla="*/ 33 w 985"/>
                <a:gd name="T59" fmla="*/ 4 h 647"/>
                <a:gd name="T60" fmla="*/ 33 w 985"/>
                <a:gd name="T61" fmla="*/ 3 h 647"/>
                <a:gd name="T62" fmla="*/ 32 w 985"/>
                <a:gd name="T63" fmla="*/ 4 h 647"/>
                <a:gd name="T64" fmla="*/ 30 w 985"/>
                <a:gd name="T65" fmla="*/ 5 h 647"/>
                <a:gd name="T66" fmla="*/ 29 w 985"/>
                <a:gd name="T67" fmla="*/ 5 h 647"/>
                <a:gd name="T68" fmla="*/ 27 w 985"/>
                <a:gd name="T69" fmla="*/ 5 h 647"/>
                <a:gd name="T70" fmla="*/ 26 w 985"/>
                <a:gd name="T71" fmla="*/ 5 h 647"/>
                <a:gd name="T72" fmla="*/ 26 w 985"/>
                <a:gd name="T73" fmla="*/ 6 h 647"/>
                <a:gd name="T74" fmla="*/ 24 w 985"/>
                <a:gd name="T75" fmla="*/ 6 h 647"/>
                <a:gd name="T76" fmla="*/ 24 w 985"/>
                <a:gd name="T77" fmla="*/ 5 h 647"/>
                <a:gd name="T78" fmla="*/ 24 w 985"/>
                <a:gd name="T79" fmla="*/ 5 h 647"/>
                <a:gd name="T80" fmla="*/ 24 w 985"/>
                <a:gd name="T81" fmla="*/ 4 h 647"/>
                <a:gd name="T82" fmla="*/ 23 w 985"/>
                <a:gd name="T83" fmla="*/ 4 h 647"/>
                <a:gd name="T84" fmla="*/ 22 w 985"/>
                <a:gd name="T85" fmla="*/ 5 h 647"/>
                <a:gd name="T86" fmla="*/ 21 w 985"/>
                <a:gd name="T87" fmla="*/ 5 h 647"/>
                <a:gd name="T88" fmla="*/ 22 w 985"/>
                <a:gd name="T89" fmla="*/ 4 h 647"/>
                <a:gd name="T90" fmla="*/ 23 w 985"/>
                <a:gd name="T91" fmla="*/ 3 h 647"/>
                <a:gd name="T92" fmla="*/ 24 w 985"/>
                <a:gd name="T93" fmla="*/ 3 h 647"/>
                <a:gd name="T94" fmla="*/ 21 w 985"/>
                <a:gd name="T95" fmla="*/ 3 h 647"/>
                <a:gd name="T96" fmla="*/ 21 w 985"/>
                <a:gd name="T97" fmla="*/ 2 h 647"/>
                <a:gd name="T98" fmla="*/ 17 w 985"/>
                <a:gd name="T99" fmla="*/ 2 h 647"/>
                <a:gd name="T100" fmla="*/ 8 w 985"/>
                <a:gd name="T101" fmla="*/ 1 h 647"/>
                <a:gd name="T102" fmla="*/ 3 w 985"/>
                <a:gd name="T103" fmla="*/ 1 h 647"/>
                <a:gd name="T104" fmla="*/ 3 w 985"/>
                <a:gd name="T105" fmla="*/ 1 h 647"/>
                <a:gd name="T106" fmla="*/ 2 w 985"/>
                <a:gd name="T107" fmla="*/ 2 h 647"/>
                <a:gd name="T108" fmla="*/ 0 w 985"/>
                <a:gd name="T109" fmla="*/ 5 h 647"/>
                <a:gd name="T110" fmla="*/ 0 w 985"/>
                <a:gd name="T111" fmla="*/ 7 h 647"/>
                <a:gd name="T112" fmla="*/ 2 w 985"/>
                <a:gd name="T113" fmla="*/ 8 h 6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85" h="647">
                  <a:moveTo>
                    <a:pt x="60" y="431"/>
                  </a:moveTo>
                  <a:lnTo>
                    <a:pt x="104" y="446"/>
                  </a:lnTo>
                  <a:lnTo>
                    <a:pt x="179" y="461"/>
                  </a:lnTo>
                  <a:lnTo>
                    <a:pt x="224" y="477"/>
                  </a:lnTo>
                  <a:lnTo>
                    <a:pt x="224" y="461"/>
                  </a:lnTo>
                  <a:lnTo>
                    <a:pt x="253" y="461"/>
                  </a:lnTo>
                  <a:lnTo>
                    <a:pt x="283" y="538"/>
                  </a:lnTo>
                  <a:lnTo>
                    <a:pt x="298" y="523"/>
                  </a:lnTo>
                  <a:lnTo>
                    <a:pt x="328" y="523"/>
                  </a:lnTo>
                  <a:lnTo>
                    <a:pt x="343" y="554"/>
                  </a:lnTo>
                  <a:lnTo>
                    <a:pt x="358" y="584"/>
                  </a:lnTo>
                  <a:lnTo>
                    <a:pt x="358" y="615"/>
                  </a:lnTo>
                  <a:lnTo>
                    <a:pt x="388" y="615"/>
                  </a:lnTo>
                  <a:lnTo>
                    <a:pt x="388" y="584"/>
                  </a:lnTo>
                  <a:lnTo>
                    <a:pt x="432" y="569"/>
                  </a:lnTo>
                  <a:lnTo>
                    <a:pt x="432" y="554"/>
                  </a:lnTo>
                  <a:lnTo>
                    <a:pt x="462" y="538"/>
                  </a:lnTo>
                  <a:lnTo>
                    <a:pt x="492" y="554"/>
                  </a:lnTo>
                  <a:lnTo>
                    <a:pt x="507" y="569"/>
                  </a:lnTo>
                  <a:lnTo>
                    <a:pt x="537" y="554"/>
                  </a:lnTo>
                  <a:lnTo>
                    <a:pt x="537" y="569"/>
                  </a:lnTo>
                  <a:lnTo>
                    <a:pt x="537" y="538"/>
                  </a:lnTo>
                  <a:lnTo>
                    <a:pt x="552" y="538"/>
                  </a:lnTo>
                  <a:lnTo>
                    <a:pt x="567" y="538"/>
                  </a:lnTo>
                  <a:lnTo>
                    <a:pt x="611" y="538"/>
                  </a:lnTo>
                  <a:lnTo>
                    <a:pt x="611" y="554"/>
                  </a:lnTo>
                  <a:lnTo>
                    <a:pt x="626" y="538"/>
                  </a:lnTo>
                  <a:lnTo>
                    <a:pt x="656" y="569"/>
                  </a:lnTo>
                  <a:lnTo>
                    <a:pt x="641" y="600"/>
                  </a:lnTo>
                  <a:lnTo>
                    <a:pt x="671" y="646"/>
                  </a:lnTo>
                  <a:lnTo>
                    <a:pt x="686" y="646"/>
                  </a:lnTo>
                  <a:lnTo>
                    <a:pt x="686" y="631"/>
                  </a:lnTo>
                  <a:lnTo>
                    <a:pt x="686" y="600"/>
                  </a:lnTo>
                  <a:lnTo>
                    <a:pt x="671" y="569"/>
                  </a:lnTo>
                  <a:lnTo>
                    <a:pt x="686" y="523"/>
                  </a:lnTo>
                  <a:lnTo>
                    <a:pt x="701" y="508"/>
                  </a:lnTo>
                  <a:lnTo>
                    <a:pt x="716" y="492"/>
                  </a:lnTo>
                  <a:lnTo>
                    <a:pt x="745" y="477"/>
                  </a:lnTo>
                  <a:lnTo>
                    <a:pt x="760" y="461"/>
                  </a:lnTo>
                  <a:lnTo>
                    <a:pt x="775" y="446"/>
                  </a:lnTo>
                  <a:lnTo>
                    <a:pt x="790" y="446"/>
                  </a:lnTo>
                  <a:lnTo>
                    <a:pt x="790" y="415"/>
                  </a:lnTo>
                  <a:lnTo>
                    <a:pt x="790" y="400"/>
                  </a:lnTo>
                  <a:lnTo>
                    <a:pt x="790" y="385"/>
                  </a:lnTo>
                  <a:lnTo>
                    <a:pt x="790" y="354"/>
                  </a:lnTo>
                  <a:lnTo>
                    <a:pt x="790" y="400"/>
                  </a:lnTo>
                  <a:lnTo>
                    <a:pt x="820" y="369"/>
                  </a:lnTo>
                  <a:lnTo>
                    <a:pt x="820" y="354"/>
                  </a:lnTo>
                  <a:lnTo>
                    <a:pt x="820" y="369"/>
                  </a:lnTo>
                  <a:lnTo>
                    <a:pt x="835" y="338"/>
                  </a:lnTo>
                  <a:lnTo>
                    <a:pt x="835" y="323"/>
                  </a:lnTo>
                  <a:lnTo>
                    <a:pt x="850" y="308"/>
                  </a:lnTo>
                  <a:lnTo>
                    <a:pt x="865" y="308"/>
                  </a:lnTo>
                  <a:lnTo>
                    <a:pt x="895" y="292"/>
                  </a:lnTo>
                  <a:lnTo>
                    <a:pt x="909" y="308"/>
                  </a:lnTo>
                  <a:lnTo>
                    <a:pt x="909" y="292"/>
                  </a:lnTo>
                  <a:lnTo>
                    <a:pt x="909" y="261"/>
                  </a:lnTo>
                  <a:lnTo>
                    <a:pt x="939" y="246"/>
                  </a:lnTo>
                  <a:lnTo>
                    <a:pt x="984" y="231"/>
                  </a:lnTo>
                  <a:lnTo>
                    <a:pt x="969" y="200"/>
                  </a:lnTo>
                  <a:lnTo>
                    <a:pt x="969" y="185"/>
                  </a:lnTo>
                  <a:lnTo>
                    <a:pt x="954" y="169"/>
                  </a:lnTo>
                  <a:lnTo>
                    <a:pt x="954" y="185"/>
                  </a:lnTo>
                  <a:lnTo>
                    <a:pt x="939" y="200"/>
                  </a:lnTo>
                  <a:lnTo>
                    <a:pt x="909" y="231"/>
                  </a:lnTo>
                  <a:lnTo>
                    <a:pt x="895" y="215"/>
                  </a:lnTo>
                  <a:lnTo>
                    <a:pt x="880" y="231"/>
                  </a:lnTo>
                  <a:lnTo>
                    <a:pt x="865" y="215"/>
                  </a:lnTo>
                  <a:lnTo>
                    <a:pt x="835" y="231"/>
                  </a:lnTo>
                  <a:lnTo>
                    <a:pt x="805" y="261"/>
                  </a:lnTo>
                  <a:lnTo>
                    <a:pt x="805" y="246"/>
                  </a:lnTo>
                  <a:lnTo>
                    <a:pt x="775" y="246"/>
                  </a:lnTo>
                  <a:lnTo>
                    <a:pt x="775" y="261"/>
                  </a:lnTo>
                  <a:lnTo>
                    <a:pt x="760" y="277"/>
                  </a:lnTo>
                  <a:lnTo>
                    <a:pt x="731" y="292"/>
                  </a:lnTo>
                  <a:lnTo>
                    <a:pt x="701" y="292"/>
                  </a:lnTo>
                  <a:lnTo>
                    <a:pt x="701" y="277"/>
                  </a:lnTo>
                  <a:lnTo>
                    <a:pt x="716" y="246"/>
                  </a:lnTo>
                  <a:lnTo>
                    <a:pt x="716" y="231"/>
                  </a:lnTo>
                  <a:lnTo>
                    <a:pt x="701" y="231"/>
                  </a:lnTo>
                  <a:lnTo>
                    <a:pt x="716" y="200"/>
                  </a:lnTo>
                  <a:lnTo>
                    <a:pt x="716" y="185"/>
                  </a:lnTo>
                  <a:lnTo>
                    <a:pt x="701" y="185"/>
                  </a:lnTo>
                  <a:lnTo>
                    <a:pt x="671" y="200"/>
                  </a:lnTo>
                  <a:lnTo>
                    <a:pt x="656" y="215"/>
                  </a:lnTo>
                  <a:lnTo>
                    <a:pt x="656" y="231"/>
                  </a:lnTo>
                  <a:lnTo>
                    <a:pt x="626" y="277"/>
                  </a:lnTo>
                  <a:lnTo>
                    <a:pt x="626" y="261"/>
                  </a:lnTo>
                  <a:lnTo>
                    <a:pt x="626" y="231"/>
                  </a:lnTo>
                  <a:lnTo>
                    <a:pt x="656" y="200"/>
                  </a:lnTo>
                  <a:lnTo>
                    <a:pt x="641" y="200"/>
                  </a:lnTo>
                  <a:lnTo>
                    <a:pt x="671" y="169"/>
                  </a:lnTo>
                  <a:lnTo>
                    <a:pt x="716" y="169"/>
                  </a:lnTo>
                  <a:lnTo>
                    <a:pt x="716" y="154"/>
                  </a:lnTo>
                  <a:lnTo>
                    <a:pt x="656" y="138"/>
                  </a:lnTo>
                  <a:lnTo>
                    <a:pt x="626" y="138"/>
                  </a:lnTo>
                  <a:lnTo>
                    <a:pt x="581" y="138"/>
                  </a:lnTo>
                  <a:lnTo>
                    <a:pt x="626" y="108"/>
                  </a:lnTo>
                  <a:lnTo>
                    <a:pt x="537" y="77"/>
                  </a:lnTo>
                  <a:lnTo>
                    <a:pt x="507" y="77"/>
                  </a:lnTo>
                  <a:lnTo>
                    <a:pt x="373" y="46"/>
                  </a:lnTo>
                  <a:lnTo>
                    <a:pt x="224" y="31"/>
                  </a:lnTo>
                  <a:lnTo>
                    <a:pt x="119" y="0"/>
                  </a:lnTo>
                  <a:lnTo>
                    <a:pt x="104" y="31"/>
                  </a:lnTo>
                  <a:lnTo>
                    <a:pt x="104" y="46"/>
                  </a:lnTo>
                  <a:lnTo>
                    <a:pt x="104" y="31"/>
                  </a:lnTo>
                  <a:lnTo>
                    <a:pt x="75" y="15"/>
                  </a:lnTo>
                  <a:lnTo>
                    <a:pt x="60" y="77"/>
                  </a:lnTo>
                  <a:lnTo>
                    <a:pt x="30" y="154"/>
                  </a:lnTo>
                  <a:lnTo>
                    <a:pt x="15" y="215"/>
                  </a:lnTo>
                  <a:lnTo>
                    <a:pt x="0" y="231"/>
                  </a:lnTo>
                  <a:lnTo>
                    <a:pt x="15" y="338"/>
                  </a:lnTo>
                  <a:lnTo>
                    <a:pt x="30" y="385"/>
                  </a:lnTo>
                  <a:lnTo>
                    <a:pt x="60" y="400"/>
                  </a:lnTo>
                  <a:lnTo>
                    <a:pt x="60" y="4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1" name="Freeform 386"/>
            <p:cNvSpPr>
              <a:spLocks/>
            </p:cNvSpPr>
            <p:nvPr/>
          </p:nvSpPr>
          <p:spPr bwMode="auto">
            <a:xfrm>
              <a:off x="5957" y="970"/>
              <a:ext cx="270" cy="227"/>
            </a:xfrm>
            <a:custGeom>
              <a:avLst/>
              <a:gdLst>
                <a:gd name="T0" fmla="*/ 17 w 627"/>
                <a:gd name="T1" fmla="*/ 12 h 600"/>
                <a:gd name="T2" fmla="*/ 17 w 627"/>
                <a:gd name="T3" fmla="*/ 12 h 600"/>
                <a:gd name="T4" fmla="*/ 17 w 627"/>
                <a:gd name="T5" fmla="*/ 11 h 600"/>
                <a:gd name="T6" fmla="*/ 17 w 627"/>
                <a:gd name="T7" fmla="*/ 10 h 600"/>
                <a:gd name="T8" fmla="*/ 16 w 627"/>
                <a:gd name="T9" fmla="*/ 9 h 600"/>
                <a:gd name="T10" fmla="*/ 16 w 627"/>
                <a:gd name="T11" fmla="*/ 9 h 600"/>
                <a:gd name="T12" fmla="*/ 15 w 627"/>
                <a:gd name="T13" fmla="*/ 8 h 600"/>
                <a:gd name="T14" fmla="*/ 15 w 627"/>
                <a:gd name="T15" fmla="*/ 8 h 600"/>
                <a:gd name="T16" fmla="*/ 15 w 627"/>
                <a:gd name="T17" fmla="*/ 8 h 600"/>
                <a:gd name="T18" fmla="*/ 22 w 627"/>
                <a:gd name="T19" fmla="*/ 2 h 600"/>
                <a:gd name="T20" fmla="*/ 20 w 627"/>
                <a:gd name="T21" fmla="*/ 1 h 600"/>
                <a:gd name="T22" fmla="*/ 19 w 627"/>
                <a:gd name="T23" fmla="*/ 1 h 600"/>
                <a:gd name="T24" fmla="*/ 17 w 627"/>
                <a:gd name="T25" fmla="*/ 1 h 600"/>
                <a:gd name="T26" fmla="*/ 16 w 627"/>
                <a:gd name="T27" fmla="*/ 1 h 600"/>
                <a:gd name="T28" fmla="*/ 16 w 627"/>
                <a:gd name="T29" fmla="*/ 1 h 600"/>
                <a:gd name="T30" fmla="*/ 14 w 627"/>
                <a:gd name="T31" fmla="*/ 0 h 600"/>
                <a:gd name="T32" fmla="*/ 13 w 627"/>
                <a:gd name="T33" fmla="*/ 0 h 600"/>
                <a:gd name="T34" fmla="*/ 13 w 627"/>
                <a:gd name="T35" fmla="*/ 2 h 600"/>
                <a:gd name="T36" fmla="*/ 12 w 627"/>
                <a:gd name="T37" fmla="*/ 2 h 600"/>
                <a:gd name="T38" fmla="*/ 12 w 627"/>
                <a:gd name="T39" fmla="*/ 2 h 600"/>
                <a:gd name="T40" fmla="*/ 11 w 627"/>
                <a:gd name="T41" fmla="*/ 1 h 600"/>
                <a:gd name="T42" fmla="*/ 9 w 627"/>
                <a:gd name="T43" fmla="*/ 2 h 600"/>
                <a:gd name="T44" fmla="*/ 10 w 627"/>
                <a:gd name="T45" fmla="*/ 2 h 600"/>
                <a:gd name="T46" fmla="*/ 11 w 627"/>
                <a:gd name="T47" fmla="*/ 3 h 600"/>
                <a:gd name="T48" fmla="*/ 9 w 627"/>
                <a:gd name="T49" fmla="*/ 3 h 600"/>
                <a:gd name="T50" fmla="*/ 7 w 627"/>
                <a:gd name="T51" fmla="*/ 3 h 600"/>
                <a:gd name="T52" fmla="*/ 5 w 627"/>
                <a:gd name="T53" fmla="*/ 3 h 600"/>
                <a:gd name="T54" fmla="*/ 5 w 627"/>
                <a:gd name="T55" fmla="*/ 5 h 600"/>
                <a:gd name="T56" fmla="*/ 6 w 627"/>
                <a:gd name="T57" fmla="*/ 5 h 600"/>
                <a:gd name="T58" fmla="*/ 4 w 627"/>
                <a:gd name="T59" fmla="*/ 5 h 600"/>
                <a:gd name="T60" fmla="*/ 3 w 627"/>
                <a:gd name="T61" fmla="*/ 6 h 600"/>
                <a:gd name="T62" fmla="*/ 0 w 627"/>
                <a:gd name="T63" fmla="*/ 6 h 600"/>
                <a:gd name="T64" fmla="*/ 1 w 627"/>
                <a:gd name="T65" fmla="*/ 6 h 600"/>
                <a:gd name="T66" fmla="*/ 4 w 627"/>
                <a:gd name="T67" fmla="*/ 6 h 600"/>
                <a:gd name="T68" fmla="*/ 8 w 627"/>
                <a:gd name="T69" fmla="*/ 6 h 600"/>
                <a:gd name="T70" fmla="*/ 8 w 627"/>
                <a:gd name="T71" fmla="*/ 5 h 600"/>
                <a:gd name="T72" fmla="*/ 11 w 627"/>
                <a:gd name="T73" fmla="*/ 5 h 600"/>
                <a:gd name="T74" fmla="*/ 11 w 627"/>
                <a:gd name="T75" fmla="*/ 6 h 600"/>
                <a:gd name="T76" fmla="*/ 9 w 627"/>
                <a:gd name="T77" fmla="*/ 6 h 600"/>
                <a:gd name="T78" fmla="*/ 9 w 627"/>
                <a:gd name="T79" fmla="*/ 6 h 600"/>
                <a:gd name="T80" fmla="*/ 11 w 627"/>
                <a:gd name="T81" fmla="*/ 6 h 600"/>
                <a:gd name="T82" fmla="*/ 12 w 627"/>
                <a:gd name="T83" fmla="*/ 6 h 600"/>
                <a:gd name="T84" fmla="*/ 13 w 627"/>
                <a:gd name="T85" fmla="*/ 8 h 600"/>
                <a:gd name="T86" fmla="*/ 14 w 627"/>
                <a:gd name="T87" fmla="*/ 8 h 600"/>
                <a:gd name="T88" fmla="*/ 15 w 627"/>
                <a:gd name="T89" fmla="*/ 9 h 600"/>
                <a:gd name="T90" fmla="*/ 16 w 627"/>
                <a:gd name="T91" fmla="*/ 12 h 600"/>
                <a:gd name="T92" fmla="*/ 17 w 627"/>
                <a:gd name="T93" fmla="*/ 12 h 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27" h="600">
                  <a:moveTo>
                    <a:pt x="507" y="599"/>
                  </a:moveTo>
                  <a:lnTo>
                    <a:pt x="507" y="584"/>
                  </a:lnTo>
                  <a:lnTo>
                    <a:pt x="492" y="553"/>
                  </a:lnTo>
                  <a:lnTo>
                    <a:pt x="492" y="491"/>
                  </a:lnTo>
                  <a:lnTo>
                    <a:pt x="477" y="461"/>
                  </a:lnTo>
                  <a:lnTo>
                    <a:pt x="447" y="461"/>
                  </a:lnTo>
                  <a:lnTo>
                    <a:pt x="432" y="415"/>
                  </a:lnTo>
                  <a:lnTo>
                    <a:pt x="417" y="415"/>
                  </a:lnTo>
                  <a:lnTo>
                    <a:pt x="417" y="399"/>
                  </a:lnTo>
                  <a:lnTo>
                    <a:pt x="626" y="92"/>
                  </a:lnTo>
                  <a:lnTo>
                    <a:pt x="581" y="61"/>
                  </a:lnTo>
                  <a:lnTo>
                    <a:pt x="537" y="31"/>
                  </a:lnTo>
                  <a:lnTo>
                    <a:pt x="507" y="46"/>
                  </a:lnTo>
                  <a:lnTo>
                    <a:pt x="477" y="46"/>
                  </a:lnTo>
                  <a:lnTo>
                    <a:pt x="447" y="46"/>
                  </a:lnTo>
                  <a:lnTo>
                    <a:pt x="402" y="0"/>
                  </a:lnTo>
                  <a:lnTo>
                    <a:pt x="388" y="0"/>
                  </a:lnTo>
                  <a:lnTo>
                    <a:pt x="388" y="92"/>
                  </a:lnTo>
                  <a:lnTo>
                    <a:pt x="358" y="108"/>
                  </a:lnTo>
                  <a:lnTo>
                    <a:pt x="343" y="108"/>
                  </a:lnTo>
                  <a:lnTo>
                    <a:pt x="313" y="61"/>
                  </a:lnTo>
                  <a:lnTo>
                    <a:pt x="253" y="77"/>
                  </a:lnTo>
                  <a:lnTo>
                    <a:pt x="283" y="108"/>
                  </a:lnTo>
                  <a:lnTo>
                    <a:pt x="313" y="138"/>
                  </a:lnTo>
                  <a:lnTo>
                    <a:pt x="268" y="169"/>
                  </a:lnTo>
                  <a:lnTo>
                    <a:pt x="209" y="138"/>
                  </a:lnTo>
                  <a:lnTo>
                    <a:pt x="134" y="154"/>
                  </a:lnTo>
                  <a:lnTo>
                    <a:pt x="134" y="215"/>
                  </a:lnTo>
                  <a:lnTo>
                    <a:pt x="164" y="246"/>
                  </a:lnTo>
                  <a:lnTo>
                    <a:pt x="119" y="261"/>
                  </a:lnTo>
                  <a:lnTo>
                    <a:pt x="75" y="276"/>
                  </a:lnTo>
                  <a:lnTo>
                    <a:pt x="0" y="323"/>
                  </a:lnTo>
                  <a:lnTo>
                    <a:pt x="45" y="323"/>
                  </a:lnTo>
                  <a:lnTo>
                    <a:pt x="119" y="323"/>
                  </a:lnTo>
                  <a:lnTo>
                    <a:pt x="224" y="292"/>
                  </a:lnTo>
                  <a:lnTo>
                    <a:pt x="224" y="261"/>
                  </a:lnTo>
                  <a:lnTo>
                    <a:pt x="328" y="261"/>
                  </a:lnTo>
                  <a:lnTo>
                    <a:pt x="328" y="292"/>
                  </a:lnTo>
                  <a:lnTo>
                    <a:pt x="253" y="292"/>
                  </a:lnTo>
                  <a:lnTo>
                    <a:pt x="253" y="307"/>
                  </a:lnTo>
                  <a:lnTo>
                    <a:pt x="313" y="323"/>
                  </a:lnTo>
                  <a:lnTo>
                    <a:pt x="343" y="323"/>
                  </a:lnTo>
                  <a:lnTo>
                    <a:pt x="388" y="369"/>
                  </a:lnTo>
                  <a:lnTo>
                    <a:pt x="402" y="415"/>
                  </a:lnTo>
                  <a:lnTo>
                    <a:pt x="432" y="461"/>
                  </a:lnTo>
                  <a:lnTo>
                    <a:pt x="462" y="599"/>
                  </a:lnTo>
                  <a:lnTo>
                    <a:pt x="507" y="59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2" name="Freeform 387"/>
            <p:cNvSpPr>
              <a:spLocks/>
            </p:cNvSpPr>
            <p:nvPr/>
          </p:nvSpPr>
          <p:spPr bwMode="auto">
            <a:xfrm>
              <a:off x="6259" y="1080"/>
              <a:ext cx="39" cy="24"/>
            </a:xfrm>
            <a:custGeom>
              <a:avLst/>
              <a:gdLst>
                <a:gd name="T0" fmla="*/ 0 w 90"/>
                <a:gd name="T1" fmla="*/ 0 h 62"/>
                <a:gd name="T2" fmla="*/ 3 w 90"/>
                <a:gd name="T3" fmla="*/ 0 h 62"/>
                <a:gd name="T4" fmla="*/ 3 w 90"/>
                <a:gd name="T5" fmla="*/ 0 h 62"/>
                <a:gd name="T6" fmla="*/ 3 w 90"/>
                <a:gd name="T7" fmla="*/ 1 h 62"/>
                <a:gd name="T8" fmla="*/ 3 w 90"/>
                <a:gd name="T9" fmla="*/ 1 h 62"/>
                <a:gd name="T10" fmla="*/ 2 w 90"/>
                <a:gd name="T11" fmla="*/ 1 h 62"/>
                <a:gd name="T12" fmla="*/ 2 w 90"/>
                <a:gd name="T13" fmla="*/ 1 h 62"/>
                <a:gd name="T14" fmla="*/ 1 w 90"/>
                <a:gd name="T15" fmla="*/ 1 h 62"/>
                <a:gd name="T16" fmla="*/ 0 w 90"/>
                <a:gd name="T17" fmla="*/ 1 h 62"/>
                <a:gd name="T18" fmla="*/ 0 w 90"/>
                <a:gd name="T19" fmla="*/ 1 h 62"/>
                <a:gd name="T20" fmla="*/ 1 w 90"/>
                <a:gd name="T21" fmla="*/ 1 h 62"/>
                <a:gd name="T22" fmla="*/ 0 w 90"/>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0" h="62">
                  <a:moveTo>
                    <a:pt x="15" y="0"/>
                  </a:moveTo>
                  <a:lnTo>
                    <a:pt x="89" y="0"/>
                  </a:lnTo>
                  <a:lnTo>
                    <a:pt x="74" y="15"/>
                  </a:lnTo>
                  <a:lnTo>
                    <a:pt x="89" y="46"/>
                  </a:lnTo>
                  <a:lnTo>
                    <a:pt x="74" y="61"/>
                  </a:lnTo>
                  <a:lnTo>
                    <a:pt x="59" y="46"/>
                  </a:lnTo>
                  <a:lnTo>
                    <a:pt x="45" y="61"/>
                  </a:lnTo>
                  <a:lnTo>
                    <a:pt x="30" y="46"/>
                  </a:lnTo>
                  <a:lnTo>
                    <a:pt x="15" y="61"/>
                  </a:lnTo>
                  <a:lnTo>
                    <a:pt x="0" y="46"/>
                  </a:lnTo>
                  <a:lnTo>
                    <a:pt x="30" y="31"/>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3" name="Freeform 388"/>
            <p:cNvSpPr>
              <a:spLocks/>
            </p:cNvSpPr>
            <p:nvPr/>
          </p:nvSpPr>
          <p:spPr bwMode="auto">
            <a:xfrm>
              <a:off x="6271" y="1127"/>
              <a:ext cx="33" cy="24"/>
            </a:xfrm>
            <a:custGeom>
              <a:avLst/>
              <a:gdLst>
                <a:gd name="T0" fmla="*/ 1 w 77"/>
                <a:gd name="T1" fmla="*/ 0 h 63"/>
                <a:gd name="T2" fmla="*/ 2 w 77"/>
                <a:gd name="T3" fmla="*/ 0 h 63"/>
                <a:gd name="T4" fmla="*/ 2 w 77"/>
                <a:gd name="T5" fmla="*/ 1 h 63"/>
                <a:gd name="T6" fmla="*/ 2 w 77"/>
                <a:gd name="T7" fmla="*/ 0 h 63"/>
                <a:gd name="T8" fmla="*/ 3 w 77"/>
                <a:gd name="T9" fmla="*/ 1 h 63"/>
                <a:gd name="T10" fmla="*/ 2 w 77"/>
                <a:gd name="T11" fmla="*/ 1 h 63"/>
                <a:gd name="T12" fmla="*/ 1 w 77"/>
                <a:gd name="T13" fmla="*/ 1 h 63"/>
                <a:gd name="T14" fmla="*/ 0 w 77"/>
                <a:gd name="T15" fmla="*/ 1 h 63"/>
                <a:gd name="T16" fmla="*/ 0 w 77"/>
                <a:gd name="T17" fmla="*/ 1 h 63"/>
                <a:gd name="T18" fmla="*/ 1 w 77"/>
                <a:gd name="T19" fmla="*/ 1 h 63"/>
                <a:gd name="T20" fmla="*/ 1 w 77"/>
                <a:gd name="T21" fmla="*/ 0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7" h="63">
                  <a:moveTo>
                    <a:pt x="30" y="0"/>
                  </a:moveTo>
                  <a:lnTo>
                    <a:pt x="46" y="16"/>
                  </a:lnTo>
                  <a:lnTo>
                    <a:pt x="46" y="31"/>
                  </a:lnTo>
                  <a:lnTo>
                    <a:pt x="61" y="16"/>
                  </a:lnTo>
                  <a:lnTo>
                    <a:pt x="76" y="47"/>
                  </a:lnTo>
                  <a:lnTo>
                    <a:pt x="46" y="47"/>
                  </a:lnTo>
                  <a:lnTo>
                    <a:pt x="30" y="62"/>
                  </a:lnTo>
                  <a:lnTo>
                    <a:pt x="0" y="47"/>
                  </a:lnTo>
                  <a:lnTo>
                    <a:pt x="15" y="31"/>
                  </a:lnTo>
                  <a:lnTo>
                    <a:pt x="30" y="31"/>
                  </a:lnTo>
                  <a:lnTo>
                    <a:pt x="3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4" name="Freeform 389"/>
            <p:cNvSpPr>
              <a:spLocks/>
            </p:cNvSpPr>
            <p:nvPr/>
          </p:nvSpPr>
          <p:spPr bwMode="auto">
            <a:xfrm>
              <a:off x="6316" y="1254"/>
              <a:ext cx="7" cy="19"/>
            </a:xfrm>
            <a:custGeom>
              <a:avLst/>
              <a:gdLst>
                <a:gd name="T0" fmla="*/ 0 w 17"/>
                <a:gd name="T1" fmla="*/ 0 h 47"/>
                <a:gd name="T2" fmla="*/ 0 w 17"/>
                <a:gd name="T3" fmla="*/ 0 h 47"/>
                <a:gd name="T4" fmla="*/ 0 w 17"/>
                <a:gd name="T5" fmla="*/ 1 h 47"/>
                <a:gd name="T6" fmla="*/ 0 w 17"/>
                <a:gd name="T7" fmla="*/ 0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47">
                  <a:moveTo>
                    <a:pt x="0" y="0"/>
                  </a:moveTo>
                  <a:lnTo>
                    <a:pt x="16" y="0"/>
                  </a:lnTo>
                  <a:lnTo>
                    <a:pt x="16" y="4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5" name="Freeform 390"/>
            <p:cNvSpPr>
              <a:spLocks/>
            </p:cNvSpPr>
            <p:nvPr/>
          </p:nvSpPr>
          <p:spPr bwMode="auto">
            <a:xfrm>
              <a:off x="6373" y="1644"/>
              <a:ext cx="27" cy="24"/>
            </a:xfrm>
            <a:custGeom>
              <a:avLst/>
              <a:gdLst>
                <a:gd name="T0" fmla="*/ 2 w 61"/>
                <a:gd name="T1" fmla="*/ 1 h 62"/>
                <a:gd name="T2" fmla="*/ 2 w 61"/>
                <a:gd name="T3" fmla="*/ 0 h 62"/>
                <a:gd name="T4" fmla="*/ 0 w 61"/>
                <a:gd name="T5" fmla="*/ 0 h 62"/>
                <a:gd name="T6" fmla="*/ 0 w 61"/>
                <a:gd name="T7" fmla="*/ 0 h 62"/>
                <a:gd name="T8" fmla="*/ 0 w 61"/>
                <a:gd name="T9" fmla="*/ 0 h 62"/>
                <a:gd name="T10" fmla="*/ 0 w 61"/>
                <a:gd name="T11" fmla="*/ 1 h 62"/>
                <a:gd name="T12" fmla="*/ 1 w 61"/>
                <a:gd name="T13" fmla="*/ 1 h 62"/>
                <a:gd name="T14" fmla="*/ 1 w 61"/>
                <a:gd name="T15" fmla="*/ 1 h 62"/>
                <a:gd name="T16" fmla="*/ 2 w 61"/>
                <a:gd name="T17" fmla="*/ 1 h 62"/>
                <a:gd name="T18" fmla="*/ 2 w 61"/>
                <a:gd name="T19" fmla="*/ 1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62">
                  <a:moveTo>
                    <a:pt x="60" y="31"/>
                  </a:moveTo>
                  <a:lnTo>
                    <a:pt x="45" y="0"/>
                  </a:lnTo>
                  <a:lnTo>
                    <a:pt x="15" y="0"/>
                  </a:lnTo>
                  <a:lnTo>
                    <a:pt x="0" y="0"/>
                  </a:lnTo>
                  <a:lnTo>
                    <a:pt x="0" y="15"/>
                  </a:lnTo>
                  <a:lnTo>
                    <a:pt x="15" y="31"/>
                  </a:lnTo>
                  <a:lnTo>
                    <a:pt x="30" y="31"/>
                  </a:lnTo>
                  <a:lnTo>
                    <a:pt x="30" y="46"/>
                  </a:lnTo>
                  <a:lnTo>
                    <a:pt x="45" y="61"/>
                  </a:lnTo>
                  <a:lnTo>
                    <a:pt x="6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6" name="Freeform 391"/>
            <p:cNvSpPr>
              <a:spLocks/>
            </p:cNvSpPr>
            <p:nvPr/>
          </p:nvSpPr>
          <p:spPr bwMode="auto">
            <a:xfrm>
              <a:off x="6361" y="1615"/>
              <a:ext cx="33" cy="30"/>
            </a:xfrm>
            <a:custGeom>
              <a:avLst/>
              <a:gdLst>
                <a:gd name="T0" fmla="*/ 1 w 76"/>
                <a:gd name="T1" fmla="*/ 2 h 78"/>
                <a:gd name="T2" fmla="*/ 2 w 76"/>
                <a:gd name="T3" fmla="*/ 2 h 78"/>
                <a:gd name="T4" fmla="*/ 3 w 76"/>
                <a:gd name="T5" fmla="*/ 2 h 78"/>
                <a:gd name="T6" fmla="*/ 3 w 76"/>
                <a:gd name="T7" fmla="*/ 0 h 78"/>
                <a:gd name="T8" fmla="*/ 1 w 76"/>
                <a:gd name="T9" fmla="*/ 0 h 78"/>
                <a:gd name="T10" fmla="*/ 0 w 76"/>
                <a:gd name="T11" fmla="*/ 1 h 78"/>
                <a:gd name="T12" fmla="*/ 0 w 76"/>
                <a:gd name="T13" fmla="*/ 1 h 78"/>
                <a:gd name="T14" fmla="*/ 1 w 76"/>
                <a:gd name="T15" fmla="*/ 2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6" h="78">
                  <a:moveTo>
                    <a:pt x="30" y="77"/>
                  </a:moveTo>
                  <a:lnTo>
                    <a:pt x="45" y="77"/>
                  </a:lnTo>
                  <a:lnTo>
                    <a:pt x="75" y="77"/>
                  </a:lnTo>
                  <a:lnTo>
                    <a:pt x="75" y="0"/>
                  </a:lnTo>
                  <a:lnTo>
                    <a:pt x="30" y="15"/>
                  </a:lnTo>
                  <a:lnTo>
                    <a:pt x="15" y="31"/>
                  </a:lnTo>
                  <a:lnTo>
                    <a:pt x="0" y="31"/>
                  </a:lnTo>
                  <a:lnTo>
                    <a:pt x="30"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7" name="Freeform 392"/>
            <p:cNvSpPr>
              <a:spLocks/>
            </p:cNvSpPr>
            <p:nvPr/>
          </p:nvSpPr>
          <p:spPr bwMode="auto">
            <a:xfrm>
              <a:off x="6348" y="1603"/>
              <a:ext cx="46" cy="24"/>
            </a:xfrm>
            <a:custGeom>
              <a:avLst/>
              <a:gdLst>
                <a:gd name="T0" fmla="*/ 4 w 106"/>
                <a:gd name="T1" fmla="*/ 1 h 63"/>
                <a:gd name="T2" fmla="*/ 3 w 106"/>
                <a:gd name="T3" fmla="*/ 0 h 63"/>
                <a:gd name="T4" fmla="*/ 1 w 106"/>
                <a:gd name="T5" fmla="*/ 0 h 63"/>
                <a:gd name="T6" fmla="*/ 0 w 106"/>
                <a:gd name="T7" fmla="*/ 1 h 63"/>
                <a:gd name="T8" fmla="*/ 1 w 106"/>
                <a:gd name="T9" fmla="*/ 1 h 63"/>
                <a:gd name="T10" fmla="*/ 1 w 106"/>
                <a:gd name="T11" fmla="*/ 1 h 63"/>
                <a:gd name="T12" fmla="*/ 2 w 106"/>
                <a:gd name="T13" fmla="*/ 1 h 63"/>
                <a:gd name="T14" fmla="*/ 2 w 106"/>
                <a:gd name="T15" fmla="*/ 1 h 63"/>
                <a:gd name="T16" fmla="*/ 4 w 106"/>
                <a:gd name="T17" fmla="*/ 1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6" h="63">
                  <a:moveTo>
                    <a:pt x="105" y="31"/>
                  </a:moveTo>
                  <a:lnTo>
                    <a:pt x="90" y="16"/>
                  </a:lnTo>
                  <a:lnTo>
                    <a:pt x="30" y="0"/>
                  </a:lnTo>
                  <a:lnTo>
                    <a:pt x="0" y="31"/>
                  </a:lnTo>
                  <a:lnTo>
                    <a:pt x="30" y="47"/>
                  </a:lnTo>
                  <a:lnTo>
                    <a:pt x="30" y="62"/>
                  </a:lnTo>
                  <a:lnTo>
                    <a:pt x="45" y="62"/>
                  </a:lnTo>
                  <a:lnTo>
                    <a:pt x="60" y="47"/>
                  </a:lnTo>
                  <a:lnTo>
                    <a:pt x="105"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8" name="Freeform 393"/>
            <p:cNvSpPr>
              <a:spLocks/>
            </p:cNvSpPr>
            <p:nvPr/>
          </p:nvSpPr>
          <p:spPr bwMode="auto">
            <a:xfrm>
              <a:off x="6342" y="1615"/>
              <a:ext cx="19" cy="12"/>
            </a:xfrm>
            <a:custGeom>
              <a:avLst/>
              <a:gdLst>
                <a:gd name="T0" fmla="*/ 1 w 46"/>
                <a:gd name="T1" fmla="*/ 1 h 32"/>
                <a:gd name="T2" fmla="*/ 1 w 46"/>
                <a:gd name="T3" fmla="*/ 0 h 32"/>
                <a:gd name="T4" fmla="*/ 0 w 46"/>
                <a:gd name="T5" fmla="*/ 0 h 32"/>
                <a:gd name="T6" fmla="*/ 0 w 46"/>
                <a:gd name="T7" fmla="*/ 0 h 32"/>
                <a:gd name="T8" fmla="*/ 1 w 46"/>
                <a:gd name="T9" fmla="*/ 1 h 32"/>
                <a:gd name="T10" fmla="*/ 1 w 46"/>
                <a:gd name="T11" fmla="*/ 1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32">
                  <a:moveTo>
                    <a:pt x="45" y="31"/>
                  </a:moveTo>
                  <a:lnTo>
                    <a:pt x="45" y="16"/>
                  </a:lnTo>
                  <a:lnTo>
                    <a:pt x="15" y="0"/>
                  </a:lnTo>
                  <a:lnTo>
                    <a:pt x="0" y="16"/>
                  </a:lnTo>
                  <a:lnTo>
                    <a:pt x="30" y="31"/>
                  </a:lnTo>
                  <a:lnTo>
                    <a:pt x="45"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69" name="Freeform 394"/>
            <p:cNvSpPr>
              <a:spLocks/>
            </p:cNvSpPr>
            <p:nvPr/>
          </p:nvSpPr>
          <p:spPr bwMode="auto">
            <a:xfrm>
              <a:off x="6329" y="1586"/>
              <a:ext cx="32" cy="35"/>
            </a:xfrm>
            <a:custGeom>
              <a:avLst/>
              <a:gdLst>
                <a:gd name="T0" fmla="*/ 1 w 75"/>
                <a:gd name="T1" fmla="*/ 2 h 93"/>
                <a:gd name="T2" fmla="*/ 1 w 75"/>
                <a:gd name="T3" fmla="*/ 2 h 93"/>
                <a:gd name="T4" fmla="*/ 3 w 75"/>
                <a:gd name="T5" fmla="*/ 1 h 93"/>
                <a:gd name="T6" fmla="*/ 3 w 75"/>
                <a:gd name="T7" fmla="*/ 1 h 93"/>
                <a:gd name="T8" fmla="*/ 2 w 75"/>
                <a:gd name="T9" fmla="*/ 1 h 93"/>
                <a:gd name="T10" fmla="*/ 2 w 75"/>
                <a:gd name="T11" fmla="*/ 0 h 93"/>
                <a:gd name="T12" fmla="*/ 1 w 75"/>
                <a:gd name="T13" fmla="*/ 0 h 93"/>
                <a:gd name="T14" fmla="*/ 0 w 75"/>
                <a:gd name="T15" fmla="*/ 0 h 93"/>
                <a:gd name="T16" fmla="*/ 1 w 75"/>
                <a:gd name="T17" fmla="*/ 1 h 93"/>
                <a:gd name="T18" fmla="*/ 0 w 75"/>
                <a:gd name="T19" fmla="*/ 1 h 93"/>
                <a:gd name="T20" fmla="*/ 0 w 75"/>
                <a:gd name="T21" fmla="*/ 1 h 93"/>
                <a:gd name="T22" fmla="*/ 0 w 75"/>
                <a:gd name="T23" fmla="*/ 2 h 93"/>
                <a:gd name="T24" fmla="*/ 1 w 75"/>
                <a:gd name="T25" fmla="*/ 2 h 9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5" h="93">
                  <a:moveTo>
                    <a:pt x="30" y="92"/>
                  </a:moveTo>
                  <a:lnTo>
                    <a:pt x="44" y="77"/>
                  </a:lnTo>
                  <a:lnTo>
                    <a:pt x="74" y="46"/>
                  </a:lnTo>
                  <a:lnTo>
                    <a:pt x="74" y="31"/>
                  </a:lnTo>
                  <a:lnTo>
                    <a:pt x="59" y="31"/>
                  </a:lnTo>
                  <a:lnTo>
                    <a:pt x="59" y="0"/>
                  </a:lnTo>
                  <a:lnTo>
                    <a:pt x="30" y="0"/>
                  </a:lnTo>
                  <a:lnTo>
                    <a:pt x="15" y="15"/>
                  </a:lnTo>
                  <a:lnTo>
                    <a:pt x="30" y="31"/>
                  </a:lnTo>
                  <a:lnTo>
                    <a:pt x="15" y="31"/>
                  </a:lnTo>
                  <a:lnTo>
                    <a:pt x="0" y="61"/>
                  </a:lnTo>
                  <a:lnTo>
                    <a:pt x="0" y="77"/>
                  </a:lnTo>
                  <a:lnTo>
                    <a:pt x="30" y="9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0" name="Freeform 395"/>
            <p:cNvSpPr>
              <a:spLocks/>
            </p:cNvSpPr>
            <p:nvPr/>
          </p:nvSpPr>
          <p:spPr bwMode="auto">
            <a:xfrm>
              <a:off x="6355" y="1586"/>
              <a:ext cx="7" cy="12"/>
            </a:xfrm>
            <a:custGeom>
              <a:avLst/>
              <a:gdLst>
                <a:gd name="T0" fmla="*/ 0 w 17"/>
                <a:gd name="T1" fmla="*/ 0 h 32"/>
                <a:gd name="T2" fmla="*/ 0 w 17"/>
                <a:gd name="T3" fmla="*/ 1 h 32"/>
                <a:gd name="T4" fmla="*/ 0 w 17"/>
                <a:gd name="T5" fmla="*/ 1 h 32"/>
                <a:gd name="T6" fmla="*/ 0 w 17"/>
                <a:gd name="T7" fmla="*/ 0 h 32"/>
                <a:gd name="T8" fmla="*/ 0 w 17"/>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2">
                  <a:moveTo>
                    <a:pt x="0" y="0"/>
                  </a:moveTo>
                  <a:lnTo>
                    <a:pt x="0" y="31"/>
                  </a:lnTo>
                  <a:lnTo>
                    <a:pt x="16" y="31"/>
                  </a:lnTo>
                  <a:lnTo>
                    <a:pt x="16"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1" name="Freeform 396"/>
            <p:cNvSpPr>
              <a:spLocks/>
            </p:cNvSpPr>
            <p:nvPr/>
          </p:nvSpPr>
          <p:spPr bwMode="auto">
            <a:xfrm>
              <a:off x="6162" y="1441"/>
              <a:ext cx="212" cy="175"/>
            </a:xfrm>
            <a:custGeom>
              <a:avLst/>
              <a:gdLst>
                <a:gd name="T0" fmla="*/ 13 w 492"/>
                <a:gd name="T1" fmla="*/ 9 h 462"/>
                <a:gd name="T2" fmla="*/ 13 w 492"/>
                <a:gd name="T3" fmla="*/ 9 h 462"/>
                <a:gd name="T4" fmla="*/ 14 w 492"/>
                <a:gd name="T5" fmla="*/ 8 h 462"/>
                <a:gd name="T6" fmla="*/ 15 w 492"/>
                <a:gd name="T7" fmla="*/ 8 h 462"/>
                <a:gd name="T8" fmla="*/ 14 w 492"/>
                <a:gd name="T9" fmla="*/ 8 h 462"/>
                <a:gd name="T10" fmla="*/ 15 w 492"/>
                <a:gd name="T11" fmla="*/ 8 h 462"/>
                <a:gd name="T12" fmla="*/ 16 w 492"/>
                <a:gd name="T13" fmla="*/ 8 h 462"/>
                <a:gd name="T14" fmla="*/ 16 w 492"/>
                <a:gd name="T15" fmla="*/ 8 h 462"/>
                <a:gd name="T16" fmla="*/ 16 w 492"/>
                <a:gd name="T17" fmla="*/ 7 h 462"/>
                <a:gd name="T18" fmla="*/ 17 w 492"/>
                <a:gd name="T19" fmla="*/ 6 h 462"/>
                <a:gd name="T20" fmla="*/ 15 w 492"/>
                <a:gd name="T21" fmla="*/ 6 h 462"/>
                <a:gd name="T22" fmla="*/ 14 w 492"/>
                <a:gd name="T23" fmla="*/ 8 h 462"/>
                <a:gd name="T24" fmla="*/ 13 w 492"/>
                <a:gd name="T25" fmla="*/ 8 h 462"/>
                <a:gd name="T26" fmla="*/ 12 w 492"/>
                <a:gd name="T27" fmla="*/ 8 h 462"/>
                <a:gd name="T28" fmla="*/ 11 w 492"/>
                <a:gd name="T29" fmla="*/ 7 h 462"/>
                <a:gd name="T30" fmla="*/ 11 w 492"/>
                <a:gd name="T31" fmla="*/ 6 h 462"/>
                <a:gd name="T32" fmla="*/ 10 w 492"/>
                <a:gd name="T33" fmla="*/ 6 h 462"/>
                <a:gd name="T34" fmla="*/ 10 w 492"/>
                <a:gd name="T35" fmla="*/ 5 h 462"/>
                <a:gd name="T36" fmla="*/ 11 w 492"/>
                <a:gd name="T37" fmla="*/ 4 h 462"/>
                <a:gd name="T38" fmla="*/ 11 w 492"/>
                <a:gd name="T39" fmla="*/ 4 h 462"/>
                <a:gd name="T40" fmla="*/ 10 w 492"/>
                <a:gd name="T41" fmla="*/ 4 h 462"/>
                <a:gd name="T42" fmla="*/ 10 w 492"/>
                <a:gd name="T43" fmla="*/ 3 h 462"/>
                <a:gd name="T44" fmla="*/ 10 w 492"/>
                <a:gd name="T45" fmla="*/ 3 h 462"/>
                <a:gd name="T46" fmla="*/ 9 w 492"/>
                <a:gd name="T47" fmla="*/ 2 h 462"/>
                <a:gd name="T48" fmla="*/ 8 w 492"/>
                <a:gd name="T49" fmla="*/ 2 h 462"/>
                <a:gd name="T50" fmla="*/ 8 w 492"/>
                <a:gd name="T51" fmla="*/ 2 h 462"/>
                <a:gd name="T52" fmla="*/ 7 w 492"/>
                <a:gd name="T53" fmla="*/ 1 h 462"/>
                <a:gd name="T54" fmla="*/ 6 w 492"/>
                <a:gd name="T55" fmla="*/ 1 h 462"/>
                <a:gd name="T56" fmla="*/ 6 w 492"/>
                <a:gd name="T57" fmla="*/ 1 h 462"/>
                <a:gd name="T58" fmla="*/ 4 w 492"/>
                <a:gd name="T59" fmla="*/ 1 h 462"/>
                <a:gd name="T60" fmla="*/ 1 w 492"/>
                <a:gd name="T61" fmla="*/ 0 h 462"/>
                <a:gd name="T62" fmla="*/ 0 w 492"/>
                <a:gd name="T63" fmla="*/ 0 h 462"/>
                <a:gd name="T64" fmla="*/ 0 w 492"/>
                <a:gd name="T65" fmla="*/ 2 h 462"/>
                <a:gd name="T66" fmla="*/ 1 w 492"/>
                <a:gd name="T67" fmla="*/ 2 h 462"/>
                <a:gd name="T68" fmla="*/ 1 w 492"/>
                <a:gd name="T69" fmla="*/ 3 h 462"/>
                <a:gd name="T70" fmla="*/ 1 w 492"/>
                <a:gd name="T71" fmla="*/ 3 h 462"/>
                <a:gd name="T72" fmla="*/ 1 w 492"/>
                <a:gd name="T73" fmla="*/ 3 h 462"/>
                <a:gd name="T74" fmla="*/ 2 w 492"/>
                <a:gd name="T75" fmla="*/ 3 h 462"/>
                <a:gd name="T76" fmla="*/ 2 w 492"/>
                <a:gd name="T77" fmla="*/ 4 h 462"/>
                <a:gd name="T78" fmla="*/ 3 w 492"/>
                <a:gd name="T79" fmla="*/ 5 h 462"/>
                <a:gd name="T80" fmla="*/ 3 w 492"/>
                <a:gd name="T81" fmla="*/ 5 h 462"/>
                <a:gd name="T82" fmla="*/ 3 w 492"/>
                <a:gd name="T83" fmla="*/ 5 h 462"/>
                <a:gd name="T84" fmla="*/ 3 w 492"/>
                <a:gd name="T85" fmla="*/ 2 h 462"/>
                <a:gd name="T86" fmla="*/ 1 w 492"/>
                <a:gd name="T87" fmla="*/ 2 h 462"/>
                <a:gd name="T88" fmla="*/ 1 w 492"/>
                <a:gd name="T89" fmla="*/ 1 h 462"/>
                <a:gd name="T90" fmla="*/ 3 w 492"/>
                <a:gd name="T91" fmla="*/ 1 h 462"/>
                <a:gd name="T92" fmla="*/ 3 w 492"/>
                <a:gd name="T93" fmla="*/ 3 h 462"/>
                <a:gd name="T94" fmla="*/ 3 w 492"/>
                <a:gd name="T95" fmla="*/ 3 h 462"/>
                <a:gd name="T96" fmla="*/ 3 w 492"/>
                <a:gd name="T97" fmla="*/ 3 h 462"/>
                <a:gd name="T98" fmla="*/ 5 w 492"/>
                <a:gd name="T99" fmla="*/ 5 h 462"/>
                <a:gd name="T100" fmla="*/ 5 w 492"/>
                <a:gd name="T101" fmla="*/ 5 h 462"/>
                <a:gd name="T102" fmla="*/ 6 w 492"/>
                <a:gd name="T103" fmla="*/ 6 h 462"/>
                <a:gd name="T104" fmla="*/ 6 w 492"/>
                <a:gd name="T105" fmla="*/ 6 h 462"/>
                <a:gd name="T106" fmla="*/ 7 w 492"/>
                <a:gd name="T107" fmla="*/ 7 h 462"/>
                <a:gd name="T108" fmla="*/ 8 w 492"/>
                <a:gd name="T109" fmla="*/ 8 h 462"/>
                <a:gd name="T110" fmla="*/ 11 w 492"/>
                <a:gd name="T111" fmla="*/ 9 h 462"/>
                <a:gd name="T112" fmla="*/ 12 w 492"/>
                <a:gd name="T113" fmla="*/ 9 h 462"/>
                <a:gd name="T114" fmla="*/ 12 w 492"/>
                <a:gd name="T115" fmla="*/ 9 h 462"/>
                <a:gd name="T116" fmla="*/ 13 w 492"/>
                <a:gd name="T117" fmla="*/ 9 h 4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92" h="462">
                  <a:moveTo>
                    <a:pt x="387" y="461"/>
                  </a:moveTo>
                  <a:lnTo>
                    <a:pt x="387" y="446"/>
                  </a:lnTo>
                  <a:lnTo>
                    <a:pt x="402" y="415"/>
                  </a:lnTo>
                  <a:lnTo>
                    <a:pt x="417" y="415"/>
                  </a:lnTo>
                  <a:lnTo>
                    <a:pt x="402" y="400"/>
                  </a:lnTo>
                  <a:lnTo>
                    <a:pt x="417" y="384"/>
                  </a:lnTo>
                  <a:lnTo>
                    <a:pt x="446" y="384"/>
                  </a:lnTo>
                  <a:lnTo>
                    <a:pt x="461" y="384"/>
                  </a:lnTo>
                  <a:lnTo>
                    <a:pt x="476" y="338"/>
                  </a:lnTo>
                  <a:lnTo>
                    <a:pt x="491" y="307"/>
                  </a:lnTo>
                  <a:lnTo>
                    <a:pt x="431" y="307"/>
                  </a:lnTo>
                  <a:lnTo>
                    <a:pt x="402" y="369"/>
                  </a:lnTo>
                  <a:lnTo>
                    <a:pt x="372" y="369"/>
                  </a:lnTo>
                  <a:lnTo>
                    <a:pt x="357" y="384"/>
                  </a:lnTo>
                  <a:lnTo>
                    <a:pt x="327" y="353"/>
                  </a:lnTo>
                  <a:lnTo>
                    <a:pt x="312" y="292"/>
                  </a:lnTo>
                  <a:lnTo>
                    <a:pt x="298" y="277"/>
                  </a:lnTo>
                  <a:lnTo>
                    <a:pt x="298" y="215"/>
                  </a:lnTo>
                  <a:lnTo>
                    <a:pt x="327" y="200"/>
                  </a:lnTo>
                  <a:lnTo>
                    <a:pt x="327" y="184"/>
                  </a:lnTo>
                  <a:lnTo>
                    <a:pt x="298" y="184"/>
                  </a:lnTo>
                  <a:lnTo>
                    <a:pt x="298" y="154"/>
                  </a:lnTo>
                  <a:lnTo>
                    <a:pt x="283" y="123"/>
                  </a:lnTo>
                  <a:lnTo>
                    <a:pt x="268" y="92"/>
                  </a:lnTo>
                  <a:lnTo>
                    <a:pt x="238" y="92"/>
                  </a:lnTo>
                  <a:lnTo>
                    <a:pt x="223" y="108"/>
                  </a:lnTo>
                  <a:lnTo>
                    <a:pt x="193" y="31"/>
                  </a:lnTo>
                  <a:lnTo>
                    <a:pt x="164" y="31"/>
                  </a:lnTo>
                  <a:lnTo>
                    <a:pt x="164" y="46"/>
                  </a:lnTo>
                  <a:lnTo>
                    <a:pt x="119" y="31"/>
                  </a:lnTo>
                  <a:lnTo>
                    <a:pt x="45" y="15"/>
                  </a:lnTo>
                  <a:lnTo>
                    <a:pt x="0" y="0"/>
                  </a:lnTo>
                  <a:lnTo>
                    <a:pt x="15" y="77"/>
                  </a:lnTo>
                  <a:lnTo>
                    <a:pt x="30" y="92"/>
                  </a:lnTo>
                  <a:lnTo>
                    <a:pt x="45" y="123"/>
                  </a:lnTo>
                  <a:lnTo>
                    <a:pt x="30" y="123"/>
                  </a:lnTo>
                  <a:lnTo>
                    <a:pt x="45" y="154"/>
                  </a:lnTo>
                  <a:lnTo>
                    <a:pt x="60" y="169"/>
                  </a:lnTo>
                  <a:lnTo>
                    <a:pt x="60" y="200"/>
                  </a:lnTo>
                  <a:lnTo>
                    <a:pt x="89" y="246"/>
                  </a:lnTo>
                  <a:lnTo>
                    <a:pt x="104" y="246"/>
                  </a:lnTo>
                  <a:lnTo>
                    <a:pt x="89" y="215"/>
                  </a:lnTo>
                  <a:lnTo>
                    <a:pt x="74" y="108"/>
                  </a:lnTo>
                  <a:lnTo>
                    <a:pt x="45" y="77"/>
                  </a:lnTo>
                  <a:lnTo>
                    <a:pt x="45" y="31"/>
                  </a:lnTo>
                  <a:lnTo>
                    <a:pt x="74" y="61"/>
                  </a:lnTo>
                  <a:lnTo>
                    <a:pt x="89" y="123"/>
                  </a:lnTo>
                  <a:lnTo>
                    <a:pt x="89" y="154"/>
                  </a:lnTo>
                  <a:lnTo>
                    <a:pt x="104" y="169"/>
                  </a:lnTo>
                  <a:lnTo>
                    <a:pt x="134" y="215"/>
                  </a:lnTo>
                  <a:lnTo>
                    <a:pt x="149" y="215"/>
                  </a:lnTo>
                  <a:lnTo>
                    <a:pt x="164" y="292"/>
                  </a:lnTo>
                  <a:lnTo>
                    <a:pt x="164" y="323"/>
                  </a:lnTo>
                  <a:lnTo>
                    <a:pt x="193" y="353"/>
                  </a:lnTo>
                  <a:lnTo>
                    <a:pt x="238" y="400"/>
                  </a:lnTo>
                  <a:lnTo>
                    <a:pt x="312" y="430"/>
                  </a:lnTo>
                  <a:lnTo>
                    <a:pt x="342" y="430"/>
                  </a:lnTo>
                  <a:lnTo>
                    <a:pt x="357" y="430"/>
                  </a:lnTo>
                  <a:lnTo>
                    <a:pt x="387" y="46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2" name="Freeform 397"/>
            <p:cNvSpPr>
              <a:spLocks/>
            </p:cNvSpPr>
            <p:nvPr/>
          </p:nvSpPr>
          <p:spPr bwMode="auto">
            <a:xfrm>
              <a:off x="6392" y="1545"/>
              <a:ext cx="78" cy="29"/>
            </a:xfrm>
            <a:custGeom>
              <a:avLst/>
              <a:gdLst>
                <a:gd name="T0" fmla="*/ 0 w 180"/>
                <a:gd name="T1" fmla="*/ 0 h 78"/>
                <a:gd name="T2" fmla="*/ 0 w 180"/>
                <a:gd name="T3" fmla="*/ 0 h 78"/>
                <a:gd name="T4" fmla="*/ 0 w 180"/>
                <a:gd name="T5" fmla="*/ 0 h 78"/>
                <a:gd name="T6" fmla="*/ 2 w 180"/>
                <a:gd name="T7" fmla="*/ 0 h 78"/>
                <a:gd name="T8" fmla="*/ 3 w 180"/>
                <a:gd name="T9" fmla="*/ 0 h 78"/>
                <a:gd name="T10" fmla="*/ 3 w 180"/>
                <a:gd name="T11" fmla="*/ 0 h 78"/>
                <a:gd name="T12" fmla="*/ 4 w 180"/>
                <a:gd name="T13" fmla="*/ 1 h 78"/>
                <a:gd name="T14" fmla="*/ 4 w 180"/>
                <a:gd name="T15" fmla="*/ 1 h 78"/>
                <a:gd name="T16" fmla="*/ 4 w 180"/>
                <a:gd name="T17" fmla="*/ 1 h 78"/>
                <a:gd name="T18" fmla="*/ 7 w 180"/>
                <a:gd name="T19" fmla="*/ 1 h 78"/>
                <a:gd name="T20" fmla="*/ 7 w 180"/>
                <a:gd name="T21" fmla="*/ 1 h 78"/>
                <a:gd name="T22" fmla="*/ 6 w 180"/>
                <a:gd name="T23" fmla="*/ 1 h 78"/>
                <a:gd name="T24" fmla="*/ 5 w 180"/>
                <a:gd name="T25" fmla="*/ 1 h 78"/>
                <a:gd name="T26" fmla="*/ 5 w 180"/>
                <a:gd name="T27" fmla="*/ 1 h 78"/>
                <a:gd name="T28" fmla="*/ 5 w 180"/>
                <a:gd name="T29" fmla="*/ 1 h 78"/>
                <a:gd name="T30" fmla="*/ 4 w 180"/>
                <a:gd name="T31" fmla="*/ 0 h 78"/>
                <a:gd name="T32" fmla="*/ 3 w 180"/>
                <a:gd name="T33" fmla="*/ 0 h 78"/>
                <a:gd name="T34" fmla="*/ 2 w 180"/>
                <a:gd name="T35" fmla="*/ 0 h 78"/>
                <a:gd name="T36" fmla="*/ 0 w 180"/>
                <a:gd name="T37" fmla="*/ 0 h 78"/>
                <a:gd name="T38" fmla="*/ 0 w 180"/>
                <a:gd name="T39" fmla="*/ 0 h 7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0" h="78">
                  <a:moveTo>
                    <a:pt x="0" y="31"/>
                  </a:moveTo>
                  <a:lnTo>
                    <a:pt x="15" y="31"/>
                  </a:lnTo>
                  <a:lnTo>
                    <a:pt x="15" y="15"/>
                  </a:lnTo>
                  <a:lnTo>
                    <a:pt x="45" y="15"/>
                  </a:lnTo>
                  <a:lnTo>
                    <a:pt x="75" y="31"/>
                  </a:lnTo>
                  <a:lnTo>
                    <a:pt x="90" y="31"/>
                  </a:lnTo>
                  <a:lnTo>
                    <a:pt x="104" y="46"/>
                  </a:lnTo>
                  <a:lnTo>
                    <a:pt x="119" y="62"/>
                  </a:lnTo>
                  <a:lnTo>
                    <a:pt x="119" y="77"/>
                  </a:lnTo>
                  <a:lnTo>
                    <a:pt x="179" y="77"/>
                  </a:lnTo>
                  <a:lnTo>
                    <a:pt x="179" y="62"/>
                  </a:lnTo>
                  <a:lnTo>
                    <a:pt x="164" y="62"/>
                  </a:lnTo>
                  <a:lnTo>
                    <a:pt x="149" y="62"/>
                  </a:lnTo>
                  <a:lnTo>
                    <a:pt x="149" y="46"/>
                  </a:lnTo>
                  <a:lnTo>
                    <a:pt x="134" y="46"/>
                  </a:lnTo>
                  <a:lnTo>
                    <a:pt x="104" y="15"/>
                  </a:lnTo>
                  <a:lnTo>
                    <a:pt x="90" y="15"/>
                  </a:lnTo>
                  <a:lnTo>
                    <a:pt x="45" y="0"/>
                  </a:lnTo>
                  <a:lnTo>
                    <a:pt x="15" y="0"/>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3" name="Freeform 398"/>
            <p:cNvSpPr>
              <a:spLocks/>
            </p:cNvSpPr>
            <p:nvPr/>
          </p:nvSpPr>
          <p:spPr bwMode="auto">
            <a:xfrm>
              <a:off x="6400" y="1557"/>
              <a:ext cx="7" cy="7"/>
            </a:xfrm>
            <a:custGeom>
              <a:avLst/>
              <a:gdLst>
                <a:gd name="T0" fmla="*/ 0 w 17"/>
                <a:gd name="T1" fmla="*/ 0 h 17"/>
                <a:gd name="T2" fmla="*/ 0 w 17"/>
                <a:gd name="T3" fmla="*/ 0 h 17"/>
                <a:gd name="T4" fmla="*/ 0 w 17"/>
                <a:gd name="T5" fmla="*/ 0 h 17"/>
                <a:gd name="T6" fmla="*/ 0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16" y="0"/>
                  </a:moveTo>
                  <a:lnTo>
                    <a:pt x="0" y="0"/>
                  </a:lnTo>
                  <a:lnTo>
                    <a:pt x="0" y="16"/>
                  </a:lnTo>
                  <a:lnTo>
                    <a:pt x="16" y="16"/>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4" name="Freeform 399"/>
            <p:cNvSpPr>
              <a:spLocks/>
            </p:cNvSpPr>
            <p:nvPr/>
          </p:nvSpPr>
          <p:spPr bwMode="auto">
            <a:xfrm>
              <a:off x="6438" y="1586"/>
              <a:ext cx="13" cy="6"/>
            </a:xfrm>
            <a:custGeom>
              <a:avLst/>
              <a:gdLst>
                <a:gd name="T0" fmla="*/ 0 w 30"/>
                <a:gd name="T1" fmla="*/ 0 h 17"/>
                <a:gd name="T2" fmla="*/ 0 w 30"/>
                <a:gd name="T3" fmla="*/ 0 h 17"/>
                <a:gd name="T4" fmla="*/ 1 w 30"/>
                <a:gd name="T5" fmla="*/ 0 h 17"/>
                <a:gd name="T6" fmla="*/ 1 w 30"/>
                <a:gd name="T7" fmla="*/ 0 h 17"/>
                <a:gd name="T8" fmla="*/ 0 w 30"/>
                <a:gd name="T9" fmla="*/ 0 h 17"/>
                <a:gd name="T10" fmla="*/ 0 w 30"/>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17">
                  <a:moveTo>
                    <a:pt x="0" y="16"/>
                  </a:moveTo>
                  <a:lnTo>
                    <a:pt x="15" y="16"/>
                  </a:lnTo>
                  <a:lnTo>
                    <a:pt x="29" y="16"/>
                  </a:lnTo>
                  <a:lnTo>
                    <a:pt x="29" y="0"/>
                  </a:lnTo>
                  <a:lnTo>
                    <a:pt x="0"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5" name="Freeform 400"/>
            <p:cNvSpPr>
              <a:spLocks/>
            </p:cNvSpPr>
            <p:nvPr/>
          </p:nvSpPr>
          <p:spPr bwMode="auto">
            <a:xfrm>
              <a:off x="6464" y="1574"/>
              <a:ext cx="26" cy="24"/>
            </a:xfrm>
            <a:custGeom>
              <a:avLst/>
              <a:gdLst>
                <a:gd name="T0" fmla="*/ 2 w 61"/>
                <a:gd name="T1" fmla="*/ 1 h 63"/>
                <a:gd name="T2" fmla="*/ 2 w 61"/>
                <a:gd name="T3" fmla="*/ 1 h 63"/>
                <a:gd name="T4" fmla="*/ 2 w 61"/>
                <a:gd name="T5" fmla="*/ 0 h 63"/>
                <a:gd name="T6" fmla="*/ 1 w 61"/>
                <a:gd name="T7" fmla="*/ 0 h 63"/>
                <a:gd name="T8" fmla="*/ 1 w 61"/>
                <a:gd name="T9" fmla="*/ 0 h 63"/>
                <a:gd name="T10" fmla="*/ 1 w 61"/>
                <a:gd name="T11" fmla="*/ 0 h 63"/>
                <a:gd name="T12" fmla="*/ 1 w 61"/>
                <a:gd name="T13" fmla="*/ 1 h 63"/>
                <a:gd name="T14" fmla="*/ 0 w 61"/>
                <a:gd name="T15" fmla="*/ 1 h 63"/>
                <a:gd name="T16" fmla="*/ 0 w 61"/>
                <a:gd name="T17" fmla="*/ 1 h 63"/>
                <a:gd name="T18" fmla="*/ 1 w 61"/>
                <a:gd name="T19" fmla="*/ 1 h 63"/>
                <a:gd name="T20" fmla="*/ 2 w 61"/>
                <a:gd name="T21" fmla="*/ 1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1" h="63">
                  <a:moveTo>
                    <a:pt x="60" y="62"/>
                  </a:moveTo>
                  <a:lnTo>
                    <a:pt x="60" y="31"/>
                  </a:lnTo>
                  <a:lnTo>
                    <a:pt x="60" y="16"/>
                  </a:lnTo>
                  <a:lnTo>
                    <a:pt x="45" y="16"/>
                  </a:lnTo>
                  <a:lnTo>
                    <a:pt x="30" y="0"/>
                  </a:lnTo>
                  <a:lnTo>
                    <a:pt x="30" y="16"/>
                  </a:lnTo>
                  <a:lnTo>
                    <a:pt x="45" y="31"/>
                  </a:lnTo>
                  <a:lnTo>
                    <a:pt x="0" y="31"/>
                  </a:lnTo>
                  <a:lnTo>
                    <a:pt x="15" y="47"/>
                  </a:lnTo>
                  <a:lnTo>
                    <a:pt x="45" y="47"/>
                  </a:lnTo>
                  <a:lnTo>
                    <a:pt x="60" y="6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6" name="Freeform 401"/>
            <p:cNvSpPr>
              <a:spLocks/>
            </p:cNvSpPr>
            <p:nvPr/>
          </p:nvSpPr>
          <p:spPr bwMode="auto">
            <a:xfrm>
              <a:off x="6438" y="1533"/>
              <a:ext cx="8" cy="7"/>
            </a:xfrm>
            <a:custGeom>
              <a:avLst/>
              <a:gdLst>
                <a:gd name="T0" fmla="*/ 0 w 17"/>
                <a:gd name="T1" fmla="*/ 0 h 17"/>
                <a:gd name="T2" fmla="*/ 0 w 17"/>
                <a:gd name="T3" fmla="*/ 0 h 17"/>
                <a:gd name="T4" fmla="*/ 1 w 17"/>
                <a:gd name="T5" fmla="*/ 0 h 17"/>
                <a:gd name="T6" fmla="*/ 1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0"/>
                  </a:moveTo>
                  <a:lnTo>
                    <a:pt x="0" y="16"/>
                  </a:lnTo>
                  <a:lnTo>
                    <a:pt x="16" y="16"/>
                  </a:lnTo>
                  <a:lnTo>
                    <a:pt x="16"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7" name="Line 402"/>
            <p:cNvSpPr>
              <a:spLocks noChangeShapeType="1"/>
            </p:cNvSpPr>
            <p:nvPr/>
          </p:nvSpPr>
          <p:spPr bwMode="auto">
            <a:xfrm>
              <a:off x="6477" y="1563"/>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8" name="Freeform 403"/>
            <p:cNvSpPr>
              <a:spLocks/>
            </p:cNvSpPr>
            <p:nvPr/>
          </p:nvSpPr>
          <p:spPr bwMode="auto">
            <a:xfrm>
              <a:off x="6137" y="1005"/>
              <a:ext cx="513" cy="372"/>
            </a:xfrm>
            <a:custGeom>
              <a:avLst/>
              <a:gdLst>
                <a:gd name="T0" fmla="*/ 26 w 1193"/>
                <a:gd name="T1" fmla="*/ 20 h 985"/>
                <a:gd name="T2" fmla="*/ 24 w 1193"/>
                <a:gd name="T3" fmla="*/ 20 h 985"/>
                <a:gd name="T4" fmla="*/ 25 w 1193"/>
                <a:gd name="T5" fmla="*/ 19 h 985"/>
                <a:gd name="T6" fmla="*/ 26 w 1193"/>
                <a:gd name="T7" fmla="*/ 19 h 985"/>
                <a:gd name="T8" fmla="*/ 24 w 1193"/>
                <a:gd name="T9" fmla="*/ 18 h 985"/>
                <a:gd name="T10" fmla="*/ 24 w 1193"/>
                <a:gd name="T11" fmla="*/ 16 h 985"/>
                <a:gd name="T12" fmla="*/ 21 w 1193"/>
                <a:gd name="T13" fmla="*/ 17 h 985"/>
                <a:gd name="T14" fmla="*/ 12 w 1193"/>
                <a:gd name="T15" fmla="*/ 15 h 985"/>
                <a:gd name="T16" fmla="*/ 3 w 1193"/>
                <a:gd name="T17" fmla="*/ 14 h 985"/>
                <a:gd name="T18" fmla="*/ 2 w 1193"/>
                <a:gd name="T19" fmla="*/ 11 h 985"/>
                <a:gd name="T20" fmla="*/ 3 w 1193"/>
                <a:gd name="T21" fmla="*/ 9 h 985"/>
                <a:gd name="T22" fmla="*/ 1 w 1193"/>
                <a:gd name="T23" fmla="*/ 8 h 985"/>
                <a:gd name="T24" fmla="*/ 0 w 1193"/>
                <a:gd name="T25" fmla="*/ 6 h 985"/>
                <a:gd name="T26" fmla="*/ 12 w 1193"/>
                <a:gd name="T27" fmla="*/ 1 h 985"/>
                <a:gd name="T28" fmla="*/ 14 w 1193"/>
                <a:gd name="T29" fmla="*/ 1 h 985"/>
                <a:gd name="T30" fmla="*/ 15 w 1193"/>
                <a:gd name="T31" fmla="*/ 2 h 985"/>
                <a:gd name="T32" fmla="*/ 19 w 1193"/>
                <a:gd name="T33" fmla="*/ 4 h 985"/>
                <a:gd name="T34" fmla="*/ 22 w 1193"/>
                <a:gd name="T35" fmla="*/ 4 h 985"/>
                <a:gd name="T36" fmla="*/ 22 w 1193"/>
                <a:gd name="T37" fmla="*/ 4 h 985"/>
                <a:gd name="T38" fmla="*/ 24 w 1193"/>
                <a:gd name="T39" fmla="*/ 5 h 985"/>
                <a:gd name="T40" fmla="*/ 26 w 1193"/>
                <a:gd name="T41" fmla="*/ 6 h 985"/>
                <a:gd name="T42" fmla="*/ 27 w 1193"/>
                <a:gd name="T43" fmla="*/ 3 h 985"/>
                <a:gd name="T44" fmla="*/ 29 w 1193"/>
                <a:gd name="T45" fmla="*/ 3 h 985"/>
                <a:gd name="T46" fmla="*/ 29 w 1193"/>
                <a:gd name="T47" fmla="*/ 5 h 985"/>
                <a:gd name="T48" fmla="*/ 29 w 1193"/>
                <a:gd name="T49" fmla="*/ 6 h 985"/>
                <a:gd name="T50" fmla="*/ 32 w 1193"/>
                <a:gd name="T51" fmla="*/ 5 h 985"/>
                <a:gd name="T52" fmla="*/ 31 w 1193"/>
                <a:gd name="T53" fmla="*/ 6 h 985"/>
                <a:gd name="T54" fmla="*/ 28 w 1193"/>
                <a:gd name="T55" fmla="*/ 7 h 985"/>
                <a:gd name="T56" fmla="*/ 26 w 1193"/>
                <a:gd name="T57" fmla="*/ 8 h 985"/>
                <a:gd name="T58" fmla="*/ 23 w 1193"/>
                <a:gd name="T59" fmla="*/ 9 h 985"/>
                <a:gd name="T60" fmla="*/ 23 w 1193"/>
                <a:gd name="T61" fmla="*/ 12 h 985"/>
                <a:gd name="T62" fmla="*/ 26 w 1193"/>
                <a:gd name="T63" fmla="*/ 13 h 985"/>
                <a:gd name="T64" fmla="*/ 27 w 1193"/>
                <a:gd name="T65" fmla="*/ 14 h 985"/>
                <a:gd name="T66" fmla="*/ 28 w 1193"/>
                <a:gd name="T67" fmla="*/ 15 h 985"/>
                <a:gd name="T68" fmla="*/ 29 w 1193"/>
                <a:gd name="T69" fmla="*/ 14 h 985"/>
                <a:gd name="T70" fmla="*/ 31 w 1193"/>
                <a:gd name="T71" fmla="*/ 12 h 985"/>
                <a:gd name="T72" fmla="*/ 31 w 1193"/>
                <a:gd name="T73" fmla="*/ 11 h 985"/>
                <a:gd name="T74" fmla="*/ 34 w 1193"/>
                <a:gd name="T75" fmla="*/ 10 h 985"/>
                <a:gd name="T76" fmla="*/ 34 w 1193"/>
                <a:gd name="T77" fmla="*/ 12 h 985"/>
                <a:gd name="T78" fmla="*/ 38 w 1193"/>
                <a:gd name="T79" fmla="*/ 13 h 985"/>
                <a:gd name="T80" fmla="*/ 40 w 1193"/>
                <a:gd name="T81" fmla="*/ 15 h 985"/>
                <a:gd name="T82" fmla="*/ 40 w 1193"/>
                <a:gd name="T83" fmla="*/ 16 h 985"/>
                <a:gd name="T84" fmla="*/ 38 w 1193"/>
                <a:gd name="T85" fmla="*/ 17 h 985"/>
                <a:gd name="T86" fmla="*/ 37 w 1193"/>
                <a:gd name="T87" fmla="*/ 17 h 985"/>
                <a:gd name="T88" fmla="*/ 34 w 1193"/>
                <a:gd name="T89" fmla="*/ 17 h 985"/>
                <a:gd name="T90" fmla="*/ 31 w 1193"/>
                <a:gd name="T91" fmla="*/ 18 h 985"/>
                <a:gd name="T92" fmla="*/ 34 w 1193"/>
                <a:gd name="T93" fmla="*/ 17 h 985"/>
                <a:gd name="T94" fmla="*/ 34 w 1193"/>
                <a:gd name="T95" fmla="*/ 17 h 985"/>
                <a:gd name="T96" fmla="*/ 34 w 1193"/>
                <a:gd name="T97" fmla="*/ 18 h 985"/>
                <a:gd name="T98" fmla="*/ 34 w 1193"/>
                <a:gd name="T99" fmla="*/ 19 h 985"/>
                <a:gd name="T100" fmla="*/ 34 w 1193"/>
                <a:gd name="T101" fmla="*/ 19 h 985"/>
                <a:gd name="T102" fmla="*/ 34 w 1193"/>
                <a:gd name="T103" fmla="*/ 19 h 985"/>
                <a:gd name="T104" fmla="*/ 33 w 1193"/>
                <a:gd name="T105" fmla="*/ 19 h 985"/>
                <a:gd name="T106" fmla="*/ 32 w 1193"/>
                <a:gd name="T107" fmla="*/ 18 h 985"/>
                <a:gd name="T108" fmla="*/ 30 w 1193"/>
                <a:gd name="T109" fmla="*/ 19 h 985"/>
                <a:gd name="T110" fmla="*/ 28 w 1193"/>
                <a:gd name="T111" fmla="*/ 19 h 985"/>
                <a:gd name="T112" fmla="*/ 26 w 1193"/>
                <a:gd name="T113" fmla="*/ 19 h 9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193" h="985">
                  <a:moveTo>
                    <a:pt x="765" y="939"/>
                  </a:moveTo>
                  <a:lnTo>
                    <a:pt x="765" y="954"/>
                  </a:lnTo>
                  <a:lnTo>
                    <a:pt x="765" y="969"/>
                  </a:lnTo>
                  <a:lnTo>
                    <a:pt x="751" y="969"/>
                  </a:lnTo>
                  <a:lnTo>
                    <a:pt x="736" y="969"/>
                  </a:lnTo>
                  <a:lnTo>
                    <a:pt x="692" y="984"/>
                  </a:lnTo>
                  <a:lnTo>
                    <a:pt x="706" y="954"/>
                  </a:lnTo>
                  <a:lnTo>
                    <a:pt x="721" y="954"/>
                  </a:lnTo>
                  <a:lnTo>
                    <a:pt x="736" y="939"/>
                  </a:lnTo>
                  <a:lnTo>
                    <a:pt x="736" y="908"/>
                  </a:lnTo>
                  <a:lnTo>
                    <a:pt x="736" y="923"/>
                  </a:lnTo>
                  <a:lnTo>
                    <a:pt x="765" y="923"/>
                  </a:lnTo>
                  <a:lnTo>
                    <a:pt x="751" y="893"/>
                  </a:lnTo>
                  <a:lnTo>
                    <a:pt x="736" y="878"/>
                  </a:lnTo>
                  <a:lnTo>
                    <a:pt x="706" y="878"/>
                  </a:lnTo>
                  <a:lnTo>
                    <a:pt x="706" y="833"/>
                  </a:lnTo>
                  <a:lnTo>
                    <a:pt x="692" y="833"/>
                  </a:lnTo>
                  <a:lnTo>
                    <a:pt x="692" y="802"/>
                  </a:lnTo>
                  <a:lnTo>
                    <a:pt x="648" y="802"/>
                  </a:lnTo>
                  <a:lnTo>
                    <a:pt x="633" y="802"/>
                  </a:lnTo>
                  <a:lnTo>
                    <a:pt x="618" y="817"/>
                  </a:lnTo>
                  <a:lnTo>
                    <a:pt x="530" y="787"/>
                  </a:lnTo>
                  <a:lnTo>
                    <a:pt x="500" y="787"/>
                  </a:lnTo>
                  <a:lnTo>
                    <a:pt x="368" y="757"/>
                  </a:lnTo>
                  <a:lnTo>
                    <a:pt x="221" y="742"/>
                  </a:lnTo>
                  <a:lnTo>
                    <a:pt x="118" y="712"/>
                  </a:lnTo>
                  <a:lnTo>
                    <a:pt x="103" y="696"/>
                  </a:lnTo>
                  <a:lnTo>
                    <a:pt x="59" y="651"/>
                  </a:lnTo>
                  <a:lnTo>
                    <a:pt x="74" y="606"/>
                  </a:lnTo>
                  <a:lnTo>
                    <a:pt x="59" y="545"/>
                  </a:lnTo>
                  <a:lnTo>
                    <a:pt x="88" y="500"/>
                  </a:lnTo>
                  <a:lnTo>
                    <a:pt x="88" y="484"/>
                  </a:lnTo>
                  <a:lnTo>
                    <a:pt x="74" y="454"/>
                  </a:lnTo>
                  <a:lnTo>
                    <a:pt x="74" y="394"/>
                  </a:lnTo>
                  <a:lnTo>
                    <a:pt x="59" y="363"/>
                  </a:lnTo>
                  <a:lnTo>
                    <a:pt x="29" y="363"/>
                  </a:lnTo>
                  <a:lnTo>
                    <a:pt x="15" y="318"/>
                  </a:lnTo>
                  <a:lnTo>
                    <a:pt x="0" y="318"/>
                  </a:lnTo>
                  <a:lnTo>
                    <a:pt x="0" y="303"/>
                  </a:lnTo>
                  <a:lnTo>
                    <a:pt x="206" y="0"/>
                  </a:lnTo>
                  <a:lnTo>
                    <a:pt x="280" y="45"/>
                  </a:lnTo>
                  <a:lnTo>
                    <a:pt x="338" y="45"/>
                  </a:lnTo>
                  <a:lnTo>
                    <a:pt x="353" y="45"/>
                  </a:lnTo>
                  <a:lnTo>
                    <a:pt x="368" y="61"/>
                  </a:lnTo>
                  <a:lnTo>
                    <a:pt x="397" y="45"/>
                  </a:lnTo>
                  <a:lnTo>
                    <a:pt x="412" y="76"/>
                  </a:lnTo>
                  <a:lnTo>
                    <a:pt x="427" y="91"/>
                  </a:lnTo>
                  <a:lnTo>
                    <a:pt x="456" y="91"/>
                  </a:lnTo>
                  <a:lnTo>
                    <a:pt x="530" y="167"/>
                  </a:lnTo>
                  <a:lnTo>
                    <a:pt x="515" y="167"/>
                  </a:lnTo>
                  <a:lnTo>
                    <a:pt x="559" y="197"/>
                  </a:lnTo>
                  <a:lnTo>
                    <a:pt x="574" y="242"/>
                  </a:lnTo>
                  <a:lnTo>
                    <a:pt x="589" y="212"/>
                  </a:lnTo>
                  <a:lnTo>
                    <a:pt x="633" y="197"/>
                  </a:lnTo>
                  <a:lnTo>
                    <a:pt x="603" y="182"/>
                  </a:lnTo>
                  <a:lnTo>
                    <a:pt x="648" y="182"/>
                  </a:lnTo>
                  <a:lnTo>
                    <a:pt x="648" y="197"/>
                  </a:lnTo>
                  <a:lnTo>
                    <a:pt x="692" y="242"/>
                  </a:lnTo>
                  <a:lnTo>
                    <a:pt x="692" y="227"/>
                  </a:lnTo>
                  <a:lnTo>
                    <a:pt x="706" y="242"/>
                  </a:lnTo>
                  <a:lnTo>
                    <a:pt x="736" y="227"/>
                  </a:lnTo>
                  <a:lnTo>
                    <a:pt x="736" y="288"/>
                  </a:lnTo>
                  <a:lnTo>
                    <a:pt x="751" y="288"/>
                  </a:lnTo>
                  <a:lnTo>
                    <a:pt x="751" y="257"/>
                  </a:lnTo>
                  <a:lnTo>
                    <a:pt x="795" y="242"/>
                  </a:lnTo>
                  <a:lnTo>
                    <a:pt x="795" y="167"/>
                  </a:lnTo>
                  <a:lnTo>
                    <a:pt x="839" y="121"/>
                  </a:lnTo>
                  <a:lnTo>
                    <a:pt x="854" y="151"/>
                  </a:lnTo>
                  <a:lnTo>
                    <a:pt x="854" y="167"/>
                  </a:lnTo>
                  <a:lnTo>
                    <a:pt x="854" y="197"/>
                  </a:lnTo>
                  <a:lnTo>
                    <a:pt x="839" y="197"/>
                  </a:lnTo>
                  <a:lnTo>
                    <a:pt x="854" y="227"/>
                  </a:lnTo>
                  <a:lnTo>
                    <a:pt x="868" y="227"/>
                  </a:lnTo>
                  <a:lnTo>
                    <a:pt x="868" y="242"/>
                  </a:lnTo>
                  <a:lnTo>
                    <a:pt x="854" y="272"/>
                  </a:lnTo>
                  <a:lnTo>
                    <a:pt x="868" y="288"/>
                  </a:lnTo>
                  <a:lnTo>
                    <a:pt x="912" y="257"/>
                  </a:lnTo>
                  <a:lnTo>
                    <a:pt x="927" y="227"/>
                  </a:lnTo>
                  <a:lnTo>
                    <a:pt x="957" y="257"/>
                  </a:lnTo>
                  <a:lnTo>
                    <a:pt x="927" y="318"/>
                  </a:lnTo>
                  <a:lnTo>
                    <a:pt x="898" y="318"/>
                  </a:lnTo>
                  <a:lnTo>
                    <a:pt x="854" y="318"/>
                  </a:lnTo>
                  <a:lnTo>
                    <a:pt x="868" y="333"/>
                  </a:lnTo>
                  <a:lnTo>
                    <a:pt x="824" y="348"/>
                  </a:lnTo>
                  <a:lnTo>
                    <a:pt x="809" y="378"/>
                  </a:lnTo>
                  <a:lnTo>
                    <a:pt x="765" y="378"/>
                  </a:lnTo>
                  <a:lnTo>
                    <a:pt x="751" y="409"/>
                  </a:lnTo>
                  <a:lnTo>
                    <a:pt x="736" y="409"/>
                  </a:lnTo>
                  <a:lnTo>
                    <a:pt x="706" y="424"/>
                  </a:lnTo>
                  <a:lnTo>
                    <a:pt x="662" y="469"/>
                  </a:lnTo>
                  <a:lnTo>
                    <a:pt x="648" y="515"/>
                  </a:lnTo>
                  <a:lnTo>
                    <a:pt x="662" y="530"/>
                  </a:lnTo>
                  <a:lnTo>
                    <a:pt x="662" y="575"/>
                  </a:lnTo>
                  <a:lnTo>
                    <a:pt x="692" y="575"/>
                  </a:lnTo>
                  <a:lnTo>
                    <a:pt x="751" y="636"/>
                  </a:lnTo>
                  <a:lnTo>
                    <a:pt x="765" y="636"/>
                  </a:lnTo>
                  <a:lnTo>
                    <a:pt x="795" y="666"/>
                  </a:lnTo>
                  <a:lnTo>
                    <a:pt x="780" y="681"/>
                  </a:lnTo>
                  <a:lnTo>
                    <a:pt x="795" y="696"/>
                  </a:lnTo>
                  <a:lnTo>
                    <a:pt x="765" y="712"/>
                  </a:lnTo>
                  <a:lnTo>
                    <a:pt x="795" y="757"/>
                  </a:lnTo>
                  <a:lnTo>
                    <a:pt x="809" y="757"/>
                  </a:lnTo>
                  <a:lnTo>
                    <a:pt x="824" y="757"/>
                  </a:lnTo>
                  <a:lnTo>
                    <a:pt x="839" y="727"/>
                  </a:lnTo>
                  <a:lnTo>
                    <a:pt x="854" y="696"/>
                  </a:lnTo>
                  <a:lnTo>
                    <a:pt x="839" y="681"/>
                  </a:lnTo>
                  <a:lnTo>
                    <a:pt x="883" y="651"/>
                  </a:lnTo>
                  <a:lnTo>
                    <a:pt x="898" y="590"/>
                  </a:lnTo>
                  <a:lnTo>
                    <a:pt x="868" y="575"/>
                  </a:lnTo>
                  <a:lnTo>
                    <a:pt x="883" y="560"/>
                  </a:lnTo>
                  <a:lnTo>
                    <a:pt x="898" y="560"/>
                  </a:lnTo>
                  <a:lnTo>
                    <a:pt x="927" y="454"/>
                  </a:lnTo>
                  <a:lnTo>
                    <a:pt x="957" y="454"/>
                  </a:lnTo>
                  <a:lnTo>
                    <a:pt x="1001" y="484"/>
                  </a:lnTo>
                  <a:lnTo>
                    <a:pt x="1015" y="530"/>
                  </a:lnTo>
                  <a:lnTo>
                    <a:pt x="1030" y="530"/>
                  </a:lnTo>
                  <a:lnTo>
                    <a:pt x="1015" y="590"/>
                  </a:lnTo>
                  <a:lnTo>
                    <a:pt x="1060" y="606"/>
                  </a:lnTo>
                  <a:lnTo>
                    <a:pt x="1104" y="575"/>
                  </a:lnTo>
                  <a:lnTo>
                    <a:pt x="1118" y="651"/>
                  </a:lnTo>
                  <a:lnTo>
                    <a:pt x="1118" y="666"/>
                  </a:lnTo>
                  <a:lnTo>
                    <a:pt x="1118" y="681"/>
                  </a:lnTo>
                  <a:lnTo>
                    <a:pt x="1163" y="712"/>
                  </a:lnTo>
                  <a:lnTo>
                    <a:pt x="1163" y="727"/>
                  </a:lnTo>
                  <a:lnTo>
                    <a:pt x="1192" y="742"/>
                  </a:lnTo>
                  <a:lnTo>
                    <a:pt x="1177" y="787"/>
                  </a:lnTo>
                  <a:lnTo>
                    <a:pt x="1163" y="802"/>
                  </a:lnTo>
                  <a:lnTo>
                    <a:pt x="1133" y="802"/>
                  </a:lnTo>
                  <a:lnTo>
                    <a:pt x="1118" y="833"/>
                  </a:lnTo>
                  <a:lnTo>
                    <a:pt x="1089" y="833"/>
                  </a:lnTo>
                  <a:lnTo>
                    <a:pt x="1074" y="833"/>
                  </a:lnTo>
                  <a:lnTo>
                    <a:pt x="1089" y="833"/>
                  </a:lnTo>
                  <a:lnTo>
                    <a:pt x="1074" y="833"/>
                  </a:lnTo>
                  <a:lnTo>
                    <a:pt x="1030" y="817"/>
                  </a:lnTo>
                  <a:lnTo>
                    <a:pt x="986" y="833"/>
                  </a:lnTo>
                  <a:lnTo>
                    <a:pt x="971" y="833"/>
                  </a:lnTo>
                  <a:lnTo>
                    <a:pt x="927" y="878"/>
                  </a:lnTo>
                  <a:lnTo>
                    <a:pt x="898" y="893"/>
                  </a:lnTo>
                  <a:lnTo>
                    <a:pt x="927" y="878"/>
                  </a:lnTo>
                  <a:lnTo>
                    <a:pt x="971" y="848"/>
                  </a:lnTo>
                  <a:lnTo>
                    <a:pt x="986" y="848"/>
                  </a:lnTo>
                  <a:lnTo>
                    <a:pt x="1015" y="833"/>
                  </a:lnTo>
                  <a:lnTo>
                    <a:pt x="1030" y="848"/>
                  </a:lnTo>
                  <a:lnTo>
                    <a:pt x="1015" y="863"/>
                  </a:lnTo>
                  <a:lnTo>
                    <a:pt x="1001" y="863"/>
                  </a:lnTo>
                  <a:lnTo>
                    <a:pt x="1001" y="878"/>
                  </a:lnTo>
                  <a:lnTo>
                    <a:pt x="1015" y="878"/>
                  </a:lnTo>
                  <a:lnTo>
                    <a:pt x="1001" y="893"/>
                  </a:lnTo>
                  <a:lnTo>
                    <a:pt x="1015" y="908"/>
                  </a:lnTo>
                  <a:lnTo>
                    <a:pt x="1015" y="923"/>
                  </a:lnTo>
                  <a:lnTo>
                    <a:pt x="1060" y="923"/>
                  </a:lnTo>
                  <a:lnTo>
                    <a:pt x="1060" y="939"/>
                  </a:lnTo>
                  <a:lnTo>
                    <a:pt x="1015" y="954"/>
                  </a:lnTo>
                  <a:lnTo>
                    <a:pt x="986" y="984"/>
                  </a:lnTo>
                  <a:lnTo>
                    <a:pt x="986" y="969"/>
                  </a:lnTo>
                  <a:lnTo>
                    <a:pt x="1015" y="939"/>
                  </a:lnTo>
                  <a:lnTo>
                    <a:pt x="1001" y="923"/>
                  </a:lnTo>
                  <a:lnTo>
                    <a:pt x="971" y="939"/>
                  </a:lnTo>
                  <a:lnTo>
                    <a:pt x="957" y="908"/>
                  </a:lnTo>
                  <a:lnTo>
                    <a:pt x="957" y="893"/>
                  </a:lnTo>
                  <a:lnTo>
                    <a:pt x="942" y="878"/>
                  </a:lnTo>
                  <a:lnTo>
                    <a:pt x="942" y="893"/>
                  </a:lnTo>
                  <a:lnTo>
                    <a:pt x="927" y="908"/>
                  </a:lnTo>
                  <a:lnTo>
                    <a:pt x="898" y="939"/>
                  </a:lnTo>
                  <a:lnTo>
                    <a:pt x="883" y="923"/>
                  </a:lnTo>
                  <a:lnTo>
                    <a:pt x="868" y="939"/>
                  </a:lnTo>
                  <a:lnTo>
                    <a:pt x="854" y="923"/>
                  </a:lnTo>
                  <a:lnTo>
                    <a:pt x="824" y="939"/>
                  </a:lnTo>
                  <a:lnTo>
                    <a:pt x="809" y="939"/>
                  </a:lnTo>
                  <a:lnTo>
                    <a:pt x="780" y="939"/>
                  </a:lnTo>
                  <a:lnTo>
                    <a:pt x="765" y="93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79" name="Freeform 404"/>
            <p:cNvSpPr>
              <a:spLocks/>
            </p:cNvSpPr>
            <p:nvPr/>
          </p:nvSpPr>
          <p:spPr bwMode="auto">
            <a:xfrm>
              <a:off x="6137" y="1005"/>
              <a:ext cx="519" cy="378"/>
            </a:xfrm>
            <a:custGeom>
              <a:avLst/>
              <a:gdLst>
                <a:gd name="T0" fmla="*/ 26 w 1208"/>
                <a:gd name="T1" fmla="*/ 20 h 1000"/>
                <a:gd name="T2" fmla="*/ 24 w 1208"/>
                <a:gd name="T3" fmla="*/ 20 h 1000"/>
                <a:gd name="T4" fmla="*/ 25 w 1208"/>
                <a:gd name="T5" fmla="*/ 19 h 1000"/>
                <a:gd name="T6" fmla="*/ 26 w 1208"/>
                <a:gd name="T7" fmla="*/ 19 h 1000"/>
                <a:gd name="T8" fmla="*/ 24 w 1208"/>
                <a:gd name="T9" fmla="*/ 18 h 1000"/>
                <a:gd name="T10" fmla="*/ 24 w 1208"/>
                <a:gd name="T11" fmla="*/ 17 h 1000"/>
                <a:gd name="T12" fmla="*/ 21 w 1208"/>
                <a:gd name="T13" fmla="*/ 17 h 1000"/>
                <a:gd name="T14" fmla="*/ 13 w 1208"/>
                <a:gd name="T15" fmla="*/ 16 h 1000"/>
                <a:gd name="T16" fmla="*/ 3 w 1208"/>
                <a:gd name="T17" fmla="*/ 14 h 1000"/>
                <a:gd name="T18" fmla="*/ 2 w 1208"/>
                <a:gd name="T19" fmla="*/ 11 h 1000"/>
                <a:gd name="T20" fmla="*/ 3 w 1208"/>
                <a:gd name="T21" fmla="*/ 9 h 1000"/>
                <a:gd name="T22" fmla="*/ 1 w 1208"/>
                <a:gd name="T23" fmla="*/ 8 h 1000"/>
                <a:gd name="T24" fmla="*/ 0 w 1208"/>
                <a:gd name="T25" fmla="*/ 6 h 1000"/>
                <a:gd name="T26" fmla="*/ 12 w 1208"/>
                <a:gd name="T27" fmla="*/ 1 h 1000"/>
                <a:gd name="T28" fmla="*/ 14 w 1208"/>
                <a:gd name="T29" fmla="*/ 1 h 1000"/>
                <a:gd name="T30" fmla="*/ 16 w 1208"/>
                <a:gd name="T31" fmla="*/ 2 h 1000"/>
                <a:gd name="T32" fmla="*/ 19 w 1208"/>
                <a:gd name="T33" fmla="*/ 4 h 1000"/>
                <a:gd name="T34" fmla="*/ 22 w 1208"/>
                <a:gd name="T35" fmla="*/ 4 h 1000"/>
                <a:gd name="T36" fmla="*/ 22 w 1208"/>
                <a:gd name="T37" fmla="*/ 4 h 1000"/>
                <a:gd name="T38" fmla="*/ 24 w 1208"/>
                <a:gd name="T39" fmla="*/ 5 h 1000"/>
                <a:gd name="T40" fmla="*/ 26 w 1208"/>
                <a:gd name="T41" fmla="*/ 6 h 1000"/>
                <a:gd name="T42" fmla="*/ 27 w 1208"/>
                <a:gd name="T43" fmla="*/ 3 h 1000"/>
                <a:gd name="T44" fmla="*/ 29 w 1208"/>
                <a:gd name="T45" fmla="*/ 3 h 1000"/>
                <a:gd name="T46" fmla="*/ 29 w 1208"/>
                <a:gd name="T47" fmla="*/ 5 h 1000"/>
                <a:gd name="T48" fmla="*/ 29 w 1208"/>
                <a:gd name="T49" fmla="*/ 6 h 1000"/>
                <a:gd name="T50" fmla="*/ 32 w 1208"/>
                <a:gd name="T51" fmla="*/ 5 h 1000"/>
                <a:gd name="T52" fmla="*/ 31 w 1208"/>
                <a:gd name="T53" fmla="*/ 6 h 1000"/>
                <a:gd name="T54" fmla="*/ 28 w 1208"/>
                <a:gd name="T55" fmla="*/ 7 h 1000"/>
                <a:gd name="T56" fmla="*/ 26 w 1208"/>
                <a:gd name="T57" fmla="*/ 8 h 1000"/>
                <a:gd name="T58" fmla="*/ 23 w 1208"/>
                <a:gd name="T59" fmla="*/ 10 h 1000"/>
                <a:gd name="T60" fmla="*/ 23 w 1208"/>
                <a:gd name="T61" fmla="*/ 12 h 1000"/>
                <a:gd name="T62" fmla="*/ 26 w 1208"/>
                <a:gd name="T63" fmla="*/ 13 h 1000"/>
                <a:gd name="T64" fmla="*/ 27 w 1208"/>
                <a:gd name="T65" fmla="*/ 14 h 1000"/>
                <a:gd name="T66" fmla="*/ 28 w 1208"/>
                <a:gd name="T67" fmla="*/ 16 h 1000"/>
                <a:gd name="T68" fmla="*/ 29 w 1208"/>
                <a:gd name="T69" fmla="*/ 14 h 1000"/>
                <a:gd name="T70" fmla="*/ 31 w 1208"/>
                <a:gd name="T71" fmla="*/ 12 h 1000"/>
                <a:gd name="T72" fmla="*/ 31 w 1208"/>
                <a:gd name="T73" fmla="*/ 12 h 1000"/>
                <a:gd name="T74" fmla="*/ 34 w 1208"/>
                <a:gd name="T75" fmla="*/ 10 h 1000"/>
                <a:gd name="T76" fmla="*/ 35 w 1208"/>
                <a:gd name="T77" fmla="*/ 12 h 1000"/>
                <a:gd name="T78" fmla="*/ 39 w 1208"/>
                <a:gd name="T79" fmla="*/ 14 h 1000"/>
                <a:gd name="T80" fmla="*/ 40 w 1208"/>
                <a:gd name="T81" fmla="*/ 15 h 1000"/>
                <a:gd name="T82" fmla="*/ 41 w 1208"/>
                <a:gd name="T83" fmla="*/ 16 h 1000"/>
                <a:gd name="T84" fmla="*/ 39 w 1208"/>
                <a:gd name="T85" fmla="*/ 17 h 1000"/>
                <a:gd name="T86" fmla="*/ 34 w 1208"/>
                <a:gd name="T87" fmla="*/ 17 h 1000"/>
                <a:gd name="T88" fmla="*/ 31 w 1208"/>
                <a:gd name="T89" fmla="*/ 19 h 1000"/>
                <a:gd name="T90" fmla="*/ 34 w 1208"/>
                <a:gd name="T91" fmla="*/ 17 h 1000"/>
                <a:gd name="T92" fmla="*/ 35 w 1208"/>
                <a:gd name="T93" fmla="*/ 18 h 1000"/>
                <a:gd name="T94" fmla="*/ 35 w 1208"/>
                <a:gd name="T95" fmla="*/ 18 h 1000"/>
                <a:gd name="T96" fmla="*/ 35 w 1208"/>
                <a:gd name="T97" fmla="*/ 19 h 1000"/>
                <a:gd name="T98" fmla="*/ 35 w 1208"/>
                <a:gd name="T99" fmla="*/ 20 h 1000"/>
                <a:gd name="T100" fmla="*/ 35 w 1208"/>
                <a:gd name="T101" fmla="*/ 19 h 1000"/>
                <a:gd name="T102" fmla="*/ 33 w 1208"/>
                <a:gd name="T103" fmla="*/ 19 h 1000"/>
                <a:gd name="T104" fmla="*/ 33 w 1208"/>
                <a:gd name="T105" fmla="*/ 19 h 1000"/>
                <a:gd name="T106" fmla="*/ 31 w 1208"/>
                <a:gd name="T107" fmla="*/ 19 h 1000"/>
                <a:gd name="T108" fmla="*/ 28 w 1208"/>
                <a:gd name="T109" fmla="*/ 19 h 1000"/>
                <a:gd name="T110" fmla="*/ 26 w 1208"/>
                <a:gd name="T111" fmla="*/ 19 h 10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208" h="1000">
                  <a:moveTo>
                    <a:pt x="775" y="953"/>
                  </a:moveTo>
                  <a:lnTo>
                    <a:pt x="775" y="968"/>
                  </a:lnTo>
                  <a:lnTo>
                    <a:pt x="775" y="984"/>
                  </a:lnTo>
                  <a:lnTo>
                    <a:pt x="760" y="984"/>
                  </a:lnTo>
                  <a:lnTo>
                    <a:pt x="745" y="984"/>
                  </a:lnTo>
                  <a:lnTo>
                    <a:pt x="700" y="999"/>
                  </a:lnTo>
                  <a:lnTo>
                    <a:pt x="715" y="968"/>
                  </a:lnTo>
                  <a:lnTo>
                    <a:pt x="730" y="968"/>
                  </a:lnTo>
                  <a:lnTo>
                    <a:pt x="745" y="953"/>
                  </a:lnTo>
                  <a:lnTo>
                    <a:pt x="745" y="922"/>
                  </a:lnTo>
                  <a:lnTo>
                    <a:pt x="745" y="938"/>
                  </a:lnTo>
                  <a:lnTo>
                    <a:pt x="775" y="938"/>
                  </a:lnTo>
                  <a:lnTo>
                    <a:pt x="760" y="907"/>
                  </a:lnTo>
                  <a:lnTo>
                    <a:pt x="745" y="891"/>
                  </a:lnTo>
                  <a:lnTo>
                    <a:pt x="715" y="891"/>
                  </a:lnTo>
                  <a:lnTo>
                    <a:pt x="715" y="845"/>
                  </a:lnTo>
                  <a:lnTo>
                    <a:pt x="700" y="845"/>
                  </a:lnTo>
                  <a:lnTo>
                    <a:pt x="700" y="815"/>
                  </a:lnTo>
                  <a:lnTo>
                    <a:pt x="656" y="815"/>
                  </a:lnTo>
                  <a:lnTo>
                    <a:pt x="641" y="815"/>
                  </a:lnTo>
                  <a:lnTo>
                    <a:pt x="626" y="830"/>
                  </a:lnTo>
                  <a:lnTo>
                    <a:pt x="536" y="799"/>
                  </a:lnTo>
                  <a:lnTo>
                    <a:pt x="507" y="799"/>
                  </a:lnTo>
                  <a:lnTo>
                    <a:pt x="373" y="768"/>
                  </a:lnTo>
                  <a:lnTo>
                    <a:pt x="224" y="753"/>
                  </a:lnTo>
                  <a:lnTo>
                    <a:pt x="119" y="722"/>
                  </a:lnTo>
                  <a:lnTo>
                    <a:pt x="104" y="707"/>
                  </a:lnTo>
                  <a:lnTo>
                    <a:pt x="60" y="661"/>
                  </a:lnTo>
                  <a:lnTo>
                    <a:pt x="75" y="615"/>
                  </a:lnTo>
                  <a:lnTo>
                    <a:pt x="60" y="553"/>
                  </a:lnTo>
                  <a:lnTo>
                    <a:pt x="89" y="507"/>
                  </a:lnTo>
                  <a:lnTo>
                    <a:pt x="89" y="492"/>
                  </a:lnTo>
                  <a:lnTo>
                    <a:pt x="75" y="461"/>
                  </a:lnTo>
                  <a:lnTo>
                    <a:pt x="75" y="400"/>
                  </a:lnTo>
                  <a:lnTo>
                    <a:pt x="60" y="369"/>
                  </a:lnTo>
                  <a:lnTo>
                    <a:pt x="30" y="369"/>
                  </a:lnTo>
                  <a:lnTo>
                    <a:pt x="15" y="323"/>
                  </a:lnTo>
                  <a:lnTo>
                    <a:pt x="0" y="323"/>
                  </a:lnTo>
                  <a:lnTo>
                    <a:pt x="0" y="307"/>
                  </a:lnTo>
                  <a:lnTo>
                    <a:pt x="209" y="0"/>
                  </a:lnTo>
                  <a:lnTo>
                    <a:pt x="283" y="46"/>
                  </a:lnTo>
                  <a:lnTo>
                    <a:pt x="343" y="46"/>
                  </a:lnTo>
                  <a:lnTo>
                    <a:pt x="358" y="46"/>
                  </a:lnTo>
                  <a:lnTo>
                    <a:pt x="373" y="61"/>
                  </a:lnTo>
                  <a:lnTo>
                    <a:pt x="402" y="46"/>
                  </a:lnTo>
                  <a:lnTo>
                    <a:pt x="417" y="77"/>
                  </a:lnTo>
                  <a:lnTo>
                    <a:pt x="432" y="92"/>
                  </a:lnTo>
                  <a:lnTo>
                    <a:pt x="462" y="92"/>
                  </a:lnTo>
                  <a:lnTo>
                    <a:pt x="536" y="169"/>
                  </a:lnTo>
                  <a:lnTo>
                    <a:pt x="522" y="169"/>
                  </a:lnTo>
                  <a:lnTo>
                    <a:pt x="566" y="200"/>
                  </a:lnTo>
                  <a:lnTo>
                    <a:pt x="581" y="246"/>
                  </a:lnTo>
                  <a:lnTo>
                    <a:pt x="596" y="215"/>
                  </a:lnTo>
                  <a:lnTo>
                    <a:pt x="641" y="200"/>
                  </a:lnTo>
                  <a:lnTo>
                    <a:pt x="611" y="184"/>
                  </a:lnTo>
                  <a:lnTo>
                    <a:pt x="656" y="184"/>
                  </a:lnTo>
                  <a:lnTo>
                    <a:pt x="656" y="200"/>
                  </a:lnTo>
                  <a:lnTo>
                    <a:pt x="700" y="246"/>
                  </a:lnTo>
                  <a:lnTo>
                    <a:pt x="700" y="231"/>
                  </a:lnTo>
                  <a:lnTo>
                    <a:pt x="715" y="246"/>
                  </a:lnTo>
                  <a:lnTo>
                    <a:pt x="745" y="231"/>
                  </a:lnTo>
                  <a:lnTo>
                    <a:pt x="745" y="292"/>
                  </a:lnTo>
                  <a:lnTo>
                    <a:pt x="760" y="292"/>
                  </a:lnTo>
                  <a:lnTo>
                    <a:pt x="760" y="261"/>
                  </a:lnTo>
                  <a:lnTo>
                    <a:pt x="805" y="246"/>
                  </a:lnTo>
                  <a:lnTo>
                    <a:pt x="805" y="169"/>
                  </a:lnTo>
                  <a:lnTo>
                    <a:pt x="849" y="123"/>
                  </a:lnTo>
                  <a:lnTo>
                    <a:pt x="864" y="154"/>
                  </a:lnTo>
                  <a:lnTo>
                    <a:pt x="864" y="169"/>
                  </a:lnTo>
                  <a:lnTo>
                    <a:pt x="864" y="200"/>
                  </a:lnTo>
                  <a:lnTo>
                    <a:pt x="849" y="200"/>
                  </a:lnTo>
                  <a:lnTo>
                    <a:pt x="864" y="231"/>
                  </a:lnTo>
                  <a:lnTo>
                    <a:pt x="879" y="231"/>
                  </a:lnTo>
                  <a:lnTo>
                    <a:pt x="879" y="246"/>
                  </a:lnTo>
                  <a:lnTo>
                    <a:pt x="864" y="277"/>
                  </a:lnTo>
                  <a:lnTo>
                    <a:pt x="879" y="292"/>
                  </a:lnTo>
                  <a:lnTo>
                    <a:pt x="924" y="261"/>
                  </a:lnTo>
                  <a:lnTo>
                    <a:pt x="939" y="231"/>
                  </a:lnTo>
                  <a:lnTo>
                    <a:pt x="969" y="261"/>
                  </a:lnTo>
                  <a:lnTo>
                    <a:pt x="939" y="323"/>
                  </a:lnTo>
                  <a:lnTo>
                    <a:pt x="909" y="323"/>
                  </a:lnTo>
                  <a:lnTo>
                    <a:pt x="864" y="323"/>
                  </a:lnTo>
                  <a:lnTo>
                    <a:pt x="879" y="338"/>
                  </a:lnTo>
                  <a:lnTo>
                    <a:pt x="834" y="353"/>
                  </a:lnTo>
                  <a:lnTo>
                    <a:pt x="820" y="384"/>
                  </a:lnTo>
                  <a:lnTo>
                    <a:pt x="775" y="384"/>
                  </a:lnTo>
                  <a:lnTo>
                    <a:pt x="760" y="415"/>
                  </a:lnTo>
                  <a:lnTo>
                    <a:pt x="745" y="415"/>
                  </a:lnTo>
                  <a:lnTo>
                    <a:pt x="715" y="430"/>
                  </a:lnTo>
                  <a:lnTo>
                    <a:pt x="671" y="476"/>
                  </a:lnTo>
                  <a:lnTo>
                    <a:pt x="656" y="523"/>
                  </a:lnTo>
                  <a:lnTo>
                    <a:pt x="671" y="538"/>
                  </a:lnTo>
                  <a:lnTo>
                    <a:pt x="671" y="584"/>
                  </a:lnTo>
                  <a:lnTo>
                    <a:pt x="700" y="584"/>
                  </a:lnTo>
                  <a:lnTo>
                    <a:pt x="760" y="646"/>
                  </a:lnTo>
                  <a:lnTo>
                    <a:pt x="775" y="646"/>
                  </a:lnTo>
                  <a:lnTo>
                    <a:pt x="805" y="676"/>
                  </a:lnTo>
                  <a:lnTo>
                    <a:pt x="790" y="692"/>
                  </a:lnTo>
                  <a:lnTo>
                    <a:pt x="805" y="707"/>
                  </a:lnTo>
                  <a:lnTo>
                    <a:pt x="775" y="722"/>
                  </a:lnTo>
                  <a:lnTo>
                    <a:pt x="805" y="768"/>
                  </a:lnTo>
                  <a:lnTo>
                    <a:pt x="820" y="768"/>
                  </a:lnTo>
                  <a:lnTo>
                    <a:pt x="834" y="768"/>
                  </a:lnTo>
                  <a:lnTo>
                    <a:pt x="849" y="738"/>
                  </a:lnTo>
                  <a:lnTo>
                    <a:pt x="864" y="707"/>
                  </a:lnTo>
                  <a:lnTo>
                    <a:pt x="849" y="692"/>
                  </a:lnTo>
                  <a:lnTo>
                    <a:pt x="894" y="661"/>
                  </a:lnTo>
                  <a:lnTo>
                    <a:pt x="909" y="599"/>
                  </a:lnTo>
                  <a:lnTo>
                    <a:pt x="879" y="584"/>
                  </a:lnTo>
                  <a:lnTo>
                    <a:pt x="894" y="569"/>
                  </a:lnTo>
                  <a:lnTo>
                    <a:pt x="909" y="569"/>
                  </a:lnTo>
                  <a:lnTo>
                    <a:pt x="939" y="461"/>
                  </a:lnTo>
                  <a:lnTo>
                    <a:pt x="969" y="461"/>
                  </a:lnTo>
                  <a:lnTo>
                    <a:pt x="1013" y="492"/>
                  </a:lnTo>
                  <a:lnTo>
                    <a:pt x="1028" y="538"/>
                  </a:lnTo>
                  <a:lnTo>
                    <a:pt x="1043" y="538"/>
                  </a:lnTo>
                  <a:lnTo>
                    <a:pt x="1028" y="599"/>
                  </a:lnTo>
                  <a:lnTo>
                    <a:pt x="1073" y="615"/>
                  </a:lnTo>
                  <a:lnTo>
                    <a:pt x="1118" y="584"/>
                  </a:lnTo>
                  <a:lnTo>
                    <a:pt x="1132" y="661"/>
                  </a:lnTo>
                  <a:lnTo>
                    <a:pt x="1132" y="676"/>
                  </a:lnTo>
                  <a:lnTo>
                    <a:pt x="1132" y="692"/>
                  </a:lnTo>
                  <a:lnTo>
                    <a:pt x="1177" y="722"/>
                  </a:lnTo>
                  <a:lnTo>
                    <a:pt x="1177" y="738"/>
                  </a:lnTo>
                  <a:lnTo>
                    <a:pt x="1207" y="753"/>
                  </a:lnTo>
                  <a:lnTo>
                    <a:pt x="1192" y="799"/>
                  </a:lnTo>
                  <a:lnTo>
                    <a:pt x="1177" y="815"/>
                  </a:lnTo>
                  <a:lnTo>
                    <a:pt x="1147" y="815"/>
                  </a:lnTo>
                  <a:lnTo>
                    <a:pt x="1132" y="845"/>
                  </a:lnTo>
                  <a:lnTo>
                    <a:pt x="1088" y="845"/>
                  </a:lnTo>
                  <a:lnTo>
                    <a:pt x="1043" y="830"/>
                  </a:lnTo>
                  <a:lnTo>
                    <a:pt x="998" y="845"/>
                  </a:lnTo>
                  <a:lnTo>
                    <a:pt x="983" y="845"/>
                  </a:lnTo>
                  <a:lnTo>
                    <a:pt x="939" y="891"/>
                  </a:lnTo>
                  <a:lnTo>
                    <a:pt x="909" y="907"/>
                  </a:lnTo>
                  <a:lnTo>
                    <a:pt x="939" y="891"/>
                  </a:lnTo>
                  <a:lnTo>
                    <a:pt x="983" y="861"/>
                  </a:lnTo>
                  <a:lnTo>
                    <a:pt x="998" y="861"/>
                  </a:lnTo>
                  <a:lnTo>
                    <a:pt x="1028" y="845"/>
                  </a:lnTo>
                  <a:lnTo>
                    <a:pt x="1043" y="861"/>
                  </a:lnTo>
                  <a:lnTo>
                    <a:pt x="1028" y="876"/>
                  </a:lnTo>
                  <a:lnTo>
                    <a:pt x="1013" y="876"/>
                  </a:lnTo>
                  <a:lnTo>
                    <a:pt x="1013" y="891"/>
                  </a:lnTo>
                  <a:lnTo>
                    <a:pt x="1028" y="891"/>
                  </a:lnTo>
                  <a:lnTo>
                    <a:pt x="1013" y="907"/>
                  </a:lnTo>
                  <a:lnTo>
                    <a:pt x="1028" y="922"/>
                  </a:lnTo>
                  <a:lnTo>
                    <a:pt x="1028" y="938"/>
                  </a:lnTo>
                  <a:lnTo>
                    <a:pt x="1073" y="938"/>
                  </a:lnTo>
                  <a:lnTo>
                    <a:pt x="1073" y="953"/>
                  </a:lnTo>
                  <a:lnTo>
                    <a:pt x="1028" y="968"/>
                  </a:lnTo>
                  <a:lnTo>
                    <a:pt x="998" y="999"/>
                  </a:lnTo>
                  <a:lnTo>
                    <a:pt x="998" y="984"/>
                  </a:lnTo>
                  <a:lnTo>
                    <a:pt x="1028" y="953"/>
                  </a:lnTo>
                  <a:lnTo>
                    <a:pt x="1013" y="938"/>
                  </a:lnTo>
                  <a:lnTo>
                    <a:pt x="983" y="953"/>
                  </a:lnTo>
                  <a:lnTo>
                    <a:pt x="969" y="922"/>
                  </a:lnTo>
                  <a:lnTo>
                    <a:pt x="969" y="907"/>
                  </a:lnTo>
                  <a:lnTo>
                    <a:pt x="954" y="891"/>
                  </a:lnTo>
                  <a:lnTo>
                    <a:pt x="954" y="907"/>
                  </a:lnTo>
                  <a:lnTo>
                    <a:pt x="939" y="922"/>
                  </a:lnTo>
                  <a:lnTo>
                    <a:pt x="909" y="953"/>
                  </a:lnTo>
                  <a:lnTo>
                    <a:pt x="894" y="938"/>
                  </a:lnTo>
                  <a:lnTo>
                    <a:pt x="879" y="953"/>
                  </a:lnTo>
                  <a:lnTo>
                    <a:pt x="864" y="938"/>
                  </a:lnTo>
                  <a:lnTo>
                    <a:pt x="834" y="953"/>
                  </a:lnTo>
                  <a:lnTo>
                    <a:pt x="820" y="953"/>
                  </a:lnTo>
                  <a:lnTo>
                    <a:pt x="790" y="953"/>
                  </a:lnTo>
                  <a:lnTo>
                    <a:pt x="775" y="953"/>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0" name="Line 405"/>
            <p:cNvSpPr>
              <a:spLocks noChangeShapeType="1"/>
            </p:cNvSpPr>
            <p:nvPr/>
          </p:nvSpPr>
          <p:spPr bwMode="auto">
            <a:xfrm flipH="1">
              <a:off x="6604" y="1325"/>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1" name="Freeform 406"/>
            <p:cNvSpPr>
              <a:spLocks/>
            </p:cNvSpPr>
            <p:nvPr/>
          </p:nvSpPr>
          <p:spPr bwMode="auto">
            <a:xfrm>
              <a:off x="6529" y="1051"/>
              <a:ext cx="140" cy="152"/>
            </a:xfrm>
            <a:custGeom>
              <a:avLst/>
              <a:gdLst>
                <a:gd name="T0" fmla="*/ 7 w 328"/>
                <a:gd name="T1" fmla="*/ 1 h 401"/>
                <a:gd name="T2" fmla="*/ 7 w 328"/>
                <a:gd name="T3" fmla="*/ 2 h 401"/>
                <a:gd name="T4" fmla="*/ 9 w 328"/>
                <a:gd name="T5" fmla="*/ 3 h 401"/>
                <a:gd name="T6" fmla="*/ 9 w 328"/>
                <a:gd name="T7" fmla="*/ 3 h 401"/>
                <a:gd name="T8" fmla="*/ 9 w 328"/>
                <a:gd name="T9" fmla="*/ 4 h 401"/>
                <a:gd name="T10" fmla="*/ 10 w 328"/>
                <a:gd name="T11" fmla="*/ 5 h 401"/>
                <a:gd name="T12" fmla="*/ 11 w 328"/>
                <a:gd name="T13" fmla="*/ 6 h 401"/>
                <a:gd name="T14" fmla="*/ 9 w 328"/>
                <a:gd name="T15" fmla="*/ 6 h 401"/>
                <a:gd name="T16" fmla="*/ 9 w 328"/>
                <a:gd name="T17" fmla="*/ 6 h 401"/>
                <a:gd name="T18" fmla="*/ 8 w 328"/>
                <a:gd name="T19" fmla="*/ 5 h 401"/>
                <a:gd name="T20" fmla="*/ 8 w 328"/>
                <a:gd name="T21" fmla="*/ 6 h 401"/>
                <a:gd name="T22" fmla="*/ 8 w 328"/>
                <a:gd name="T23" fmla="*/ 7 h 401"/>
                <a:gd name="T24" fmla="*/ 8 w 328"/>
                <a:gd name="T25" fmla="*/ 8 h 401"/>
                <a:gd name="T26" fmla="*/ 6 w 328"/>
                <a:gd name="T27" fmla="*/ 7 h 401"/>
                <a:gd name="T28" fmla="*/ 7 w 328"/>
                <a:gd name="T29" fmla="*/ 8 h 401"/>
                <a:gd name="T30" fmla="*/ 6 w 328"/>
                <a:gd name="T31" fmla="*/ 8 h 401"/>
                <a:gd name="T32" fmla="*/ 4 w 328"/>
                <a:gd name="T33" fmla="*/ 7 h 401"/>
                <a:gd name="T34" fmla="*/ 4 w 328"/>
                <a:gd name="T35" fmla="*/ 6 h 401"/>
                <a:gd name="T36" fmla="*/ 3 w 328"/>
                <a:gd name="T37" fmla="*/ 6 h 401"/>
                <a:gd name="T38" fmla="*/ 3 w 328"/>
                <a:gd name="T39" fmla="*/ 6 h 401"/>
                <a:gd name="T40" fmla="*/ 2 w 328"/>
                <a:gd name="T41" fmla="*/ 6 h 401"/>
                <a:gd name="T42" fmla="*/ 2 w 328"/>
                <a:gd name="T43" fmla="*/ 6 h 401"/>
                <a:gd name="T44" fmla="*/ 3 w 328"/>
                <a:gd name="T45" fmla="*/ 5 h 401"/>
                <a:gd name="T46" fmla="*/ 3 w 328"/>
                <a:gd name="T47" fmla="*/ 5 h 401"/>
                <a:gd name="T48" fmla="*/ 4 w 328"/>
                <a:gd name="T49" fmla="*/ 5 h 401"/>
                <a:gd name="T50" fmla="*/ 6 w 328"/>
                <a:gd name="T51" fmla="*/ 4 h 401"/>
                <a:gd name="T52" fmla="*/ 6 w 328"/>
                <a:gd name="T53" fmla="*/ 4 h 401"/>
                <a:gd name="T54" fmla="*/ 3 w 328"/>
                <a:gd name="T55" fmla="*/ 2 h 401"/>
                <a:gd name="T56" fmla="*/ 3 w 328"/>
                <a:gd name="T57" fmla="*/ 3 h 401"/>
                <a:gd name="T58" fmla="*/ 3 w 328"/>
                <a:gd name="T59" fmla="*/ 2 h 401"/>
                <a:gd name="T60" fmla="*/ 1 w 328"/>
                <a:gd name="T61" fmla="*/ 2 h 401"/>
                <a:gd name="T62" fmla="*/ 0 w 328"/>
                <a:gd name="T63" fmla="*/ 2 h 401"/>
                <a:gd name="T64" fmla="*/ 0 w 328"/>
                <a:gd name="T65" fmla="*/ 0 h 401"/>
                <a:gd name="T66" fmla="*/ 2 w 328"/>
                <a:gd name="T67" fmla="*/ 0 h 401"/>
                <a:gd name="T68" fmla="*/ 3 w 328"/>
                <a:gd name="T69" fmla="*/ 1 h 401"/>
                <a:gd name="T70" fmla="*/ 3 w 328"/>
                <a:gd name="T71" fmla="*/ 0 h 401"/>
                <a:gd name="T72" fmla="*/ 5 w 328"/>
                <a:gd name="T73" fmla="*/ 0 h 401"/>
                <a:gd name="T74" fmla="*/ 7 w 328"/>
                <a:gd name="T75" fmla="*/ 1 h 40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8" h="401">
                  <a:moveTo>
                    <a:pt x="208" y="46"/>
                  </a:moveTo>
                  <a:lnTo>
                    <a:pt x="208" y="77"/>
                  </a:lnTo>
                  <a:lnTo>
                    <a:pt x="282" y="138"/>
                  </a:lnTo>
                  <a:lnTo>
                    <a:pt x="253" y="154"/>
                  </a:lnTo>
                  <a:lnTo>
                    <a:pt x="253" y="200"/>
                  </a:lnTo>
                  <a:lnTo>
                    <a:pt x="297" y="231"/>
                  </a:lnTo>
                  <a:lnTo>
                    <a:pt x="327" y="277"/>
                  </a:lnTo>
                  <a:lnTo>
                    <a:pt x="268" y="308"/>
                  </a:lnTo>
                  <a:lnTo>
                    <a:pt x="253" y="277"/>
                  </a:lnTo>
                  <a:lnTo>
                    <a:pt x="223" y="246"/>
                  </a:lnTo>
                  <a:lnTo>
                    <a:pt x="223" y="292"/>
                  </a:lnTo>
                  <a:lnTo>
                    <a:pt x="238" y="338"/>
                  </a:lnTo>
                  <a:lnTo>
                    <a:pt x="223" y="369"/>
                  </a:lnTo>
                  <a:lnTo>
                    <a:pt x="178" y="338"/>
                  </a:lnTo>
                  <a:lnTo>
                    <a:pt x="208" y="400"/>
                  </a:lnTo>
                  <a:lnTo>
                    <a:pt x="164" y="369"/>
                  </a:lnTo>
                  <a:lnTo>
                    <a:pt x="134" y="338"/>
                  </a:lnTo>
                  <a:lnTo>
                    <a:pt x="134" y="308"/>
                  </a:lnTo>
                  <a:lnTo>
                    <a:pt x="104" y="292"/>
                  </a:lnTo>
                  <a:lnTo>
                    <a:pt x="89" y="308"/>
                  </a:lnTo>
                  <a:lnTo>
                    <a:pt x="59" y="292"/>
                  </a:lnTo>
                  <a:lnTo>
                    <a:pt x="59" y="277"/>
                  </a:lnTo>
                  <a:lnTo>
                    <a:pt x="74" y="246"/>
                  </a:lnTo>
                  <a:lnTo>
                    <a:pt x="104" y="262"/>
                  </a:lnTo>
                  <a:lnTo>
                    <a:pt x="119" y="262"/>
                  </a:lnTo>
                  <a:lnTo>
                    <a:pt x="164" y="200"/>
                  </a:lnTo>
                  <a:lnTo>
                    <a:pt x="164" y="185"/>
                  </a:lnTo>
                  <a:lnTo>
                    <a:pt x="104" y="108"/>
                  </a:lnTo>
                  <a:lnTo>
                    <a:pt x="104" y="123"/>
                  </a:lnTo>
                  <a:lnTo>
                    <a:pt x="89" y="108"/>
                  </a:lnTo>
                  <a:lnTo>
                    <a:pt x="30" y="92"/>
                  </a:lnTo>
                  <a:lnTo>
                    <a:pt x="15" y="77"/>
                  </a:lnTo>
                  <a:lnTo>
                    <a:pt x="0" y="15"/>
                  </a:lnTo>
                  <a:lnTo>
                    <a:pt x="59" y="0"/>
                  </a:lnTo>
                  <a:lnTo>
                    <a:pt x="74" y="31"/>
                  </a:lnTo>
                  <a:lnTo>
                    <a:pt x="104" y="15"/>
                  </a:lnTo>
                  <a:lnTo>
                    <a:pt x="149" y="0"/>
                  </a:lnTo>
                  <a:lnTo>
                    <a:pt x="208"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2" name="Freeform 407"/>
            <p:cNvSpPr>
              <a:spLocks/>
            </p:cNvSpPr>
            <p:nvPr/>
          </p:nvSpPr>
          <p:spPr bwMode="auto">
            <a:xfrm>
              <a:off x="6617" y="953"/>
              <a:ext cx="136" cy="76"/>
            </a:xfrm>
            <a:custGeom>
              <a:avLst/>
              <a:gdLst>
                <a:gd name="T0" fmla="*/ 1 w 315"/>
                <a:gd name="T1" fmla="*/ 3 h 200"/>
                <a:gd name="T2" fmla="*/ 0 w 315"/>
                <a:gd name="T3" fmla="*/ 3 h 200"/>
                <a:gd name="T4" fmla="*/ 0 w 315"/>
                <a:gd name="T5" fmla="*/ 4 h 200"/>
                <a:gd name="T6" fmla="*/ 1 w 315"/>
                <a:gd name="T7" fmla="*/ 4 h 200"/>
                <a:gd name="T8" fmla="*/ 2 w 315"/>
                <a:gd name="T9" fmla="*/ 4 h 200"/>
                <a:gd name="T10" fmla="*/ 3 w 315"/>
                <a:gd name="T11" fmla="*/ 3 h 200"/>
                <a:gd name="T12" fmla="*/ 5 w 315"/>
                <a:gd name="T13" fmla="*/ 3 h 200"/>
                <a:gd name="T14" fmla="*/ 5 w 315"/>
                <a:gd name="T15" fmla="*/ 3 h 200"/>
                <a:gd name="T16" fmla="*/ 6 w 315"/>
                <a:gd name="T17" fmla="*/ 2 h 200"/>
                <a:gd name="T18" fmla="*/ 6 w 315"/>
                <a:gd name="T19" fmla="*/ 3 h 200"/>
                <a:gd name="T20" fmla="*/ 10 w 315"/>
                <a:gd name="T21" fmla="*/ 2 h 200"/>
                <a:gd name="T22" fmla="*/ 11 w 315"/>
                <a:gd name="T23" fmla="*/ 0 h 200"/>
                <a:gd name="T24" fmla="*/ 3 w 315"/>
                <a:gd name="T25" fmla="*/ 0 h 200"/>
                <a:gd name="T26" fmla="*/ 3 w 315"/>
                <a:gd name="T27" fmla="*/ 1 h 200"/>
                <a:gd name="T28" fmla="*/ 3 w 315"/>
                <a:gd name="T29" fmla="*/ 1 h 200"/>
                <a:gd name="T30" fmla="*/ 5 w 315"/>
                <a:gd name="T31" fmla="*/ 1 h 200"/>
                <a:gd name="T32" fmla="*/ 5 w 315"/>
                <a:gd name="T33" fmla="*/ 2 h 200"/>
                <a:gd name="T34" fmla="*/ 3 w 315"/>
                <a:gd name="T35" fmla="*/ 2 h 200"/>
                <a:gd name="T36" fmla="*/ 2 w 315"/>
                <a:gd name="T37" fmla="*/ 1 h 200"/>
                <a:gd name="T38" fmla="*/ 1 w 315"/>
                <a:gd name="T39" fmla="*/ 2 h 200"/>
                <a:gd name="T40" fmla="*/ 2 w 315"/>
                <a:gd name="T41" fmla="*/ 3 h 200"/>
                <a:gd name="T42" fmla="*/ 1 w 315"/>
                <a:gd name="T43" fmla="*/ 3 h 200"/>
                <a:gd name="T44" fmla="*/ 1 w 315"/>
                <a:gd name="T45" fmla="*/ 3 h 200"/>
                <a:gd name="T46" fmla="*/ 1 w 315"/>
                <a:gd name="T47" fmla="*/ 3 h 2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15" h="200">
                  <a:moveTo>
                    <a:pt x="30" y="153"/>
                  </a:moveTo>
                  <a:lnTo>
                    <a:pt x="0" y="168"/>
                  </a:lnTo>
                  <a:lnTo>
                    <a:pt x="15" y="184"/>
                  </a:lnTo>
                  <a:lnTo>
                    <a:pt x="45" y="184"/>
                  </a:lnTo>
                  <a:lnTo>
                    <a:pt x="60" y="199"/>
                  </a:lnTo>
                  <a:lnTo>
                    <a:pt x="105" y="153"/>
                  </a:lnTo>
                  <a:lnTo>
                    <a:pt x="135" y="153"/>
                  </a:lnTo>
                  <a:lnTo>
                    <a:pt x="135" y="138"/>
                  </a:lnTo>
                  <a:lnTo>
                    <a:pt x="164" y="122"/>
                  </a:lnTo>
                  <a:lnTo>
                    <a:pt x="179" y="138"/>
                  </a:lnTo>
                  <a:lnTo>
                    <a:pt x="284" y="77"/>
                  </a:lnTo>
                  <a:lnTo>
                    <a:pt x="314" y="15"/>
                  </a:lnTo>
                  <a:lnTo>
                    <a:pt x="75" y="0"/>
                  </a:lnTo>
                  <a:lnTo>
                    <a:pt x="75" y="31"/>
                  </a:lnTo>
                  <a:lnTo>
                    <a:pt x="105" y="46"/>
                  </a:lnTo>
                  <a:lnTo>
                    <a:pt x="150" y="46"/>
                  </a:lnTo>
                  <a:lnTo>
                    <a:pt x="135" y="77"/>
                  </a:lnTo>
                  <a:lnTo>
                    <a:pt x="90" y="77"/>
                  </a:lnTo>
                  <a:lnTo>
                    <a:pt x="60" y="61"/>
                  </a:lnTo>
                  <a:lnTo>
                    <a:pt x="30" y="122"/>
                  </a:lnTo>
                  <a:lnTo>
                    <a:pt x="60" y="138"/>
                  </a:lnTo>
                  <a:lnTo>
                    <a:pt x="45" y="138"/>
                  </a:lnTo>
                  <a:lnTo>
                    <a:pt x="45" y="153"/>
                  </a:lnTo>
                  <a:lnTo>
                    <a:pt x="30" y="153"/>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3" name="Freeform 408"/>
            <p:cNvSpPr>
              <a:spLocks/>
            </p:cNvSpPr>
            <p:nvPr/>
          </p:nvSpPr>
          <p:spPr bwMode="auto">
            <a:xfrm>
              <a:off x="6373" y="1011"/>
              <a:ext cx="71" cy="65"/>
            </a:xfrm>
            <a:custGeom>
              <a:avLst/>
              <a:gdLst>
                <a:gd name="T0" fmla="*/ 1 w 165"/>
                <a:gd name="T1" fmla="*/ 0 h 171"/>
                <a:gd name="T2" fmla="*/ 3 w 165"/>
                <a:gd name="T3" fmla="*/ 0 h 171"/>
                <a:gd name="T4" fmla="*/ 3 w 165"/>
                <a:gd name="T5" fmla="*/ 0 h 171"/>
                <a:gd name="T6" fmla="*/ 3 w 165"/>
                <a:gd name="T7" fmla="*/ 0 h 171"/>
                <a:gd name="T8" fmla="*/ 5 w 165"/>
                <a:gd name="T9" fmla="*/ 1 h 171"/>
                <a:gd name="T10" fmla="*/ 6 w 165"/>
                <a:gd name="T11" fmla="*/ 1 h 171"/>
                <a:gd name="T12" fmla="*/ 6 w 165"/>
                <a:gd name="T13" fmla="*/ 1 h 171"/>
                <a:gd name="T14" fmla="*/ 6 w 165"/>
                <a:gd name="T15" fmla="*/ 3 h 171"/>
                <a:gd name="T16" fmla="*/ 3 w 165"/>
                <a:gd name="T17" fmla="*/ 4 h 171"/>
                <a:gd name="T18" fmla="*/ 2 w 165"/>
                <a:gd name="T19" fmla="*/ 3 h 171"/>
                <a:gd name="T20" fmla="*/ 0 w 165"/>
                <a:gd name="T21" fmla="*/ 2 h 171"/>
                <a:gd name="T22" fmla="*/ 0 w 165"/>
                <a:gd name="T23" fmla="*/ 2 h 171"/>
                <a:gd name="T24" fmla="*/ 2 w 165"/>
                <a:gd name="T25" fmla="*/ 2 h 171"/>
                <a:gd name="T26" fmla="*/ 2 w 165"/>
                <a:gd name="T27" fmla="*/ 1 h 171"/>
                <a:gd name="T28" fmla="*/ 1 w 165"/>
                <a:gd name="T29" fmla="*/ 1 h 171"/>
                <a:gd name="T30" fmla="*/ 1 w 165"/>
                <a:gd name="T31" fmla="*/ 1 h 171"/>
                <a:gd name="T32" fmla="*/ 1 w 165"/>
                <a:gd name="T33" fmla="*/ 1 h 171"/>
                <a:gd name="T34" fmla="*/ 1 w 165"/>
                <a:gd name="T35" fmla="*/ 0 h 17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5" h="171">
                  <a:moveTo>
                    <a:pt x="45" y="0"/>
                  </a:moveTo>
                  <a:lnTo>
                    <a:pt x="89" y="0"/>
                  </a:lnTo>
                  <a:lnTo>
                    <a:pt x="89" y="15"/>
                  </a:lnTo>
                  <a:lnTo>
                    <a:pt x="104" y="0"/>
                  </a:lnTo>
                  <a:lnTo>
                    <a:pt x="134" y="31"/>
                  </a:lnTo>
                  <a:lnTo>
                    <a:pt x="164" y="31"/>
                  </a:lnTo>
                  <a:lnTo>
                    <a:pt x="164" y="62"/>
                  </a:lnTo>
                  <a:lnTo>
                    <a:pt x="164" y="155"/>
                  </a:lnTo>
                  <a:lnTo>
                    <a:pt x="104" y="170"/>
                  </a:lnTo>
                  <a:lnTo>
                    <a:pt x="60" y="124"/>
                  </a:lnTo>
                  <a:lnTo>
                    <a:pt x="15" y="108"/>
                  </a:lnTo>
                  <a:lnTo>
                    <a:pt x="0" y="77"/>
                  </a:lnTo>
                  <a:lnTo>
                    <a:pt x="60" y="93"/>
                  </a:lnTo>
                  <a:lnTo>
                    <a:pt x="60" y="62"/>
                  </a:lnTo>
                  <a:lnTo>
                    <a:pt x="30" y="46"/>
                  </a:lnTo>
                  <a:lnTo>
                    <a:pt x="30" y="31"/>
                  </a:lnTo>
                  <a:lnTo>
                    <a:pt x="45" y="31"/>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4" name="Freeform 409"/>
            <p:cNvSpPr>
              <a:spLocks/>
            </p:cNvSpPr>
            <p:nvPr/>
          </p:nvSpPr>
          <p:spPr bwMode="auto">
            <a:xfrm>
              <a:off x="6560" y="1005"/>
              <a:ext cx="90" cy="52"/>
            </a:xfrm>
            <a:custGeom>
              <a:avLst/>
              <a:gdLst>
                <a:gd name="T0" fmla="*/ 0 w 209"/>
                <a:gd name="T1" fmla="*/ 0 h 139"/>
                <a:gd name="T2" fmla="*/ 0 w 209"/>
                <a:gd name="T3" fmla="*/ 0 h 139"/>
                <a:gd name="T4" fmla="*/ 1 w 209"/>
                <a:gd name="T5" fmla="*/ 1 h 139"/>
                <a:gd name="T6" fmla="*/ 1 w 209"/>
                <a:gd name="T7" fmla="*/ 1 h 139"/>
                <a:gd name="T8" fmla="*/ 4 w 209"/>
                <a:gd name="T9" fmla="*/ 2 h 139"/>
                <a:gd name="T10" fmla="*/ 5 w 209"/>
                <a:gd name="T11" fmla="*/ 2 h 139"/>
                <a:gd name="T12" fmla="*/ 7 w 209"/>
                <a:gd name="T13" fmla="*/ 3 h 139"/>
                <a:gd name="T14" fmla="*/ 7 w 209"/>
                <a:gd name="T15" fmla="*/ 2 h 139"/>
                <a:gd name="T16" fmla="*/ 5 w 209"/>
                <a:gd name="T17" fmla="*/ 1 h 139"/>
                <a:gd name="T18" fmla="*/ 5 w 209"/>
                <a:gd name="T19" fmla="*/ 1 h 139"/>
                <a:gd name="T20" fmla="*/ 1 w 209"/>
                <a:gd name="T21" fmla="*/ 0 h 139"/>
                <a:gd name="T22" fmla="*/ 1 w 209"/>
                <a:gd name="T23" fmla="*/ 0 h 139"/>
                <a:gd name="T24" fmla="*/ 0 w 209"/>
                <a:gd name="T25" fmla="*/ 0 h 1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9" h="139">
                  <a:moveTo>
                    <a:pt x="0" y="0"/>
                  </a:moveTo>
                  <a:lnTo>
                    <a:pt x="0" y="31"/>
                  </a:lnTo>
                  <a:lnTo>
                    <a:pt x="45" y="46"/>
                  </a:lnTo>
                  <a:lnTo>
                    <a:pt x="45" y="77"/>
                  </a:lnTo>
                  <a:lnTo>
                    <a:pt x="119" y="107"/>
                  </a:lnTo>
                  <a:lnTo>
                    <a:pt x="134" y="92"/>
                  </a:lnTo>
                  <a:lnTo>
                    <a:pt x="193" y="138"/>
                  </a:lnTo>
                  <a:lnTo>
                    <a:pt x="208" y="92"/>
                  </a:lnTo>
                  <a:lnTo>
                    <a:pt x="149" y="61"/>
                  </a:lnTo>
                  <a:lnTo>
                    <a:pt x="134" y="77"/>
                  </a:lnTo>
                  <a:lnTo>
                    <a:pt x="45" y="31"/>
                  </a:lnTo>
                  <a:lnTo>
                    <a:pt x="45"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5" name="Freeform 410"/>
            <p:cNvSpPr>
              <a:spLocks/>
            </p:cNvSpPr>
            <p:nvPr/>
          </p:nvSpPr>
          <p:spPr bwMode="auto">
            <a:xfrm>
              <a:off x="6329" y="993"/>
              <a:ext cx="52" cy="36"/>
            </a:xfrm>
            <a:custGeom>
              <a:avLst/>
              <a:gdLst>
                <a:gd name="T0" fmla="*/ 0 w 121"/>
                <a:gd name="T1" fmla="*/ 2 h 93"/>
                <a:gd name="T2" fmla="*/ 1 w 121"/>
                <a:gd name="T3" fmla="*/ 2 h 93"/>
                <a:gd name="T4" fmla="*/ 3 w 121"/>
                <a:gd name="T5" fmla="*/ 1 h 93"/>
                <a:gd name="T6" fmla="*/ 4 w 121"/>
                <a:gd name="T7" fmla="*/ 1 h 93"/>
                <a:gd name="T8" fmla="*/ 3 w 121"/>
                <a:gd name="T9" fmla="*/ 0 h 93"/>
                <a:gd name="T10" fmla="*/ 2 w 121"/>
                <a:gd name="T11" fmla="*/ 0 h 93"/>
                <a:gd name="T12" fmla="*/ 0 w 121"/>
                <a:gd name="T13" fmla="*/ 1 h 93"/>
                <a:gd name="T14" fmla="*/ 0 w 121"/>
                <a:gd name="T15" fmla="*/ 2 h 9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1" h="93">
                  <a:moveTo>
                    <a:pt x="0" y="92"/>
                  </a:moveTo>
                  <a:lnTo>
                    <a:pt x="45" y="92"/>
                  </a:lnTo>
                  <a:lnTo>
                    <a:pt x="75" y="31"/>
                  </a:lnTo>
                  <a:lnTo>
                    <a:pt x="120" y="31"/>
                  </a:lnTo>
                  <a:lnTo>
                    <a:pt x="105" y="0"/>
                  </a:lnTo>
                  <a:lnTo>
                    <a:pt x="60" y="0"/>
                  </a:lnTo>
                  <a:lnTo>
                    <a:pt x="15" y="31"/>
                  </a:lnTo>
                  <a:lnTo>
                    <a:pt x="0" y="9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6" name="Freeform 411"/>
            <p:cNvSpPr>
              <a:spLocks/>
            </p:cNvSpPr>
            <p:nvPr/>
          </p:nvSpPr>
          <p:spPr bwMode="auto">
            <a:xfrm>
              <a:off x="6419" y="976"/>
              <a:ext cx="64" cy="35"/>
            </a:xfrm>
            <a:custGeom>
              <a:avLst/>
              <a:gdLst>
                <a:gd name="T0" fmla="*/ 1 w 150"/>
                <a:gd name="T1" fmla="*/ 0 h 93"/>
                <a:gd name="T2" fmla="*/ 3 w 150"/>
                <a:gd name="T3" fmla="*/ 1 h 93"/>
                <a:gd name="T4" fmla="*/ 4 w 150"/>
                <a:gd name="T5" fmla="*/ 0 h 93"/>
                <a:gd name="T6" fmla="*/ 4 w 150"/>
                <a:gd name="T7" fmla="*/ 1 h 93"/>
                <a:gd name="T8" fmla="*/ 5 w 150"/>
                <a:gd name="T9" fmla="*/ 1 h 93"/>
                <a:gd name="T10" fmla="*/ 5 w 150"/>
                <a:gd name="T11" fmla="*/ 1 h 93"/>
                <a:gd name="T12" fmla="*/ 3 w 150"/>
                <a:gd name="T13" fmla="*/ 1 h 93"/>
                <a:gd name="T14" fmla="*/ 1 w 150"/>
                <a:gd name="T15" fmla="*/ 2 h 93"/>
                <a:gd name="T16" fmla="*/ 0 w 150"/>
                <a:gd name="T17" fmla="*/ 1 h 93"/>
                <a:gd name="T18" fmla="*/ 1 w 150"/>
                <a:gd name="T19" fmla="*/ 1 h 93"/>
                <a:gd name="T20" fmla="*/ 0 w 150"/>
                <a:gd name="T21" fmla="*/ 1 h 93"/>
                <a:gd name="T22" fmla="*/ 1 w 150"/>
                <a:gd name="T23" fmla="*/ 0 h 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0" h="93">
                  <a:moveTo>
                    <a:pt x="30" y="15"/>
                  </a:moveTo>
                  <a:lnTo>
                    <a:pt x="75" y="31"/>
                  </a:lnTo>
                  <a:lnTo>
                    <a:pt x="134" y="0"/>
                  </a:lnTo>
                  <a:lnTo>
                    <a:pt x="134" y="31"/>
                  </a:lnTo>
                  <a:lnTo>
                    <a:pt x="149" y="31"/>
                  </a:lnTo>
                  <a:lnTo>
                    <a:pt x="149" y="61"/>
                  </a:lnTo>
                  <a:lnTo>
                    <a:pt x="75" y="61"/>
                  </a:lnTo>
                  <a:lnTo>
                    <a:pt x="45" y="92"/>
                  </a:lnTo>
                  <a:lnTo>
                    <a:pt x="0" y="61"/>
                  </a:lnTo>
                  <a:lnTo>
                    <a:pt x="30" y="46"/>
                  </a:lnTo>
                  <a:lnTo>
                    <a:pt x="0" y="31"/>
                  </a:lnTo>
                  <a:lnTo>
                    <a:pt x="3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7" name="Freeform 412"/>
            <p:cNvSpPr>
              <a:spLocks/>
            </p:cNvSpPr>
            <p:nvPr/>
          </p:nvSpPr>
          <p:spPr bwMode="auto">
            <a:xfrm>
              <a:off x="6617" y="1312"/>
              <a:ext cx="52" cy="48"/>
            </a:xfrm>
            <a:custGeom>
              <a:avLst/>
              <a:gdLst>
                <a:gd name="T0" fmla="*/ 3 w 120"/>
                <a:gd name="T1" fmla="*/ 0 h 125"/>
                <a:gd name="T2" fmla="*/ 3 w 120"/>
                <a:gd name="T3" fmla="*/ 0 h 125"/>
                <a:gd name="T4" fmla="*/ 2 w 120"/>
                <a:gd name="T5" fmla="*/ 1 h 125"/>
                <a:gd name="T6" fmla="*/ 3 w 120"/>
                <a:gd name="T7" fmla="*/ 1 h 125"/>
                <a:gd name="T8" fmla="*/ 4 w 120"/>
                <a:gd name="T9" fmla="*/ 1 h 125"/>
                <a:gd name="T10" fmla="*/ 4 w 120"/>
                <a:gd name="T11" fmla="*/ 2 h 125"/>
                <a:gd name="T12" fmla="*/ 4 w 120"/>
                <a:gd name="T13" fmla="*/ 2 h 125"/>
                <a:gd name="T14" fmla="*/ 4 w 120"/>
                <a:gd name="T15" fmla="*/ 3 h 125"/>
                <a:gd name="T16" fmla="*/ 3 w 120"/>
                <a:gd name="T17" fmla="*/ 2 h 125"/>
                <a:gd name="T18" fmla="*/ 3 w 120"/>
                <a:gd name="T19" fmla="*/ 2 h 125"/>
                <a:gd name="T20" fmla="*/ 2 w 120"/>
                <a:gd name="T21" fmla="*/ 3 h 125"/>
                <a:gd name="T22" fmla="*/ 3 w 120"/>
                <a:gd name="T23" fmla="*/ 2 h 125"/>
                <a:gd name="T24" fmla="*/ 2 w 120"/>
                <a:gd name="T25" fmla="*/ 2 h 125"/>
                <a:gd name="T26" fmla="*/ 2 w 120"/>
                <a:gd name="T27" fmla="*/ 2 h 125"/>
                <a:gd name="T28" fmla="*/ 0 w 120"/>
                <a:gd name="T29" fmla="*/ 2 h 125"/>
                <a:gd name="T30" fmla="*/ 0 w 120"/>
                <a:gd name="T31" fmla="*/ 2 h 125"/>
                <a:gd name="T32" fmla="*/ 2 w 120"/>
                <a:gd name="T33" fmla="*/ 1 h 125"/>
                <a:gd name="T34" fmla="*/ 3 w 120"/>
                <a:gd name="T35" fmla="*/ 0 h 125"/>
                <a:gd name="T36" fmla="*/ 3 w 120"/>
                <a:gd name="T37" fmla="*/ 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0" h="125">
                  <a:moveTo>
                    <a:pt x="89" y="0"/>
                  </a:moveTo>
                  <a:lnTo>
                    <a:pt x="89" y="16"/>
                  </a:lnTo>
                  <a:lnTo>
                    <a:pt x="60" y="47"/>
                  </a:lnTo>
                  <a:lnTo>
                    <a:pt x="74" y="62"/>
                  </a:lnTo>
                  <a:lnTo>
                    <a:pt x="104" y="62"/>
                  </a:lnTo>
                  <a:lnTo>
                    <a:pt x="104" y="93"/>
                  </a:lnTo>
                  <a:lnTo>
                    <a:pt x="119" y="109"/>
                  </a:lnTo>
                  <a:lnTo>
                    <a:pt x="104" y="124"/>
                  </a:lnTo>
                  <a:lnTo>
                    <a:pt x="89" y="109"/>
                  </a:lnTo>
                  <a:lnTo>
                    <a:pt x="89" y="93"/>
                  </a:lnTo>
                  <a:lnTo>
                    <a:pt x="60" y="124"/>
                  </a:lnTo>
                  <a:lnTo>
                    <a:pt x="74" y="93"/>
                  </a:lnTo>
                  <a:lnTo>
                    <a:pt x="45" y="109"/>
                  </a:lnTo>
                  <a:lnTo>
                    <a:pt x="60" y="93"/>
                  </a:lnTo>
                  <a:lnTo>
                    <a:pt x="0" y="93"/>
                  </a:lnTo>
                  <a:lnTo>
                    <a:pt x="0" y="78"/>
                  </a:lnTo>
                  <a:lnTo>
                    <a:pt x="45" y="47"/>
                  </a:lnTo>
                  <a:lnTo>
                    <a:pt x="74" y="0"/>
                  </a:lnTo>
                  <a:lnTo>
                    <a:pt x="8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8" name="Freeform 413"/>
            <p:cNvSpPr>
              <a:spLocks/>
            </p:cNvSpPr>
            <p:nvPr/>
          </p:nvSpPr>
          <p:spPr bwMode="auto">
            <a:xfrm>
              <a:off x="6592" y="964"/>
              <a:ext cx="31" cy="47"/>
            </a:xfrm>
            <a:custGeom>
              <a:avLst/>
              <a:gdLst>
                <a:gd name="T0" fmla="*/ 1 w 75"/>
                <a:gd name="T1" fmla="*/ 0 h 123"/>
                <a:gd name="T2" fmla="*/ 2 w 75"/>
                <a:gd name="T3" fmla="*/ 2 h 123"/>
                <a:gd name="T4" fmla="*/ 2 w 75"/>
                <a:gd name="T5" fmla="*/ 3 h 123"/>
                <a:gd name="T6" fmla="*/ 0 w 75"/>
                <a:gd name="T7" fmla="*/ 2 h 123"/>
                <a:gd name="T8" fmla="*/ 0 w 75"/>
                <a:gd name="T9" fmla="*/ 1 h 123"/>
                <a:gd name="T10" fmla="*/ 1 w 75"/>
                <a:gd name="T11" fmla="*/ 0 h 1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5" h="123">
                  <a:moveTo>
                    <a:pt x="30" y="0"/>
                  </a:moveTo>
                  <a:lnTo>
                    <a:pt x="74" y="76"/>
                  </a:lnTo>
                  <a:lnTo>
                    <a:pt x="59" y="122"/>
                  </a:lnTo>
                  <a:lnTo>
                    <a:pt x="0" y="107"/>
                  </a:lnTo>
                  <a:lnTo>
                    <a:pt x="15" y="46"/>
                  </a:lnTo>
                  <a:lnTo>
                    <a:pt x="3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89" name="Freeform 414"/>
            <p:cNvSpPr>
              <a:spLocks/>
            </p:cNvSpPr>
            <p:nvPr/>
          </p:nvSpPr>
          <p:spPr bwMode="auto">
            <a:xfrm>
              <a:off x="6508" y="1027"/>
              <a:ext cx="40" cy="30"/>
            </a:xfrm>
            <a:custGeom>
              <a:avLst/>
              <a:gdLst>
                <a:gd name="T0" fmla="*/ 0 w 90"/>
                <a:gd name="T1" fmla="*/ 1 h 78"/>
                <a:gd name="T2" fmla="*/ 0 w 90"/>
                <a:gd name="T3" fmla="*/ 0 h 78"/>
                <a:gd name="T4" fmla="*/ 4 w 90"/>
                <a:gd name="T5" fmla="*/ 0 h 78"/>
                <a:gd name="T6" fmla="*/ 3 w 90"/>
                <a:gd name="T7" fmla="*/ 1 h 78"/>
                <a:gd name="T8" fmla="*/ 1 w 90"/>
                <a:gd name="T9" fmla="*/ 1 h 78"/>
                <a:gd name="T10" fmla="*/ 0 w 90"/>
                <a:gd name="T11" fmla="*/ 2 h 78"/>
                <a:gd name="T12" fmla="*/ 0 w 90"/>
                <a:gd name="T13" fmla="*/ 1 h 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0" h="78">
                  <a:moveTo>
                    <a:pt x="0" y="46"/>
                  </a:moveTo>
                  <a:lnTo>
                    <a:pt x="15" y="0"/>
                  </a:lnTo>
                  <a:lnTo>
                    <a:pt x="89" y="0"/>
                  </a:lnTo>
                  <a:lnTo>
                    <a:pt x="74" y="46"/>
                  </a:lnTo>
                  <a:lnTo>
                    <a:pt x="30" y="46"/>
                  </a:lnTo>
                  <a:lnTo>
                    <a:pt x="15" y="77"/>
                  </a:lnTo>
                  <a:lnTo>
                    <a:pt x="0"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0" name="Freeform 415"/>
            <p:cNvSpPr>
              <a:spLocks/>
            </p:cNvSpPr>
            <p:nvPr/>
          </p:nvSpPr>
          <p:spPr bwMode="auto">
            <a:xfrm>
              <a:off x="6392" y="964"/>
              <a:ext cx="41" cy="24"/>
            </a:xfrm>
            <a:custGeom>
              <a:avLst/>
              <a:gdLst>
                <a:gd name="T0" fmla="*/ 0 w 91"/>
                <a:gd name="T1" fmla="*/ 1 h 62"/>
                <a:gd name="T2" fmla="*/ 0 w 91"/>
                <a:gd name="T3" fmla="*/ 1 h 62"/>
                <a:gd name="T4" fmla="*/ 4 w 91"/>
                <a:gd name="T5" fmla="*/ 1 h 62"/>
                <a:gd name="T6" fmla="*/ 4 w 91"/>
                <a:gd name="T7" fmla="*/ 0 h 62"/>
                <a:gd name="T8" fmla="*/ 1 w 91"/>
                <a:gd name="T9" fmla="*/ 0 h 62"/>
                <a:gd name="T10" fmla="*/ 0 w 91"/>
                <a:gd name="T11" fmla="*/ 1 h 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1" h="62">
                  <a:moveTo>
                    <a:pt x="0" y="31"/>
                  </a:moveTo>
                  <a:lnTo>
                    <a:pt x="15" y="61"/>
                  </a:lnTo>
                  <a:lnTo>
                    <a:pt x="90" y="31"/>
                  </a:lnTo>
                  <a:lnTo>
                    <a:pt x="90" y="0"/>
                  </a:lnTo>
                  <a:lnTo>
                    <a:pt x="30" y="0"/>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1" name="Freeform 416"/>
            <p:cNvSpPr>
              <a:spLocks/>
            </p:cNvSpPr>
            <p:nvPr/>
          </p:nvSpPr>
          <p:spPr bwMode="auto">
            <a:xfrm>
              <a:off x="6496" y="987"/>
              <a:ext cx="38" cy="30"/>
            </a:xfrm>
            <a:custGeom>
              <a:avLst/>
              <a:gdLst>
                <a:gd name="T0" fmla="*/ 0 w 91"/>
                <a:gd name="T1" fmla="*/ 0 h 78"/>
                <a:gd name="T2" fmla="*/ 0 w 91"/>
                <a:gd name="T3" fmla="*/ 1 h 78"/>
                <a:gd name="T4" fmla="*/ 1 w 91"/>
                <a:gd name="T5" fmla="*/ 2 h 78"/>
                <a:gd name="T6" fmla="*/ 3 w 91"/>
                <a:gd name="T7" fmla="*/ 1 h 78"/>
                <a:gd name="T8" fmla="*/ 2 w 91"/>
                <a:gd name="T9" fmla="*/ 0 h 78"/>
                <a:gd name="T10" fmla="*/ 1 w 91"/>
                <a:gd name="T11" fmla="*/ 1 h 78"/>
                <a:gd name="T12" fmla="*/ 0 w 91"/>
                <a:gd name="T13" fmla="*/ 0 h 7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 h="78">
                  <a:moveTo>
                    <a:pt x="0" y="0"/>
                  </a:moveTo>
                  <a:lnTo>
                    <a:pt x="0" y="46"/>
                  </a:lnTo>
                  <a:lnTo>
                    <a:pt x="45" y="77"/>
                  </a:lnTo>
                  <a:lnTo>
                    <a:pt x="90" y="31"/>
                  </a:lnTo>
                  <a:lnTo>
                    <a:pt x="75" y="0"/>
                  </a:lnTo>
                  <a:lnTo>
                    <a:pt x="45"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2" name="Freeform 417"/>
            <p:cNvSpPr>
              <a:spLocks/>
            </p:cNvSpPr>
            <p:nvPr/>
          </p:nvSpPr>
          <p:spPr bwMode="auto">
            <a:xfrm>
              <a:off x="6496" y="1139"/>
              <a:ext cx="38" cy="29"/>
            </a:xfrm>
            <a:custGeom>
              <a:avLst/>
              <a:gdLst>
                <a:gd name="T0" fmla="*/ 1 w 91"/>
                <a:gd name="T1" fmla="*/ 0 h 78"/>
                <a:gd name="T2" fmla="*/ 2 w 91"/>
                <a:gd name="T3" fmla="*/ 0 h 78"/>
                <a:gd name="T4" fmla="*/ 2 w 91"/>
                <a:gd name="T5" fmla="*/ 1 h 78"/>
                <a:gd name="T6" fmla="*/ 2 w 91"/>
                <a:gd name="T7" fmla="*/ 1 h 78"/>
                <a:gd name="T8" fmla="*/ 3 w 91"/>
                <a:gd name="T9" fmla="*/ 1 h 78"/>
                <a:gd name="T10" fmla="*/ 2 w 91"/>
                <a:gd name="T11" fmla="*/ 1 h 78"/>
                <a:gd name="T12" fmla="*/ 2 w 91"/>
                <a:gd name="T13" fmla="*/ 1 h 78"/>
                <a:gd name="T14" fmla="*/ 2 w 91"/>
                <a:gd name="T15" fmla="*/ 1 h 78"/>
                <a:gd name="T16" fmla="*/ 1 w 91"/>
                <a:gd name="T17" fmla="*/ 1 h 78"/>
                <a:gd name="T18" fmla="*/ 1 w 91"/>
                <a:gd name="T19" fmla="*/ 1 h 78"/>
                <a:gd name="T20" fmla="*/ 0 w 91"/>
                <a:gd name="T21" fmla="*/ 1 h 78"/>
                <a:gd name="T22" fmla="*/ 0 w 91"/>
                <a:gd name="T23" fmla="*/ 1 h 78"/>
                <a:gd name="T24" fmla="*/ 1 w 91"/>
                <a:gd name="T25" fmla="*/ 1 h 78"/>
                <a:gd name="T26" fmla="*/ 1 w 91"/>
                <a:gd name="T27" fmla="*/ 0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1" h="78">
                  <a:moveTo>
                    <a:pt x="45" y="0"/>
                  </a:moveTo>
                  <a:lnTo>
                    <a:pt x="60" y="0"/>
                  </a:lnTo>
                  <a:lnTo>
                    <a:pt x="75" y="46"/>
                  </a:lnTo>
                  <a:lnTo>
                    <a:pt x="75" y="62"/>
                  </a:lnTo>
                  <a:lnTo>
                    <a:pt x="90" y="62"/>
                  </a:lnTo>
                  <a:lnTo>
                    <a:pt x="75" y="77"/>
                  </a:lnTo>
                  <a:lnTo>
                    <a:pt x="60" y="77"/>
                  </a:lnTo>
                  <a:lnTo>
                    <a:pt x="75" y="46"/>
                  </a:lnTo>
                  <a:lnTo>
                    <a:pt x="45" y="46"/>
                  </a:lnTo>
                  <a:lnTo>
                    <a:pt x="30" y="62"/>
                  </a:lnTo>
                  <a:lnTo>
                    <a:pt x="15" y="62"/>
                  </a:lnTo>
                  <a:lnTo>
                    <a:pt x="0" y="46"/>
                  </a:lnTo>
                  <a:lnTo>
                    <a:pt x="30" y="46"/>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3" name="Freeform 418"/>
            <p:cNvSpPr>
              <a:spLocks/>
            </p:cNvSpPr>
            <p:nvPr/>
          </p:nvSpPr>
          <p:spPr bwMode="auto">
            <a:xfrm>
              <a:off x="6470" y="1023"/>
              <a:ext cx="20" cy="34"/>
            </a:xfrm>
            <a:custGeom>
              <a:avLst/>
              <a:gdLst>
                <a:gd name="T0" fmla="*/ 0 w 46"/>
                <a:gd name="T1" fmla="*/ 0 h 93"/>
                <a:gd name="T2" fmla="*/ 2 w 46"/>
                <a:gd name="T3" fmla="*/ 0 h 93"/>
                <a:gd name="T4" fmla="*/ 2 w 46"/>
                <a:gd name="T5" fmla="*/ 1 h 93"/>
                <a:gd name="T6" fmla="*/ 0 w 46"/>
                <a:gd name="T7" fmla="*/ 1 h 93"/>
                <a:gd name="T8" fmla="*/ 0 w 46"/>
                <a:gd name="T9" fmla="*/ 0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93">
                  <a:moveTo>
                    <a:pt x="0" y="31"/>
                  </a:moveTo>
                  <a:lnTo>
                    <a:pt x="45" y="0"/>
                  </a:lnTo>
                  <a:lnTo>
                    <a:pt x="45" y="61"/>
                  </a:lnTo>
                  <a:lnTo>
                    <a:pt x="0" y="92"/>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4" name="Freeform 419"/>
            <p:cNvSpPr>
              <a:spLocks/>
            </p:cNvSpPr>
            <p:nvPr/>
          </p:nvSpPr>
          <p:spPr bwMode="auto">
            <a:xfrm>
              <a:off x="6451" y="953"/>
              <a:ext cx="19" cy="11"/>
            </a:xfrm>
            <a:custGeom>
              <a:avLst/>
              <a:gdLst>
                <a:gd name="T0" fmla="*/ 0 w 46"/>
                <a:gd name="T1" fmla="*/ 0 h 32"/>
                <a:gd name="T2" fmla="*/ 0 w 46"/>
                <a:gd name="T3" fmla="*/ 0 h 32"/>
                <a:gd name="T4" fmla="*/ 1 w 46"/>
                <a:gd name="T5" fmla="*/ 0 h 32"/>
                <a:gd name="T6" fmla="*/ 1 w 46"/>
                <a:gd name="T7" fmla="*/ 0 h 32"/>
                <a:gd name="T8" fmla="*/ 1 w 46"/>
                <a:gd name="T9" fmla="*/ 0 h 32"/>
                <a:gd name="T10" fmla="*/ 0 w 46"/>
                <a:gd name="T11" fmla="*/ 0 h 32"/>
                <a:gd name="T12" fmla="*/ 0 w 46"/>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32">
                  <a:moveTo>
                    <a:pt x="0" y="16"/>
                  </a:moveTo>
                  <a:lnTo>
                    <a:pt x="0" y="31"/>
                  </a:lnTo>
                  <a:lnTo>
                    <a:pt x="45" y="31"/>
                  </a:lnTo>
                  <a:lnTo>
                    <a:pt x="45" y="0"/>
                  </a:lnTo>
                  <a:lnTo>
                    <a:pt x="30" y="16"/>
                  </a:lnTo>
                  <a:lnTo>
                    <a:pt x="15" y="16"/>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5" name="Freeform 420"/>
            <p:cNvSpPr>
              <a:spLocks/>
            </p:cNvSpPr>
            <p:nvPr/>
          </p:nvSpPr>
          <p:spPr bwMode="auto">
            <a:xfrm>
              <a:off x="6156" y="1254"/>
              <a:ext cx="20" cy="24"/>
            </a:xfrm>
            <a:custGeom>
              <a:avLst/>
              <a:gdLst>
                <a:gd name="T0" fmla="*/ 0 w 45"/>
                <a:gd name="T1" fmla="*/ 0 h 62"/>
                <a:gd name="T2" fmla="*/ 1 w 45"/>
                <a:gd name="T3" fmla="*/ 1 h 62"/>
                <a:gd name="T4" fmla="*/ 2 w 45"/>
                <a:gd name="T5" fmla="*/ 1 h 62"/>
                <a:gd name="T6" fmla="*/ 1 w 45"/>
                <a:gd name="T7" fmla="*/ 1 h 62"/>
                <a:gd name="T8" fmla="*/ 0 w 45"/>
                <a:gd name="T9" fmla="*/ 0 h 62"/>
                <a:gd name="T10" fmla="*/ 0 w 45"/>
                <a:gd name="T11" fmla="*/ 0 h 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5" h="62">
                  <a:moveTo>
                    <a:pt x="0" y="0"/>
                  </a:moveTo>
                  <a:lnTo>
                    <a:pt x="29" y="31"/>
                  </a:lnTo>
                  <a:lnTo>
                    <a:pt x="44" y="61"/>
                  </a:lnTo>
                  <a:lnTo>
                    <a:pt x="29" y="61"/>
                  </a:lnTo>
                  <a:lnTo>
                    <a:pt x="0" y="15"/>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6" name="Freeform 421"/>
            <p:cNvSpPr>
              <a:spLocks/>
            </p:cNvSpPr>
            <p:nvPr/>
          </p:nvSpPr>
          <p:spPr bwMode="auto">
            <a:xfrm>
              <a:off x="6496" y="953"/>
              <a:ext cx="13" cy="23"/>
            </a:xfrm>
            <a:custGeom>
              <a:avLst/>
              <a:gdLst>
                <a:gd name="T0" fmla="*/ 0 w 32"/>
                <a:gd name="T1" fmla="*/ 0 h 62"/>
                <a:gd name="T2" fmla="*/ 0 w 32"/>
                <a:gd name="T3" fmla="*/ 1 h 62"/>
                <a:gd name="T4" fmla="*/ 1 w 32"/>
                <a:gd name="T5" fmla="*/ 0 h 62"/>
                <a:gd name="T6" fmla="*/ 1 w 32"/>
                <a:gd name="T7" fmla="*/ 0 h 62"/>
                <a:gd name="T8" fmla="*/ 0 w 32"/>
                <a:gd name="T9" fmla="*/ 0 h 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62">
                  <a:moveTo>
                    <a:pt x="0" y="15"/>
                  </a:moveTo>
                  <a:lnTo>
                    <a:pt x="16" y="61"/>
                  </a:lnTo>
                  <a:lnTo>
                    <a:pt x="31" y="31"/>
                  </a:lnTo>
                  <a:lnTo>
                    <a:pt x="31" y="0"/>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7" name="Freeform 422"/>
            <p:cNvSpPr>
              <a:spLocks/>
            </p:cNvSpPr>
            <p:nvPr/>
          </p:nvSpPr>
          <p:spPr bwMode="auto">
            <a:xfrm>
              <a:off x="6508" y="1174"/>
              <a:ext cx="13" cy="12"/>
            </a:xfrm>
            <a:custGeom>
              <a:avLst/>
              <a:gdLst>
                <a:gd name="T0" fmla="*/ 1 w 30"/>
                <a:gd name="T1" fmla="*/ 0 h 32"/>
                <a:gd name="T2" fmla="*/ 0 w 30"/>
                <a:gd name="T3" fmla="*/ 1 h 32"/>
                <a:gd name="T4" fmla="*/ 0 w 30"/>
                <a:gd name="T5" fmla="*/ 0 h 32"/>
                <a:gd name="T6" fmla="*/ 0 w 30"/>
                <a:gd name="T7" fmla="*/ 0 h 32"/>
                <a:gd name="T8" fmla="*/ 1 w 3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2">
                  <a:moveTo>
                    <a:pt x="29" y="0"/>
                  </a:moveTo>
                  <a:lnTo>
                    <a:pt x="0" y="31"/>
                  </a:lnTo>
                  <a:lnTo>
                    <a:pt x="0" y="16"/>
                  </a:lnTo>
                  <a:lnTo>
                    <a:pt x="15" y="0"/>
                  </a:lnTo>
                  <a:lnTo>
                    <a:pt x="2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8" name="Freeform 423"/>
            <p:cNvSpPr>
              <a:spLocks/>
            </p:cNvSpPr>
            <p:nvPr/>
          </p:nvSpPr>
          <p:spPr bwMode="auto">
            <a:xfrm>
              <a:off x="6605" y="1347"/>
              <a:ext cx="7" cy="13"/>
            </a:xfrm>
            <a:custGeom>
              <a:avLst/>
              <a:gdLst>
                <a:gd name="T0" fmla="*/ 0 w 17"/>
                <a:gd name="T1" fmla="*/ 0 h 32"/>
                <a:gd name="T2" fmla="*/ 0 w 17"/>
                <a:gd name="T3" fmla="*/ 0 h 32"/>
                <a:gd name="T4" fmla="*/ 0 w 17"/>
                <a:gd name="T5" fmla="*/ 1 h 32"/>
                <a:gd name="T6" fmla="*/ 0 w 17"/>
                <a:gd name="T7" fmla="*/ 1 h 32"/>
                <a:gd name="T8" fmla="*/ 0 w 17"/>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2">
                  <a:moveTo>
                    <a:pt x="0" y="0"/>
                  </a:moveTo>
                  <a:lnTo>
                    <a:pt x="16" y="16"/>
                  </a:lnTo>
                  <a:lnTo>
                    <a:pt x="16" y="31"/>
                  </a:lnTo>
                  <a:lnTo>
                    <a:pt x="0"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799" name="Freeform 424"/>
            <p:cNvSpPr>
              <a:spLocks/>
            </p:cNvSpPr>
            <p:nvPr/>
          </p:nvSpPr>
          <p:spPr bwMode="auto">
            <a:xfrm>
              <a:off x="6605" y="1127"/>
              <a:ext cx="13" cy="17"/>
            </a:xfrm>
            <a:custGeom>
              <a:avLst/>
              <a:gdLst>
                <a:gd name="T0" fmla="*/ 0 w 31"/>
                <a:gd name="T1" fmla="*/ 0 h 47"/>
                <a:gd name="T2" fmla="*/ 0 w 31"/>
                <a:gd name="T3" fmla="*/ 0 h 47"/>
                <a:gd name="T4" fmla="*/ 0 w 31"/>
                <a:gd name="T5" fmla="*/ 1 h 47"/>
                <a:gd name="T6" fmla="*/ 1 w 31"/>
                <a:gd name="T7" fmla="*/ 0 h 47"/>
                <a:gd name="T8" fmla="*/ 0 w 31"/>
                <a:gd name="T9" fmla="*/ 0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47">
                  <a:moveTo>
                    <a:pt x="15" y="0"/>
                  </a:moveTo>
                  <a:lnTo>
                    <a:pt x="0" y="31"/>
                  </a:lnTo>
                  <a:lnTo>
                    <a:pt x="0" y="46"/>
                  </a:lnTo>
                  <a:lnTo>
                    <a:pt x="30" y="31"/>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0" name="Freeform 425"/>
            <p:cNvSpPr>
              <a:spLocks/>
            </p:cNvSpPr>
            <p:nvPr/>
          </p:nvSpPr>
          <p:spPr bwMode="auto">
            <a:xfrm>
              <a:off x="6592" y="1684"/>
              <a:ext cx="31" cy="30"/>
            </a:xfrm>
            <a:custGeom>
              <a:avLst/>
              <a:gdLst>
                <a:gd name="T0" fmla="*/ 0 w 75"/>
                <a:gd name="T1" fmla="*/ 0 h 78"/>
                <a:gd name="T2" fmla="*/ 0 w 75"/>
                <a:gd name="T3" fmla="*/ 0 h 78"/>
                <a:gd name="T4" fmla="*/ 0 w 75"/>
                <a:gd name="T5" fmla="*/ 1 h 78"/>
                <a:gd name="T6" fmla="*/ 0 w 75"/>
                <a:gd name="T7" fmla="*/ 1 h 78"/>
                <a:gd name="T8" fmla="*/ 1 w 75"/>
                <a:gd name="T9" fmla="*/ 2 h 78"/>
                <a:gd name="T10" fmla="*/ 1 w 75"/>
                <a:gd name="T11" fmla="*/ 1 h 78"/>
                <a:gd name="T12" fmla="*/ 2 w 75"/>
                <a:gd name="T13" fmla="*/ 2 h 78"/>
                <a:gd name="T14" fmla="*/ 2 w 75"/>
                <a:gd name="T15" fmla="*/ 1 h 78"/>
                <a:gd name="T16" fmla="*/ 2 w 75"/>
                <a:gd name="T17" fmla="*/ 1 h 78"/>
                <a:gd name="T18" fmla="*/ 2 w 75"/>
                <a:gd name="T19" fmla="*/ 0 h 78"/>
                <a:gd name="T20" fmla="*/ 0 w 75"/>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5" h="78">
                  <a:moveTo>
                    <a:pt x="15" y="0"/>
                  </a:moveTo>
                  <a:lnTo>
                    <a:pt x="15" y="15"/>
                  </a:lnTo>
                  <a:lnTo>
                    <a:pt x="0" y="31"/>
                  </a:lnTo>
                  <a:lnTo>
                    <a:pt x="0" y="62"/>
                  </a:lnTo>
                  <a:lnTo>
                    <a:pt x="30" y="77"/>
                  </a:lnTo>
                  <a:lnTo>
                    <a:pt x="30" y="62"/>
                  </a:lnTo>
                  <a:lnTo>
                    <a:pt x="74" y="77"/>
                  </a:lnTo>
                  <a:lnTo>
                    <a:pt x="74" y="46"/>
                  </a:lnTo>
                  <a:lnTo>
                    <a:pt x="59" y="31"/>
                  </a:lnTo>
                  <a:lnTo>
                    <a:pt x="74" y="15"/>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1" name="Freeform 426"/>
            <p:cNvSpPr>
              <a:spLocks/>
            </p:cNvSpPr>
            <p:nvPr/>
          </p:nvSpPr>
          <p:spPr bwMode="auto">
            <a:xfrm>
              <a:off x="6425" y="1633"/>
              <a:ext cx="96" cy="128"/>
            </a:xfrm>
            <a:custGeom>
              <a:avLst/>
              <a:gdLst>
                <a:gd name="T0" fmla="*/ 0 w 224"/>
                <a:gd name="T1" fmla="*/ 4 h 339"/>
                <a:gd name="T2" fmla="*/ 0 w 224"/>
                <a:gd name="T3" fmla="*/ 5 h 339"/>
                <a:gd name="T4" fmla="*/ 2 w 224"/>
                <a:gd name="T5" fmla="*/ 5 h 339"/>
                <a:gd name="T6" fmla="*/ 3 w 224"/>
                <a:gd name="T7" fmla="*/ 5 h 339"/>
                <a:gd name="T8" fmla="*/ 3 w 224"/>
                <a:gd name="T9" fmla="*/ 5 h 339"/>
                <a:gd name="T10" fmla="*/ 3 w 224"/>
                <a:gd name="T11" fmla="*/ 6 h 339"/>
                <a:gd name="T12" fmla="*/ 4 w 224"/>
                <a:gd name="T13" fmla="*/ 6 h 339"/>
                <a:gd name="T14" fmla="*/ 4 w 224"/>
                <a:gd name="T15" fmla="*/ 6 h 339"/>
                <a:gd name="T16" fmla="*/ 6 w 224"/>
                <a:gd name="T17" fmla="*/ 6 h 339"/>
                <a:gd name="T18" fmla="*/ 6 w 224"/>
                <a:gd name="T19" fmla="*/ 7 h 339"/>
                <a:gd name="T20" fmla="*/ 6 w 224"/>
                <a:gd name="T21" fmla="*/ 6 h 339"/>
                <a:gd name="T22" fmla="*/ 6 w 224"/>
                <a:gd name="T23" fmla="*/ 6 h 339"/>
                <a:gd name="T24" fmla="*/ 6 w 224"/>
                <a:gd name="T25" fmla="*/ 5 h 339"/>
                <a:gd name="T26" fmla="*/ 6 w 224"/>
                <a:gd name="T27" fmla="*/ 5 h 339"/>
                <a:gd name="T28" fmla="*/ 6 w 224"/>
                <a:gd name="T29" fmla="*/ 5 h 339"/>
                <a:gd name="T30" fmla="*/ 6 w 224"/>
                <a:gd name="T31" fmla="*/ 5 h 339"/>
                <a:gd name="T32" fmla="*/ 6 w 224"/>
                <a:gd name="T33" fmla="*/ 5 h 339"/>
                <a:gd name="T34" fmla="*/ 6 w 224"/>
                <a:gd name="T35" fmla="*/ 5 h 339"/>
                <a:gd name="T36" fmla="*/ 7 w 224"/>
                <a:gd name="T37" fmla="*/ 5 h 339"/>
                <a:gd name="T38" fmla="*/ 8 w 224"/>
                <a:gd name="T39" fmla="*/ 5 h 339"/>
                <a:gd name="T40" fmla="*/ 7 w 224"/>
                <a:gd name="T41" fmla="*/ 4 h 339"/>
                <a:gd name="T42" fmla="*/ 7 w 224"/>
                <a:gd name="T43" fmla="*/ 3 h 339"/>
                <a:gd name="T44" fmla="*/ 6 w 224"/>
                <a:gd name="T45" fmla="*/ 3 h 339"/>
                <a:gd name="T46" fmla="*/ 4 w 224"/>
                <a:gd name="T47" fmla="*/ 2 h 339"/>
                <a:gd name="T48" fmla="*/ 4 w 224"/>
                <a:gd name="T49" fmla="*/ 2 h 339"/>
                <a:gd name="T50" fmla="*/ 3 w 224"/>
                <a:gd name="T51" fmla="*/ 2 h 339"/>
                <a:gd name="T52" fmla="*/ 4 w 224"/>
                <a:gd name="T53" fmla="*/ 1 h 339"/>
                <a:gd name="T54" fmla="*/ 5 w 224"/>
                <a:gd name="T55" fmla="*/ 0 h 339"/>
                <a:gd name="T56" fmla="*/ 5 w 224"/>
                <a:gd name="T57" fmla="*/ 0 h 339"/>
                <a:gd name="T58" fmla="*/ 4 w 224"/>
                <a:gd name="T59" fmla="*/ 0 h 339"/>
                <a:gd name="T60" fmla="*/ 4 w 224"/>
                <a:gd name="T61" fmla="*/ 0 h 339"/>
                <a:gd name="T62" fmla="*/ 3 w 224"/>
                <a:gd name="T63" fmla="*/ 1 h 339"/>
                <a:gd name="T64" fmla="*/ 3 w 224"/>
                <a:gd name="T65" fmla="*/ 1 h 339"/>
                <a:gd name="T66" fmla="*/ 1 w 224"/>
                <a:gd name="T67" fmla="*/ 2 h 339"/>
                <a:gd name="T68" fmla="*/ 1 w 224"/>
                <a:gd name="T69" fmla="*/ 2 h 339"/>
                <a:gd name="T70" fmla="*/ 1 w 224"/>
                <a:gd name="T71" fmla="*/ 2 h 339"/>
                <a:gd name="T72" fmla="*/ 1 w 224"/>
                <a:gd name="T73" fmla="*/ 2 h 339"/>
                <a:gd name="T74" fmla="*/ 1 w 224"/>
                <a:gd name="T75" fmla="*/ 4 h 339"/>
                <a:gd name="T76" fmla="*/ 0 w 224"/>
                <a:gd name="T77" fmla="*/ 4 h 3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24" h="339">
                  <a:moveTo>
                    <a:pt x="15" y="200"/>
                  </a:moveTo>
                  <a:lnTo>
                    <a:pt x="0" y="230"/>
                  </a:lnTo>
                  <a:lnTo>
                    <a:pt x="59" y="246"/>
                  </a:lnTo>
                  <a:lnTo>
                    <a:pt x="74" y="261"/>
                  </a:lnTo>
                  <a:lnTo>
                    <a:pt x="89" y="261"/>
                  </a:lnTo>
                  <a:lnTo>
                    <a:pt x="104" y="292"/>
                  </a:lnTo>
                  <a:lnTo>
                    <a:pt x="119" y="292"/>
                  </a:lnTo>
                  <a:lnTo>
                    <a:pt x="134" y="292"/>
                  </a:lnTo>
                  <a:lnTo>
                    <a:pt x="164" y="307"/>
                  </a:lnTo>
                  <a:lnTo>
                    <a:pt x="178" y="338"/>
                  </a:lnTo>
                  <a:lnTo>
                    <a:pt x="178" y="292"/>
                  </a:lnTo>
                  <a:lnTo>
                    <a:pt x="178" y="277"/>
                  </a:lnTo>
                  <a:lnTo>
                    <a:pt x="178" y="261"/>
                  </a:lnTo>
                  <a:lnTo>
                    <a:pt x="193" y="246"/>
                  </a:lnTo>
                  <a:lnTo>
                    <a:pt x="164" y="246"/>
                  </a:lnTo>
                  <a:lnTo>
                    <a:pt x="164" y="230"/>
                  </a:lnTo>
                  <a:lnTo>
                    <a:pt x="193" y="230"/>
                  </a:lnTo>
                  <a:lnTo>
                    <a:pt x="193" y="215"/>
                  </a:lnTo>
                  <a:lnTo>
                    <a:pt x="208" y="215"/>
                  </a:lnTo>
                  <a:lnTo>
                    <a:pt x="223" y="230"/>
                  </a:lnTo>
                  <a:lnTo>
                    <a:pt x="208" y="184"/>
                  </a:lnTo>
                  <a:lnTo>
                    <a:pt x="208" y="138"/>
                  </a:lnTo>
                  <a:lnTo>
                    <a:pt x="178" y="138"/>
                  </a:lnTo>
                  <a:lnTo>
                    <a:pt x="119" y="108"/>
                  </a:lnTo>
                  <a:lnTo>
                    <a:pt x="119" y="77"/>
                  </a:lnTo>
                  <a:lnTo>
                    <a:pt x="104" y="77"/>
                  </a:lnTo>
                  <a:lnTo>
                    <a:pt x="119" y="31"/>
                  </a:lnTo>
                  <a:lnTo>
                    <a:pt x="149" y="15"/>
                  </a:lnTo>
                  <a:lnTo>
                    <a:pt x="149" y="0"/>
                  </a:lnTo>
                  <a:lnTo>
                    <a:pt x="134" y="0"/>
                  </a:lnTo>
                  <a:lnTo>
                    <a:pt x="119" y="15"/>
                  </a:lnTo>
                  <a:lnTo>
                    <a:pt x="74" y="31"/>
                  </a:lnTo>
                  <a:lnTo>
                    <a:pt x="74" y="61"/>
                  </a:lnTo>
                  <a:lnTo>
                    <a:pt x="45" y="77"/>
                  </a:lnTo>
                  <a:lnTo>
                    <a:pt x="30" y="92"/>
                  </a:lnTo>
                  <a:lnTo>
                    <a:pt x="30" y="108"/>
                  </a:lnTo>
                  <a:lnTo>
                    <a:pt x="30" y="123"/>
                  </a:lnTo>
                  <a:lnTo>
                    <a:pt x="30" y="184"/>
                  </a:lnTo>
                  <a:lnTo>
                    <a:pt x="15" y="20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2" name="Freeform 427"/>
            <p:cNvSpPr>
              <a:spLocks/>
            </p:cNvSpPr>
            <p:nvPr/>
          </p:nvSpPr>
          <p:spPr bwMode="auto">
            <a:xfrm>
              <a:off x="6470" y="1633"/>
              <a:ext cx="109" cy="87"/>
            </a:xfrm>
            <a:custGeom>
              <a:avLst/>
              <a:gdLst>
                <a:gd name="T0" fmla="*/ 7 w 255"/>
                <a:gd name="T1" fmla="*/ 1 h 231"/>
                <a:gd name="T2" fmla="*/ 6 w 255"/>
                <a:gd name="T3" fmla="*/ 1 h 231"/>
                <a:gd name="T4" fmla="*/ 6 w 255"/>
                <a:gd name="T5" fmla="*/ 1 h 231"/>
                <a:gd name="T6" fmla="*/ 4 w 255"/>
                <a:gd name="T7" fmla="*/ 1 h 231"/>
                <a:gd name="T8" fmla="*/ 3 w 255"/>
                <a:gd name="T9" fmla="*/ 1 h 231"/>
                <a:gd name="T10" fmla="*/ 3 w 255"/>
                <a:gd name="T11" fmla="*/ 0 h 231"/>
                <a:gd name="T12" fmla="*/ 3 w 255"/>
                <a:gd name="T13" fmla="*/ 0 h 231"/>
                <a:gd name="T14" fmla="*/ 3 w 255"/>
                <a:gd name="T15" fmla="*/ 0 h 231"/>
                <a:gd name="T16" fmla="*/ 1 w 255"/>
                <a:gd name="T17" fmla="*/ 1 h 231"/>
                <a:gd name="T18" fmla="*/ 1 w 255"/>
                <a:gd name="T19" fmla="*/ 1 h 231"/>
                <a:gd name="T20" fmla="*/ 1 w 255"/>
                <a:gd name="T21" fmla="*/ 2 h 231"/>
                <a:gd name="T22" fmla="*/ 1 w 255"/>
                <a:gd name="T23" fmla="*/ 1 h 231"/>
                <a:gd name="T24" fmla="*/ 1 w 255"/>
                <a:gd name="T25" fmla="*/ 1 h 231"/>
                <a:gd name="T26" fmla="*/ 1 w 255"/>
                <a:gd name="T27" fmla="*/ 1 h 231"/>
                <a:gd name="T28" fmla="*/ 1 w 255"/>
                <a:gd name="T29" fmla="*/ 0 h 231"/>
                <a:gd name="T30" fmla="*/ 0 w 255"/>
                <a:gd name="T31" fmla="*/ 1 h 231"/>
                <a:gd name="T32" fmla="*/ 0 w 255"/>
                <a:gd name="T33" fmla="*/ 2 h 231"/>
                <a:gd name="T34" fmla="*/ 0 w 255"/>
                <a:gd name="T35" fmla="*/ 2 h 231"/>
                <a:gd name="T36" fmla="*/ 0 w 255"/>
                <a:gd name="T37" fmla="*/ 2 h 231"/>
                <a:gd name="T38" fmla="*/ 3 w 255"/>
                <a:gd name="T39" fmla="*/ 3 h 231"/>
                <a:gd name="T40" fmla="*/ 3 w 255"/>
                <a:gd name="T41" fmla="*/ 3 h 231"/>
                <a:gd name="T42" fmla="*/ 3 w 255"/>
                <a:gd name="T43" fmla="*/ 4 h 231"/>
                <a:gd name="T44" fmla="*/ 4 w 255"/>
                <a:gd name="T45" fmla="*/ 5 h 231"/>
                <a:gd name="T46" fmla="*/ 4 w 255"/>
                <a:gd name="T47" fmla="*/ 5 h 231"/>
                <a:gd name="T48" fmla="*/ 6 w 255"/>
                <a:gd name="T49" fmla="*/ 5 h 231"/>
                <a:gd name="T50" fmla="*/ 6 w 255"/>
                <a:gd name="T51" fmla="*/ 4 h 231"/>
                <a:gd name="T52" fmla="*/ 5 w 255"/>
                <a:gd name="T53" fmla="*/ 4 h 231"/>
                <a:gd name="T54" fmla="*/ 6 w 255"/>
                <a:gd name="T55" fmla="*/ 3 h 231"/>
                <a:gd name="T56" fmla="*/ 6 w 255"/>
                <a:gd name="T57" fmla="*/ 4 h 231"/>
                <a:gd name="T58" fmla="*/ 8 w 255"/>
                <a:gd name="T59" fmla="*/ 3 h 231"/>
                <a:gd name="T60" fmla="*/ 8 w 255"/>
                <a:gd name="T61" fmla="*/ 3 h 231"/>
                <a:gd name="T62" fmla="*/ 8 w 255"/>
                <a:gd name="T63" fmla="*/ 3 h 231"/>
                <a:gd name="T64" fmla="*/ 8 w 255"/>
                <a:gd name="T65" fmla="*/ 2 h 231"/>
                <a:gd name="T66" fmla="*/ 8 w 255"/>
                <a:gd name="T67" fmla="*/ 2 h 231"/>
                <a:gd name="T68" fmla="*/ 9 w 255"/>
                <a:gd name="T69" fmla="*/ 2 h 231"/>
                <a:gd name="T70" fmla="*/ 7 w 255"/>
                <a:gd name="T71" fmla="*/ 1 h 231"/>
                <a:gd name="T72" fmla="*/ 6 w 255"/>
                <a:gd name="T73" fmla="*/ 1 h 231"/>
                <a:gd name="T74" fmla="*/ 7 w 255"/>
                <a:gd name="T75" fmla="*/ 1 h 23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55" h="231">
                  <a:moveTo>
                    <a:pt x="209" y="31"/>
                  </a:moveTo>
                  <a:lnTo>
                    <a:pt x="179" y="46"/>
                  </a:lnTo>
                  <a:lnTo>
                    <a:pt x="164" y="46"/>
                  </a:lnTo>
                  <a:lnTo>
                    <a:pt x="134" y="31"/>
                  </a:lnTo>
                  <a:lnTo>
                    <a:pt x="105" y="31"/>
                  </a:lnTo>
                  <a:lnTo>
                    <a:pt x="90" y="15"/>
                  </a:lnTo>
                  <a:lnTo>
                    <a:pt x="75" y="0"/>
                  </a:lnTo>
                  <a:lnTo>
                    <a:pt x="75" y="15"/>
                  </a:lnTo>
                  <a:lnTo>
                    <a:pt x="45" y="31"/>
                  </a:lnTo>
                  <a:lnTo>
                    <a:pt x="45" y="61"/>
                  </a:lnTo>
                  <a:lnTo>
                    <a:pt x="45" y="77"/>
                  </a:lnTo>
                  <a:lnTo>
                    <a:pt x="45" y="61"/>
                  </a:lnTo>
                  <a:lnTo>
                    <a:pt x="30" y="61"/>
                  </a:lnTo>
                  <a:lnTo>
                    <a:pt x="45" y="31"/>
                  </a:lnTo>
                  <a:lnTo>
                    <a:pt x="45" y="15"/>
                  </a:lnTo>
                  <a:lnTo>
                    <a:pt x="15" y="31"/>
                  </a:lnTo>
                  <a:lnTo>
                    <a:pt x="0" y="77"/>
                  </a:lnTo>
                  <a:lnTo>
                    <a:pt x="15" y="77"/>
                  </a:lnTo>
                  <a:lnTo>
                    <a:pt x="15" y="107"/>
                  </a:lnTo>
                  <a:lnTo>
                    <a:pt x="75" y="138"/>
                  </a:lnTo>
                  <a:lnTo>
                    <a:pt x="105" y="138"/>
                  </a:lnTo>
                  <a:lnTo>
                    <a:pt x="105" y="184"/>
                  </a:lnTo>
                  <a:lnTo>
                    <a:pt x="120" y="230"/>
                  </a:lnTo>
                  <a:lnTo>
                    <a:pt x="134" y="230"/>
                  </a:lnTo>
                  <a:lnTo>
                    <a:pt x="164" y="230"/>
                  </a:lnTo>
                  <a:lnTo>
                    <a:pt x="179" y="199"/>
                  </a:lnTo>
                  <a:lnTo>
                    <a:pt x="149" y="184"/>
                  </a:lnTo>
                  <a:lnTo>
                    <a:pt x="164" y="169"/>
                  </a:lnTo>
                  <a:lnTo>
                    <a:pt x="194" y="184"/>
                  </a:lnTo>
                  <a:lnTo>
                    <a:pt x="224" y="169"/>
                  </a:lnTo>
                  <a:lnTo>
                    <a:pt x="239" y="153"/>
                  </a:lnTo>
                  <a:lnTo>
                    <a:pt x="224" y="138"/>
                  </a:lnTo>
                  <a:lnTo>
                    <a:pt x="239" y="107"/>
                  </a:lnTo>
                  <a:lnTo>
                    <a:pt x="224" y="107"/>
                  </a:lnTo>
                  <a:lnTo>
                    <a:pt x="254" y="92"/>
                  </a:lnTo>
                  <a:lnTo>
                    <a:pt x="209" y="61"/>
                  </a:lnTo>
                  <a:lnTo>
                    <a:pt x="194" y="46"/>
                  </a:lnTo>
                  <a:lnTo>
                    <a:pt x="209"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3" name="Freeform 428"/>
            <p:cNvSpPr>
              <a:spLocks/>
            </p:cNvSpPr>
            <p:nvPr/>
          </p:nvSpPr>
          <p:spPr bwMode="auto">
            <a:xfrm>
              <a:off x="6566" y="1668"/>
              <a:ext cx="39" cy="52"/>
            </a:xfrm>
            <a:custGeom>
              <a:avLst/>
              <a:gdLst>
                <a:gd name="T0" fmla="*/ 1 w 91"/>
                <a:gd name="T1" fmla="*/ 0 h 139"/>
                <a:gd name="T2" fmla="*/ 1 w 91"/>
                <a:gd name="T3" fmla="*/ 0 h 139"/>
                <a:gd name="T4" fmla="*/ 1 w 91"/>
                <a:gd name="T5" fmla="*/ 0 h 139"/>
                <a:gd name="T6" fmla="*/ 0 w 91"/>
                <a:gd name="T7" fmla="*/ 0 h 139"/>
                <a:gd name="T8" fmla="*/ 0 w 91"/>
                <a:gd name="T9" fmla="*/ 0 h 139"/>
                <a:gd name="T10" fmla="*/ 0 w 91"/>
                <a:gd name="T11" fmla="*/ 1 h 139"/>
                <a:gd name="T12" fmla="*/ 0 w 91"/>
                <a:gd name="T13" fmla="*/ 1 h 139"/>
                <a:gd name="T14" fmla="*/ 1 w 91"/>
                <a:gd name="T15" fmla="*/ 2 h 139"/>
                <a:gd name="T16" fmla="*/ 1 w 91"/>
                <a:gd name="T17" fmla="*/ 2 h 139"/>
                <a:gd name="T18" fmla="*/ 1 w 91"/>
                <a:gd name="T19" fmla="*/ 3 h 139"/>
                <a:gd name="T20" fmla="*/ 3 w 91"/>
                <a:gd name="T21" fmla="*/ 2 h 139"/>
                <a:gd name="T22" fmla="*/ 3 w 91"/>
                <a:gd name="T23" fmla="*/ 2 h 139"/>
                <a:gd name="T24" fmla="*/ 2 w 91"/>
                <a:gd name="T25" fmla="*/ 2 h 139"/>
                <a:gd name="T26" fmla="*/ 2 w 91"/>
                <a:gd name="T27" fmla="*/ 1 h 139"/>
                <a:gd name="T28" fmla="*/ 3 w 91"/>
                <a:gd name="T29" fmla="*/ 1 h 139"/>
                <a:gd name="T30" fmla="*/ 3 w 91"/>
                <a:gd name="T31" fmla="*/ 1 h 139"/>
                <a:gd name="T32" fmla="*/ 2 w 91"/>
                <a:gd name="T33" fmla="*/ 0 h 139"/>
                <a:gd name="T34" fmla="*/ 1 w 91"/>
                <a:gd name="T35" fmla="*/ 0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139">
                  <a:moveTo>
                    <a:pt x="45" y="15"/>
                  </a:moveTo>
                  <a:lnTo>
                    <a:pt x="45" y="0"/>
                  </a:lnTo>
                  <a:lnTo>
                    <a:pt x="30" y="0"/>
                  </a:lnTo>
                  <a:lnTo>
                    <a:pt x="0" y="15"/>
                  </a:lnTo>
                  <a:lnTo>
                    <a:pt x="15" y="15"/>
                  </a:lnTo>
                  <a:lnTo>
                    <a:pt x="0" y="46"/>
                  </a:lnTo>
                  <a:lnTo>
                    <a:pt x="15" y="61"/>
                  </a:lnTo>
                  <a:lnTo>
                    <a:pt x="30" y="107"/>
                  </a:lnTo>
                  <a:lnTo>
                    <a:pt x="30" y="123"/>
                  </a:lnTo>
                  <a:lnTo>
                    <a:pt x="45" y="138"/>
                  </a:lnTo>
                  <a:lnTo>
                    <a:pt x="75" y="123"/>
                  </a:lnTo>
                  <a:lnTo>
                    <a:pt x="90" y="123"/>
                  </a:lnTo>
                  <a:lnTo>
                    <a:pt x="60" y="107"/>
                  </a:lnTo>
                  <a:lnTo>
                    <a:pt x="60" y="77"/>
                  </a:lnTo>
                  <a:lnTo>
                    <a:pt x="75" y="61"/>
                  </a:lnTo>
                  <a:lnTo>
                    <a:pt x="75" y="46"/>
                  </a:lnTo>
                  <a:lnTo>
                    <a:pt x="60" y="31"/>
                  </a:lnTo>
                  <a:lnTo>
                    <a:pt x="4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4" name="Freeform 429"/>
            <p:cNvSpPr>
              <a:spLocks/>
            </p:cNvSpPr>
            <p:nvPr/>
          </p:nvSpPr>
          <p:spPr bwMode="auto">
            <a:xfrm>
              <a:off x="6392" y="1656"/>
              <a:ext cx="52" cy="18"/>
            </a:xfrm>
            <a:custGeom>
              <a:avLst/>
              <a:gdLst>
                <a:gd name="T0" fmla="*/ 2 w 120"/>
                <a:gd name="T1" fmla="*/ 0 h 47"/>
                <a:gd name="T2" fmla="*/ 3 w 120"/>
                <a:gd name="T3" fmla="*/ 1 h 47"/>
                <a:gd name="T4" fmla="*/ 4 w 120"/>
                <a:gd name="T5" fmla="*/ 1 h 47"/>
                <a:gd name="T6" fmla="*/ 4 w 120"/>
                <a:gd name="T7" fmla="*/ 1 h 47"/>
                <a:gd name="T8" fmla="*/ 4 w 120"/>
                <a:gd name="T9" fmla="*/ 0 h 47"/>
                <a:gd name="T10" fmla="*/ 3 w 120"/>
                <a:gd name="T11" fmla="*/ 0 h 47"/>
                <a:gd name="T12" fmla="*/ 3 w 120"/>
                <a:gd name="T13" fmla="*/ 0 h 47"/>
                <a:gd name="T14" fmla="*/ 2 w 120"/>
                <a:gd name="T15" fmla="*/ 0 h 47"/>
                <a:gd name="T16" fmla="*/ 1 w 120"/>
                <a:gd name="T17" fmla="*/ 0 h 47"/>
                <a:gd name="T18" fmla="*/ 0 w 120"/>
                <a:gd name="T19" fmla="*/ 0 h 47"/>
                <a:gd name="T20" fmla="*/ 0 w 120"/>
                <a:gd name="T21" fmla="*/ 1 h 47"/>
                <a:gd name="T22" fmla="*/ 1 w 120"/>
                <a:gd name="T23" fmla="*/ 1 h 47"/>
                <a:gd name="T24" fmla="*/ 2 w 120"/>
                <a:gd name="T25" fmla="*/ 1 h 47"/>
                <a:gd name="T26" fmla="*/ 2 w 120"/>
                <a:gd name="T27" fmla="*/ 1 h 47"/>
                <a:gd name="T28" fmla="*/ 2 w 120"/>
                <a:gd name="T29" fmla="*/ 1 h 47"/>
                <a:gd name="T30" fmla="*/ 2 w 120"/>
                <a:gd name="T31" fmla="*/ 0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0" h="47">
                  <a:moveTo>
                    <a:pt x="60" y="15"/>
                  </a:moveTo>
                  <a:lnTo>
                    <a:pt x="89" y="31"/>
                  </a:lnTo>
                  <a:lnTo>
                    <a:pt x="104" y="46"/>
                  </a:lnTo>
                  <a:lnTo>
                    <a:pt x="104" y="31"/>
                  </a:lnTo>
                  <a:lnTo>
                    <a:pt x="119" y="15"/>
                  </a:lnTo>
                  <a:lnTo>
                    <a:pt x="89" y="0"/>
                  </a:lnTo>
                  <a:lnTo>
                    <a:pt x="74" y="0"/>
                  </a:lnTo>
                  <a:lnTo>
                    <a:pt x="60" y="0"/>
                  </a:lnTo>
                  <a:lnTo>
                    <a:pt x="30" y="0"/>
                  </a:lnTo>
                  <a:lnTo>
                    <a:pt x="15" y="0"/>
                  </a:lnTo>
                  <a:lnTo>
                    <a:pt x="0" y="31"/>
                  </a:lnTo>
                  <a:lnTo>
                    <a:pt x="30" y="31"/>
                  </a:lnTo>
                  <a:lnTo>
                    <a:pt x="45" y="46"/>
                  </a:lnTo>
                  <a:lnTo>
                    <a:pt x="60" y="46"/>
                  </a:lnTo>
                  <a:lnTo>
                    <a:pt x="60" y="31"/>
                  </a:lnTo>
                  <a:lnTo>
                    <a:pt x="6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5" name="Line 430"/>
            <p:cNvSpPr>
              <a:spLocks noChangeShapeType="1"/>
            </p:cNvSpPr>
            <p:nvPr/>
          </p:nvSpPr>
          <p:spPr bwMode="auto">
            <a:xfrm>
              <a:off x="6566" y="1633"/>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6" name="Line 431"/>
            <p:cNvSpPr>
              <a:spLocks noChangeShapeType="1"/>
            </p:cNvSpPr>
            <p:nvPr/>
          </p:nvSpPr>
          <p:spPr bwMode="auto">
            <a:xfrm>
              <a:off x="6553" y="1603"/>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7" name="Line 432"/>
            <p:cNvSpPr>
              <a:spLocks noChangeShapeType="1"/>
            </p:cNvSpPr>
            <p:nvPr/>
          </p:nvSpPr>
          <p:spPr bwMode="auto">
            <a:xfrm>
              <a:off x="6553" y="1586"/>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8" name="Freeform 433"/>
            <p:cNvSpPr>
              <a:spLocks/>
            </p:cNvSpPr>
            <p:nvPr/>
          </p:nvSpPr>
          <p:spPr bwMode="auto">
            <a:xfrm>
              <a:off x="6490" y="1580"/>
              <a:ext cx="25" cy="18"/>
            </a:xfrm>
            <a:custGeom>
              <a:avLst/>
              <a:gdLst>
                <a:gd name="T0" fmla="*/ 0 w 60"/>
                <a:gd name="T1" fmla="*/ 0 h 47"/>
                <a:gd name="T2" fmla="*/ 0 w 60"/>
                <a:gd name="T3" fmla="*/ 0 h 47"/>
                <a:gd name="T4" fmla="*/ 0 w 60"/>
                <a:gd name="T5" fmla="*/ 1 h 47"/>
                <a:gd name="T6" fmla="*/ 0 w 60"/>
                <a:gd name="T7" fmla="*/ 1 h 47"/>
                <a:gd name="T8" fmla="*/ 1 w 60"/>
                <a:gd name="T9" fmla="*/ 1 h 47"/>
                <a:gd name="T10" fmla="*/ 2 w 60"/>
                <a:gd name="T11" fmla="*/ 0 h 47"/>
                <a:gd name="T12" fmla="*/ 1 w 60"/>
                <a:gd name="T13" fmla="*/ 0 h 47"/>
                <a:gd name="T14" fmla="*/ 1 w 60"/>
                <a:gd name="T15" fmla="*/ 0 h 47"/>
                <a:gd name="T16" fmla="*/ 1 w 60"/>
                <a:gd name="T17" fmla="*/ 0 h 47"/>
                <a:gd name="T18" fmla="*/ 0 w 60"/>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47">
                  <a:moveTo>
                    <a:pt x="0" y="0"/>
                  </a:moveTo>
                  <a:lnTo>
                    <a:pt x="0" y="15"/>
                  </a:lnTo>
                  <a:lnTo>
                    <a:pt x="0" y="46"/>
                  </a:lnTo>
                  <a:lnTo>
                    <a:pt x="15" y="31"/>
                  </a:lnTo>
                  <a:lnTo>
                    <a:pt x="44" y="31"/>
                  </a:lnTo>
                  <a:lnTo>
                    <a:pt x="59" y="15"/>
                  </a:lnTo>
                  <a:lnTo>
                    <a:pt x="44" y="15"/>
                  </a:lnTo>
                  <a:lnTo>
                    <a:pt x="44" y="0"/>
                  </a:lnTo>
                  <a:lnTo>
                    <a:pt x="30"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09" name="Freeform 434"/>
            <p:cNvSpPr>
              <a:spLocks/>
            </p:cNvSpPr>
            <p:nvPr/>
          </p:nvSpPr>
          <p:spPr bwMode="auto">
            <a:xfrm>
              <a:off x="6566" y="1644"/>
              <a:ext cx="7" cy="7"/>
            </a:xfrm>
            <a:custGeom>
              <a:avLst/>
              <a:gdLst>
                <a:gd name="T0" fmla="*/ 0 w 17"/>
                <a:gd name="T1" fmla="*/ 0 h 17"/>
                <a:gd name="T2" fmla="*/ 0 w 17"/>
                <a:gd name="T3" fmla="*/ 0 h 17"/>
                <a:gd name="T4" fmla="*/ 0 w 17"/>
                <a:gd name="T5" fmla="*/ 0 h 17"/>
                <a:gd name="T6" fmla="*/ 0 w 17"/>
                <a:gd name="T7" fmla="*/ 0 h 17"/>
                <a:gd name="T8" fmla="*/ 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0" y="16"/>
                  </a:moveTo>
                  <a:lnTo>
                    <a:pt x="16" y="16"/>
                  </a:lnTo>
                  <a:lnTo>
                    <a:pt x="16" y="0"/>
                  </a:lnTo>
                  <a:lnTo>
                    <a:pt x="0"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0" name="Freeform 435"/>
            <p:cNvSpPr>
              <a:spLocks/>
            </p:cNvSpPr>
            <p:nvPr/>
          </p:nvSpPr>
          <p:spPr bwMode="auto">
            <a:xfrm>
              <a:off x="6521" y="1586"/>
              <a:ext cx="8" cy="6"/>
            </a:xfrm>
            <a:custGeom>
              <a:avLst/>
              <a:gdLst>
                <a:gd name="T0" fmla="*/ 1 w 17"/>
                <a:gd name="T1" fmla="*/ 0 h 17"/>
                <a:gd name="T2" fmla="*/ 0 w 17"/>
                <a:gd name="T3" fmla="*/ 0 h 17"/>
                <a:gd name="T4" fmla="*/ 0 w 17"/>
                <a:gd name="T5" fmla="*/ 0 h 17"/>
                <a:gd name="T6" fmla="*/ 1 w 17"/>
                <a:gd name="T7" fmla="*/ 0 h 17"/>
                <a:gd name="T8" fmla="*/ 1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16" y="0"/>
                  </a:moveTo>
                  <a:lnTo>
                    <a:pt x="0" y="0"/>
                  </a:lnTo>
                  <a:lnTo>
                    <a:pt x="0" y="16"/>
                  </a:lnTo>
                  <a:lnTo>
                    <a:pt x="16" y="16"/>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1" name="Freeform 436"/>
            <p:cNvSpPr>
              <a:spLocks/>
            </p:cNvSpPr>
            <p:nvPr/>
          </p:nvSpPr>
          <p:spPr bwMode="auto">
            <a:xfrm>
              <a:off x="6566" y="1615"/>
              <a:ext cx="7"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2" name="Line 437"/>
            <p:cNvSpPr>
              <a:spLocks noChangeShapeType="1"/>
            </p:cNvSpPr>
            <p:nvPr/>
          </p:nvSpPr>
          <p:spPr bwMode="auto">
            <a:xfrm flipH="1">
              <a:off x="6560" y="1615"/>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3" name="Line 438"/>
            <p:cNvSpPr>
              <a:spLocks noChangeShapeType="1"/>
            </p:cNvSpPr>
            <p:nvPr/>
          </p:nvSpPr>
          <p:spPr bwMode="auto">
            <a:xfrm>
              <a:off x="6560" y="1610"/>
              <a:ext cx="0"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4" name="Freeform 439"/>
            <p:cNvSpPr>
              <a:spLocks/>
            </p:cNvSpPr>
            <p:nvPr/>
          </p:nvSpPr>
          <p:spPr bwMode="auto">
            <a:xfrm>
              <a:off x="6547" y="1592"/>
              <a:ext cx="7"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5" name="Line 440"/>
            <p:cNvSpPr>
              <a:spLocks noChangeShapeType="1"/>
            </p:cNvSpPr>
            <p:nvPr/>
          </p:nvSpPr>
          <p:spPr bwMode="auto">
            <a:xfrm>
              <a:off x="6534" y="1592"/>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6" name="Freeform 441"/>
            <p:cNvSpPr>
              <a:spLocks/>
            </p:cNvSpPr>
            <p:nvPr/>
          </p:nvSpPr>
          <p:spPr bwMode="auto">
            <a:xfrm>
              <a:off x="6553" y="1598"/>
              <a:ext cx="7"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0"/>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7" name="Freeform 442"/>
            <p:cNvSpPr>
              <a:spLocks/>
            </p:cNvSpPr>
            <p:nvPr/>
          </p:nvSpPr>
          <p:spPr bwMode="auto">
            <a:xfrm>
              <a:off x="6623" y="2144"/>
              <a:ext cx="13" cy="12"/>
            </a:xfrm>
            <a:custGeom>
              <a:avLst/>
              <a:gdLst>
                <a:gd name="T0" fmla="*/ 0 w 31"/>
                <a:gd name="T1" fmla="*/ 0 h 32"/>
                <a:gd name="T2" fmla="*/ 0 w 31"/>
                <a:gd name="T3" fmla="*/ 1 h 32"/>
                <a:gd name="T4" fmla="*/ 0 w 31"/>
                <a:gd name="T5" fmla="*/ 1 h 32"/>
                <a:gd name="T6" fmla="*/ 0 w 31"/>
                <a:gd name="T7" fmla="*/ 0 h 32"/>
                <a:gd name="T8" fmla="*/ 1 w 31"/>
                <a:gd name="T9" fmla="*/ 0 h 32"/>
                <a:gd name="T10" fmla="*/ 0 w 31"/>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32">
                  <a:moveTo>
                    <a:pt x="15" y="0"/>
                  </a:moveTo>
                  <a:lnTo>
                    <a:pt x="0" y="31"/>
                  </a:lnTo>
                  <a:lnTo>
                    <a:pt x="15" y="31"/>
                  </a:lnTo>
                  <a:lnTo>
                    <a:pt x="15" y="16"/>
                  </a:lnTo>
                  <a:lnTo>
                    <a:pt x="30" y="16"/>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8" name="Freeform 443"/>
            <p:cNvSpPr>
              <a:spLocks/>
            </p:cNvSpPr>
            <p:nvPr/>
          </p:nvSpPr>
          <p:spPr bwMode="auto">
            <a:xfrm>
              <a:off x="6617" y="2144"/>
              <a:ext cx="8" cy="6"/>
            </a:xfrm>
            <a:custGeom>
              <a:avLst/>
              <a:gdLst>
                <a:gd name="T0" fmla="*/ 1 w 18"/>
                <a:gd name="T1" fmla="*/ 0 h 17"/>
                <a:gd name="T2" fmla="*/ 0 w 18"/>
                <a:gd name="T3" fmla="*/ 0 h 17"/>
                <a:gd name="T4" fmla="*/ 0 w 18"/>
                <a:gd name="T5" fmla="*/ 0 h 17"/>
                <a:gd name="T6" fmla="*/ 1 w 18"/>
                <a:gd name="T7" fmla="*/ 0 h 17"/>
                <a:gd name="T8" fmla="*/ 1 w 18"/>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7">
                  <a:moveTo>
                    <a:pt x="17" y="0"/>
                  </a:moveTo>
                  <a:lnTo>
                    <a:pt x="0" y="0"/>
                  </a:lnTo>
                  <a:lnTo>
                    <a:pt x="0" y="16"/>
                  </a:lnTo>
                  <a:lnTo>
                    <a:pt x="17" y="16"/>
                  </a:lnTo>
                  <a:lnTo>
                    <a:pt x="17"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19" name="Freeform 444"/>
            <p:cNvSpPr>
              <a:spLocks/>
            </p:cNvSpPr>
            <p:nvPr/>
          </p:nvSpPr>
          <p:spPr bwMode="auto">
            <a:xfrm>
              <a:off x="6514" y="1894"/>
              <a:ext cx="122" cy="268"/>
            </a:xfrm>
            <a:custGeom>
              <a:avLst/>
              <a:gdLst>
                <a:gd name="T0" fmla="*/ 5 w 284"/>
                <a:gd name="T1" fmla="*/ 12 h 708"/>
                <a:gd name="T2" fmla="*/ 4 w 284"/>
                <a:gd name="T3" fmla="*/ 12 h 708"/>
                <a:gd name="T4" fmla="*/ 3 w 284"/>
                <a:gd name="T5" fmla="*/ 11 h 708"/>
                <a:gd name="T6" fmla="*/ 4 w 284"/>
                <a:gd name="T7" fmla="*/ 11 h 708"/>
                <a:gd name="T8" fmla="*/ 5 w 284"/>
                <a:gd name="T9" fmla="*/ 11 h 708"/>
                <a:gd name="T10" fmla="*/ 5 w 284"/>
                <a:gd name="T11" fmla="*/ 10 h 708"/>
                <a:gd name="T12" fmla="*/ 6 w 284"/>
                <a:gd name="T13" fmla="*/ 10 h 708"/>
                <a:gd name="T14" fmla="*/ 6 w 284"/>
                <a:gd name="T15" fmla="*/ 9 h 708"/>
                <a:gd name="T16" fmla="*/ 5 w 284"/>
                <a:gd name="T17" fmla="*/ 9 h 708"/>
                <a:gd name="T18" fmla="*/ 5 w 284"/>
                <a:gd name="T19" fmla="*/ 9 h 708"/>
                <a:gd name="T20" fmla="*/ 5 w 284"/>
                <a:gd name="T21" fmla="*/ 9 h 708"/>
                <a:gd name="T22" fmla="*/ 5 w 284"/>
                <a:gd name="T23" fmla="*/ 9 h 708"/>
                <a:gd name="T24" fmla="*/ 6 w 284"/>
                <a:gd name="T25" fmla="*/ 8 h 708"/>
                <a:gd name="T26" fmla="*/ 6 w 284"/>
                <a:gd name="T27" fmla="*/ 8 h 708"/>
                <a:gd name="T28" fmla="*/ 6 w 284"/>
                <a:gd name="T29" fmla="*/ 8 h 708"/>
                <a:gd name="T30" fmla="*/ 7 w 284"/>
                <a:gd name="T31" fmla="*/ 8 h 708"/>
                <a:gd name="T32" fmla="*/ 8 w 284"/>
                <a:gd name="T33" fmla="*/ 8 h 708"/>
                <a:gd name="T34" fmla="*/ 9 w 284"/>
                <a:gd name="T35" fmla="*/ 6 h 708"/>
                <a:gd name="T36" fmla="*/ 8 w 284"/>
                <a:gd name="T37" fmla="*/ 6 h 708"/>
                <a:gd name="T38" fmla="*/ 8 w 284"/>
                <a:gd name="T39" fmla="*/ 6 h 708"/>
                <a:gd name="T40" fmla="*/ 8 w 284"/>
                <a:gd name="T41" fmla="*/ 6 h 708"/>
                <a:gd name="T42" fmla="*/ 8 w 284"/>
                <a:gd name="T43" fmla="*/ 4 h 708"/>
                <a:gd name="T44" fmla="*/ 8 w 284"/>
                <a:gd name="T45" fmla="*/ 3 h 708"/>
                <a:gd name="T46" fmla="*/ 9 w 284"/>
                <a:gd name="T47" fmla="*/ 2 h 708"/>
                <a:gd name="T48" fmla="*/ 9 w 284"/>
                <a:gd name="T49" fmla="*/ 2 h 708"/>
                <a:gd name="T50" fmla="*/ 9 w 284"/>
                <a:gd name="T51" fmla="*/ 2 h 708"/>
                <a:gd name="T52" fmla="*/ 9 w 284"/>
                <a:gd name="T53" fmla="*/ 2 h 708"/>
                <a:gd name="T54" fmla="*/ 8 w 284"/>
                <a:gd name="T55" fmla="*/ 3 h 708"/>
                <a:gd name="T56" fmla="*/ 6 w 284"/>
                <a:gd name="T57" fmla="*/ 2 h 708"/>
                <a:gd name="T58" fmla="*/ 7 w 284"/>
                <a:gd name="T59" fmla="*/ 2 h 708"/>
                <a:gd name="T60" fmla="*/ 5 w 284"/>
                <a:gd name="T61" fmla="*/ 1 h 708"/>
                <a:gd name="T62" fmla="*/ 5 w 284"/>
                <a:gd name="T63" fmla="*/ 1 h 708"/>
                <a:gd name="T64" fmla="*/ 3 w 284"/>
                <a:gd name="T65" fmla="*/ 0 h 708"/>
                <a:gd name="T66" fmla="*/ 3 w 284"/>
                <a:gd name="T67" fmla="*/ 1 h 708"/>
                <a:gd name="T68" fmla="*/ 3 w 284"/>
                <a:gd name="T69" fmla="*/ 0 h 708"/>
                <a:gd name="T70" fmla="*/ 2 w 284"/>
                <a:gd name="T71" fmla="*/ 0 h 708"/>
                <a:gd name="T72" fmla="*/ 1 w 284"/>
                <a:gd name="T73" fmla="*/ 0 h 708"/>
                <a:gd name="T74" fmla="*/ 1 w 284"/>
                <a:gd name="T75" fmla="*/ 1 h 708"/>
                <a:gd name="T76" fmla="*/ 1 w 284"/>
                <a:gd name="T77" fmla="*/ 1 h 708"/>
                <a:gd name="T78" fmla="*/ 0 w 284"/>
                <a:gd name="T79" fmla="*/ 2 h 708"/>
                <a:gd name="T80" fmla="*/ 1 w 284"/>
                <a:gd name="T81" fmla="*/ 2 h 708"/>
                <a:gd name="T82" fmla="*/ 0 w 284"/>
                <a:gd name="T83" fmla="*/ 3 h 708"/>
                <a:gd name="T84" fmla="*/ 0 w 284"/>
                <a:gd name="T85" fmla="*/ 4 h 708"/>
                <a:gd name="T86" fmla="*/ 0 w 284"/>
                <a:gd name="T87" fmla="*/ 5 h 708"/>
                <a:gd name="T88" fmla="*/ 0 w 284"/>
                <a:gd name="T89" fmla="*/ 6 h 708"/>
                <a:gd name="T90" fmla="*/ 0 w 284"/>
                <a:gd name="T91" fmla="*/ 6 h 708"/>
                <a:gd name="T92" fmla="*/ 0 w 284"/>
                <a:gd name="T93" fmla="*/ 6 h 708"/>
                <a:gd name="T94" fmla="*/ 0 w 284"/>
                <a:gd name="T95" fmla="*/ 8 h 708"/>
                <a:gd name="T96" fmla="*/ 0 w 284"/>
                <a:gd name="T97" fmla="*/ 8 h 708"/>
                <a:gd name="T98" fmla="*/ 1 w 284"/>
                <a:gd name="T99" fmla="*/ 11 h 708"/>
                <a:gd name="T100" fmla="*/ 1 w 284"/>
                <a:gd name="T101" fmla="*/ 11 h 708"/>
                <a:gd name="T102" fmla="*/ 1 w 284"/>
                <a:gd name="T103" fmla="*/ 11 h 708"/>
                <a:gd name="T104" fmla="*/ 1 w 284"/>
                <a:gd name="T105" fmla="*/ 14 h 708"/>
                <a:gd name="T106" fmla="*/ 2 w 284"/>
                <a:gd name="T107" fmla="*/ 14 h 708"/>
                <a:gd name="T108" fmla="*/ 3 w 284"/>
                <a:gd name="T109" fmla="*/ 14 h 708"/>
                <a:gd name="T110" fmla="*/ 4 w 284"/>
                <a:gd name="T111" fmla="*/ 14 h 708"/>
                <a:gd name="T112" fmla="*/ 4 w 284"/>
                <a:gd name="T113" fmla="*/ 14 h 708"/>
                <a:gd name="T114" fmla="*/ 3 w 284"/>
                <a:gd name="T115" fmla="*/ 14 h 708"/>
                <a:gd name="T116" fmla="*/ 4 w 284"/>
                <a:gd name="T117" fmla="*/ 13 h 708"/>
                <a:gd name="T118" fmla="*/ 4 w 284"/>
                <a:gd name="T119" fmla="*/ 13 h 708"/>
                <a:gd name="T120" fmla="*/ 5 w 284"/>
                <a:gd name="T121" fmla="*/ 12 h 708"/>
                <a:gd name="T122" fmla="*/ 5 w 284"/>
                <a:gd name="T123" fmla="*/ 12 h 70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4" h="708">
                  <a:moveTo>
                    <a:pt x="134" y="569"/>
                  </a:moveTo>
                  <a:lnTo>
                    <a:pt x="119" y="569"/>
                  </a:lnTo>
                  <a:lnTo>
                    <a:pt x="104" y="538"/>
                  </a:lnTo>
                  <a:lnTo>
                    <a:pt x="119" y="523"/>
                  </a:lnTo>
                  <a:lnTo>
                    <a:pt x="134" y="523"/>
                  </a:lnTo>
                  <a:lnTo>
                    <a:pt x="134" y="476"/>
                  </a:lnTo>
                  <a:lnTo>
                    <a:pt x="164" y="476"/>
                  </a:lnTo>
                  <a:lnTo>
                    <a:pt x="164" y="461"/>
                  </a:lnTo>
                  <a:lnTo>
                    <a:pt x="134" y="461"/>
                  </a:lnTo>
                  <a:lnTo>
                    <a:pt x="134" y="446"/>
                  </a:lnTo>
                  <a:lnTo>
                    <a:pt x="134" y="430"/>
                  </a:lnTo>
                  <a:lnTo>
                    <a:pt x="149" y="430"/>
                  </a:lnTo>
                  <a:lnTo>
                    <a:pt x="164" y="415"/>
                  </a:lnTo>
                  <a:lnTo>
                    <a:pt x="164" y="400"/>
                  </a:lnTo>
                  <a:lnTo>
                    <a:pt x="164" y="384"/>
                  </a:lnTo>
                  <a:lnTo>
                    <a:pt x="209" y="384"/>
                  </a:lnTo>
                  <a:lnTo>
                    <a:pt x="238" y="369"/>
                  </a:lnTo>
                  <a:lnTo>
                    <a:pt x="253" y="323"/>
                  </a:lnTo>
                  <a:lnTo>
                    <a:pt x="238" y="307"/>
                  </a:lnTo>
                  <a:lnTo>
                    <a:pt x="238" y="292"/>
                  </a:lnTo>
                  <a:lnTo>
                    <a:pt x="223" y="277"/>
                  </a:lnTo>
                  <a:lnTo>
                    <a:pt x="223" y="184"/>
                  </a:lnTo>
                  <a:lnTo>
                    <a:pt x="223" y="169"/>
                  </a:lnTo>
                  <a:lnTo>
                    <a:pt x="283" y="108"/>
                  </a:lnTo>
                  <a:lnTo>
                    <a:pt x="268" y="92"/>
                  </a:lnTo>
                  <a:lnTo>
                    <a:pt x="253" y="77"/>
                  </a:lnTo>
                  <a:lnTo>
                    <a:pt x="253" y="108"/>
                  </a:lnTo>
                  <a:lnTo>
                    <a:pt x="223" y="123"/>
                  </a:lnTo>
                  <a:lnTo>
                    <a:pt x="194" y="108"/>
                  </a:lnTo>
                  <a:lnTo>
                    <a:pt x="209" y="77"/>
                  </a:lnTo>
                  <a:lnTo>
                    <a:pt x="149" y="31"/>
                  </a:lnTo>
                  <a:lnTo>
                    <a:pt x="134" y="46"/>
                  </a:lnTo>
                  <a:lnTo>
                    <a:pt x="104" y="15"/>
                  </a:lnTo>
                  <a:lnTo>
                    <a:pt x="74" y="31"/>
                  </a:lnTo>
                  <a:lnTo>
                    <a:pt x="74" y="15"/>
                  </a:lnTo>
                  <a:lnTo>
                    <a:pt x="60" y="15"/>
                  </a:lnTo>
                  <a:lnTo>
                    <a:pt x="45" y="0"/>
                  </a:lnTo>
                  <a:lnTo>
                    <a:pt x="30" y="46"/>
                  </a:lnTo>
                  <a:lnTo>
                    <a:pt x="30" y="61"/>
                  </a:lnTo>
                  <a:lnTo>
                    <a:pt x="15" y="77"/>
                  </a:lnTo>
                  <a:lnTo>
                    <a:pt x="30" y="108"/>
                  </a:lnTo>
                  <a:lnTo>
                    <a:pt x="15" y="138"/>
                  </a:lnTo>
                  <a:lnTo>
                    <a:pt x="0" y="184"/>
                  </a:lnTo>
                  <a:lnTo>
                    <a:pt x="0" y="215"/>
                  </a:lnTo>
                  <a:lnTo>
                    <a:pt x="15" y="277"/>
                  </a:lnTo>
                  <a:lnTo>
                    <a:pt x="15" y="323"/>
                  </a:lnTo>
                  <a:lnTo>
                    <a:pt x="0" y="323"/>
                  </a:lnTo>
                  <a:lnTo>
                    <a:pt x="15" y="384"/>
                  </a:lnTo>
                  <a:lnTo>
                    <a:pt x="0" y="400"/>
                  </a:lnTo>
                  <a:lnTo>
                    <a:pt x="30" y="523"/>
                  </a:lnTo>
                  <a:lnTo>
                    <a:pt x="30" y="538"/>
                  </a:lnTo>
                  <a:lnTo>
                    <a:pt x="45" y="553"/>
                  </a:lnTo>
                  <a:lnTo>
                    <a:pt x="45" y="676"/>
                  </a:lnTo>
                  <a:lnTo>
                    <a:pt x="60" y="676"/>
                  </a:lnTo>
                  <a:lnTo>
                    <a:pt x="74" y="707"/>
                  </a:lnTo>
                  <a:lnTo>
                    <a:pt x="119" y="707"/>
                  </a:lnTo>
                  <a:lnTo>
                    <a:pt x="119" y="692"/>
                  </a:lnTo>
                  <a:lnTo>
                    <a:pt x="104" y="676"/>
                  </a:lnTo>
                  <a:lnTo>
                    <a:pt x="119" y="646"/>
                  </a:lnTo>
                  <a:lnTo>
                    <a:pt x="119" y="630"/>
                  </a:lnTo>
                  <a:lnTo>
                    <a:pt x="149" y="599"/>
                  </a:lnTo>
                  <a:lnTo>
                    <a:pt x="134" y="56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0" name="Freeform 445"/>
            <p:cNvSpPr>
              <a:spLocks/>
            </p:cNvSpPr>
            <p:nvPr/>
          </p:nvSpPr>
          <p:spPr bwMode="auto">
            <a:xfrm>
              <a:off x="6573" y="2173"/>
              <a:ext cx="25" cy="18"/>
            </a:xfrm>
            <a:custGeom>
              <a:avLst/>
              <a:gdLst>
                <a:gd name="T0" fmla="*/ 0 w 61"/>
                <a:gd name="T1" fmla="*/ 0 h 47"/>
                <a:gd name="T2" fmla="*/ 0 w 61"/>
                <a:gd name="T3" fmla="*/ 1 h 47"/>
                <a:gd name="T4" fmla="*/ 1 w 61"/>
                <a:gd name="T5" fmla="*/ 1 h 47"/>
                <a:gd name="T6" fmla="*/ 2 w 61"/>
                <a:gd name="T7" fmla="*/ 1 h 47"/>
                <a:gd name="T8" fmla="*/ 1 w 61"/>
                <a:gd name="T9" fmla="*/ 1 h 47"/>
                <a:gd name="T10" fmla="*/ 0 w 61"/>
                <a:gd name="T11" fmla="*/ 0 h 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1" h="47">
                  <a:moveTo>
                    <a:pt x="0" y="0"/>
                  </a:moveTo>
                  <a:lnTo>
                    <a:pt x="0" y="46"/>
                  </a:lnTo>
                  <a:lnTo>
                    <a:pt x="30" y="46"/>
                  </a:lnTo>
                  <a:lnTo>
                    <a:pt x="60" y="31"/>
                  </a:lnTo>
                  <a:lnTo>
                    <a:pt x="30"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1" name="Freeform 446"/>
            <p:cNvSpPr>
              <a:spLocks/>
            </p:cNvSpPr>
            <p:nvPr/>
          </p:nvSpPr>
          <p:spPr bwMode="auto">
            <a:xfrm>
              <a:off x="6611" y="1958"/>
              <a:ext cx="33" cy="41"/>
            </a:xfrm>
            <a:custGeom>
              <a:avLst/>
              <a:gdLst>
                <a:gd name="T0" fmla="*/ 3 w 75"/>
                <a:gd name="T1" fmla="*/ 2 h 109"/>
                <a:gd name="T2" fmla="*/ 2 w 75"/>
                <a:gd name="T3" fmla="*/ 1 h 109"/>
                <a:gd name="T4" fmla="*/ 1 w 75"/>
                <a:gd name="T5" fmla="*/ 0 h 109"/>
                <a:gd name="T6" fmla="*/ 0 w 75"/>
                <a:gd name="T7" fmla="*/ 0 h 109"/>
                <a:gd name="T8" fmla="*/ 0 w 75"/>
                <a:gd name="T9" fmla="*/ 0 h 109"/>
                <a:gd name="T10" fmla="*/ 0 w 75"/>
                <a:gd name="T11" fmla="*/ 2 h 109"/>
                <a:gd name="T12" fmla="*/ 2 w 75"/>
                <a:gd name="T13" fmla="*/ 2 h 109"/>
                <a:gd name="T14" fmla="*/ 3 w 75"/>
                <a:gd name="T15" fmla="*/ 2 h 109"/>
                <a:gd name="T16" fmla="*/ 3 w 75"/>
                <a:gd name="T17" fmla="*/ 2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5" h="109">
                  <a:moveTo>
                    <a:pt x="74" y="77"/>
                  </a:moveTo>
                  <a:lnTo>
                    <a:pt x="59" y="62"/>
                  </a:lnTo>
                  <a:lnTo>
                    <a:pt x="30" y="15"/>
                  </a:lnTo>
                  <a:lnTo>
                    <a:pt x="0" y="0"/>
                  </a:lnTo>
                  <a:lnTo>
                    <a:pt x="0" y="15"/>
                  </a:lnTo>
                  <a:lnTo>
                    <a:pt x="0" y="108"/>
                  </a:lnTo>
                  <a:lnTo>
                    <a:pt x="44" y="108"/>
                  </a:lnTo>
                  <a:lnTo>
                    <a:pt x="74" y="108"/>
                  </a:lnTo>
                  <a:lnTo>
                    <a:pt x="74"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2" name="Freeform 447"/>
            <p:cNvSpPr>
              <a:spLocks/>
            </p:cNvSpPr>
            <p:nvPr/>
          </p:nvSpPr>
          <p:spPr bwMode="auto">
            <a:xfrm>
              <a:off x="6560" y="1876"/>
              <a:ext cx="71" cy="65"/>
            </a:xfrm>
            <a:custGeom>
              <a:avLst/>
              <a:gdLst>
                <a:gd name="T0" fmla="*/ 3 w 165"/>
                <a:gd name="T1" fmla="*/ 0 h 170"/>
                <a:gd name="T2" fmla="*/ 3 w 165"/>
                <a:gd name="T3" fmla="*/ 0 h 170"/>
                <a:gd name="T4" fmla="*/ 0 w 165"/>
                <a:gd name="T5" fmla="*/ 0 h 170"/>
                <a:gd name="T6" fmla="*/ 0 w 165"/>
                <a:gd name="T7" fmla="*/ 1 h 170"/>
                <a:gd name="T8" fmla="*/ 1 w 165"/>
                <a:gd name="T9" fmla="*/ 2 h 170"/>
                <a:gd name="T10" fmla="*/ 1 w 165"/>
                <a:gd name="T11" fmla="*/ 2 h 170"/>
                <a:gd name="T12" fmla="*/ 3 w 165"/>
                <a:gd name="T13" fmla="*/ 3 h 170"/>
                <a:gd name="T14" fmla="*/ 3 w 165"/>
                <a:gd name="T15" fmla="*/ 3 h 170"/>
                <a:gd name="T16" fmla="*/ 4 w 165"/>
                <a:gd name="T17" fmla="*/ 4 h 170"/>
                <a:gd name="T18" fmla="*/ 5 w 165"/>
                <a:gd name="T19" fmla="*/ 3 h 170"/>
                <a:gd name="T20" fmla="*/ 5 w 165"/>
                <a:gd name="T21" fmla="*/ 3 h 170"/>
                <a:gd name="T22" fmla="*/ 6 w 165"/>
                <a:gd name="T23" fmla="*/ 2 h 170"/>
                <a:gd name="T24" fmla="*/ 5 w 165"/>
                <a:gd name="T25" fmla="*/ 2 h 170"/>
                <a:gd name="T26" fmla="*/ 5 w 165"/>
                <a:gd name="T27" fmla="*/ 1 h 170"/>
                <a:gd name="T28" fmla="*/ 4 w 165"/>
                <a:gd name="T29" fmla="*/ 1 h 170"/>
                <a:gd name="T30" fmla="*/ 4 w 165"/>
                <a:gd name="T31" fmla="*/ 1 h 170"/>
                <a:gd name="T32" fmla="*/ 3 w 165"/>
                <a:gd name="T33" fmla="*/ 1 h 170"/>
                <a:gd name="T34" fmla="*/ 3 w 165"/>
                <a:gd name="T35" fmla="*/ 0 h 1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5" h="170">
                  <a:moveTo>
                    <a:pt x="89" y="15"/>
                  </a:moveTo>
                  <a:lnTo>
                    <a:pt x="75" y="0"/>
                  </a:lnTo>
                  <a:lnTo>
                    <a:pt x="15" y="15"/>
                  </a:lnTo>
                  <a:lnTo>
                    <a:pt x="0" y="61"/>
                  </a:lnTo>
                  <a:lnTo>
                    <a:pt x="30" y="92"/>
                  </a:lnTo>
                  <a:lnTo>
                    <a:pt x="45" y="77"/>
                  </a:lnTo>
                  <a:lnTo>
                    <a:pt x="104" y="123"/>
                  </a:lnTo>
                  <a:lnTo>
                    <a:pt x="89" y="154"/>
                  </a:lnTo>
                  <a:lnTo>
                    <a:pt x="119" y="169"/>
                  </a:lnTo>
                  <a:lnTo>
                    <a:pt x="149" y="154"/>
                  </a:lnTo>
                  <a:lnTo>
                    <a:pt x="149" y="123"/>
                  </a:lnTo>
                  <a:lnTo>
                    <a:pt x="164" y="92"/>
                  </a:lnTo>
                  <a:lnTo>
                    <a:pt x="134" y="92"/>
                  </a:lnTo>
                  <a:lnTo>
                    <a:pt x="134" y="61"/>
                  </a:lnTo>
                  <a:lnTo>
                    <a:pt x="119" y="46"/>
                  </a:lnTo>
                  <a:lnTo>
                    <a:pt x="119" y="61"/>
                  </a:lnTo>
                  <a:lnTo>
                    <a:pt x="89" y="61"/>
                  </a:lnTo>
                  <a:lnTo>
                    <a:pt x="89"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3" name="Freeform 448"/>
            <p:cNvSpPr>
              <a:spLocks/>
            </p:cNvSpPr>
            <p:nvPr/>
          </p:nvSpPr>
          <p:spPr bwMode="auto">
            <a:xfrm>
              <a:off x="6496" y="1865"/>
              <a:ext cx="70" cy="315"/>
            </a:xfrm>
            <a:custGeom>
              <a:avLst/>
              <a:gdLst>
                <a:gd name="T0" fmla="*/ 1 w 165"/>
                <a:gd name="T1" fmla="*/ 14 h 830"/>
                <a:gd name="T2" fmla="*/ 1 w 165"/>
                <a:gd name="T3" fmla="*/ 14 h 830"/>
                <a:gd name="T4" fmla="*/ 1 w 165"/>
                <a:gd name="T5" fmla="*/ 14 h 830"/>
                <a:gd name="T6" fmla="*/ 3 w 165"/>
                <a:gd name="T7" fmla="*/ 16 h 830"/>
                <a:gd name="T8" fmla="*/ 3 w 165"/>
                <a:gd name="T9" fmla="*/ 17 h 830"/>
                <a:gd name="T10" fmla="*/ 5 w 165"/>
                <a:gd name="T11" fmla="*/ 17 h 830"/>
                <a:gd name="T12" fmla="*/ 4 w 165"/>
                <a:gd name="T13" fmla="*/ 17 h 830"/>
                <a:gd name="T14" fmla="*/ 6 w 165"/>
                <a:gd name="T15" fmla="*/ 16 h 830"/>
                <a:gd name="T16" fmla="*/ 4 w 165"/>
                <a:gd name="T17" fmla="*/ 16 h 830"/>
                <a:gd name="T18" fmla="*/ 3 w 165"/>
                <a:gd name="T19" fmla="*/ 16 h 830"/>
                <a:gd name="T20" fmla="*/ 3 w 165"/>
                <a:gd name="T21" fmla="*/ 16 h 830"/>
                <a:gd name="T22" fmla="*/ 3 w 165"/>
                <a:gd name="T23" fmla="*/ 13 h 830"/>
                <a:gd name="T24" fmla="*/ 3 w 165"/>
                <a:gd name="T25" fmla="*/ 13 h 830"/>
                <a:gd name="T26" fmla="*/ 3 w 165"/>
                <a:gd name="T27" fmla="*/ 13 h 830"/>
                <a:gd name="T28" fmla="*/ 1 w 165"/>
                <a:gd name="T29" fmla="*/ 10 h 830"/>
                <a:gd name="T30" fmla="*/ 2 w 165"/>
                <a:gd name="T31" fmla="*/ 9 h 830"/>
                <a:gd name="T32" fmla="*/ 1 w 165"/>
                <a:gd name="T33" fmla="*/ 8 h 830"/>
                <a:gd name="T34" fmla="*/ 2 w 165"/>
                <a:gd name="T35" fmla="*/ 8 h 830"/>
                <a:gd name="T36" fmla="*/ 2 w 165"/>
                <a:gd name="T37" fmla="*/ 7 h 830"/>
                <a:gd name="T38" fmla="*/ 1 w 165"/>
                <a:gd name="T39" fmla="*/ 6 h 830"/>
                <a:gd name="T40" fmla="*/ 1 w 165"/>
                <a:gd name="T41" fmla="*/ 5 h 830"/>
                <a:gd name="T42" fmla="*/ 2 w 165"/>
                <a:gd name="T43" fmla="*/ 5 h 830"/>
                <a:gd name="T44" fmla="*/ 3 w 165"/>
                <a:gd name="T45" fmla="*/ 4 h 830"/>
                <a:gd name="T46" fmla="*/ 2 w 165"/>
                <a:gd name="T47" fmla="*/ 3 h 830"/>
                <a:gd name="T48" fmla="*/ 3 w 165"/>
                <a:gd name="T49" fmla="*/ 3 h 830"/>
                <a:gd name="T50" fmla="*/ 3 w 165"/>
                <a:gd name="T51" fmla="*/ 3 h 830"/>
                <a:gd name="T52" fmla="*/ 3 w 165"/>
                <a:gd name="T53" fmla="*/ 2 h 830"/>
                <a:gd name="T54" fmla="*/ 1 w 165"/>
                <a:gd name="T55" fmla="*/ 1 h 830"/>
                <a:gd name="T56" fmla="*/ 1 w 165"/>
                <a:gd name="T57" fmla="*/ 0 h 830"/>
                <a:gd name="T58" fmla="*/ 0 w 165"/>
                <a:gd name="T59" fmla="*/ 0 h 830"/>
                <a:gd name="T60" fmla="*/ 0 w 165"/>
                <a:gd name="T61" fmla="*/ 0 h 830"/>
                <a:gd name="T62" fmla="*/ 0 w 165"/>
                <a:gd name="T63" fmla="*/ 1 h 830"/>
                <a:gd name="T64" fmla="*/ 0 w 165"/>
                <a:gd name="T65" fmla="*/ 4 h 830"/>
                <a:gd name="T66" fmla="*/ 0 w 165"/>
                <a:gd name="T67" fmla="*/ 5 h 830"/>
                <a:gd name="T68" fmla="*/ 1 w 165"/>
                <a:gd name="T69" fmla="*/ 5 h 830"/>
                <a:gd name="T70" fmla="*/ 1 w 165"/>
                <a:gd name="T71" fmla="*/ 6 h 830"/>
                <a:gd name="T72" fmla="*/ 1 w 165"/>
                <a:gd name="T73" fmla="*/ 7 h 830"/>
                <a:gd name="T74" fmla="*/ 0 w 165"/>
                <a:gd name="T75" fmla="*/ 9 h 830"/>
                <a:gd name="T76" fmla="*/ 0 w 165"/>
                <a:gd name="T77" fmla="*/ 10 h 830"/>
                <a:gd name="T78" fmla="*/ 0 w 165"/>
                <a:gd name="T79" fmla="*/ 11 h 830"/>
                <a:gd name="T80" fmla="*/ 1 w 165"/>
                <a:gd name="T81" fmla="*/ 11 h 830"/>
                <a:gd name="T82" fmla="*/ 1 w 165"/>
                <a:gd name="T83" fmla="*/ 11 h 830"/>
                <a:gd name="T84" fmla="*/ 2 w 165"/>
                <a:gd name="T85" fmla="*/ 13 h 830"/>
                <a:gd name="T86" fmla="*/ 1 w 165"/>
                <a:gd name="T87" fmla="*/ 13 h 830"/>
                <a:gd name="T88" fmla="*/ 1 w 165"/>
                <a:gd name="T89" fmla="*/ 14 h 83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65" h="830">
                  <a:moveTo>
                    <a:pt x="30" y="660"/>
                  </a:moveTo>
                  <a:lnTo>
                    <a:pt x="45" y="660"/>
                  </a:lnTo>
                  <a:lnTo>
                    <a:pt x="45" y="691"/>
                  </a:lnTo>
                  <a:lnTo>
                    <a:pt x="89" y="783"/>
                  </a:lnTo>
                  <a:lnTo>
                    <a:pt x="104" y="829"/>
                  </a:lnTo>
                  <a:lnTo>
                    <a:pt x="149" y="829"/>
                  </a:lnTo>
                  <a:lnTo>
                    <a:pt x="134" y="798"/>
                  </a:lnTo>
                  <a:lnTo>
                    <a:pt x="164" y="783"/>
                  </a:lnTo>
                  <a:lnTo>
                    <a:pt x="119" y="783"/>
                  </a:lnTo>
                  <a:lnTo>
                    <a:pt x="104" y="752"/>
                  </a:lnTo>
                  <a:lnTo>
                    <a:pt x="89" y="752"/>
                  </a:lnTo>
                  <a:lnTo>
                    <a:pt x="89" y="629"/>
                  </a:lnTo>
                  <a:lnTo>
                    <a:pt x="75" y="614"/>
                  </a:lnTo>
                  <a:lnTo>
                    <a:pt x="75" y="599"/>
                  </a:lnTo>
                  <a:lnTo>
                    <a:pt x="45" y="476"/>
                  </a:lnTo>
                  <a:lnTo>
                    <a:pt x="60" y="461"/>
                  </a:lnTo>
                  <a:lnTo>
                    <a:pt x="45" y="399"/>
                  </a:lnTo>
                  <a:lnTo>
                    <a:pt x="60" y="399"/>
                  </a:lnTo>
                  <a:lnTo>
                    <a:pt x="60" y="353"/>
                  </a:lnTo>
                  <a:lnTo>
                    <a:pt x="45" y="292"/>
                  </a:lnTo>
                  <a:lnTo>
                    <a:pt x="45" y="261"/>
                  </a:lnTo>
                  <a:lnTo>
                    <a:pt x="60" y="215"/>
                  </a:lnTo>
                  <a:lnTo>
                    <a:pt x="75" y="184"/>
                  </a:lnTo>
                  <a:lnTo>
                    <a:pt x="60" y="154"/>
                  </a:lnTo>
                  <a:lnTo>
                    <a:pt x="75" y="138"/>
                  </a:lnTo>
                  <a:lnTo>
                    <a:pt x="75" y="123"/>
                  </a:lnTo>
                  <a:lnTo>
                    <a:pt x="75" y="107"/>
                  </a:lnTo>
                  <a:lnTo>
                    <a:pt x="45" y="46"/>
                  </a:lnTo>
                  <a:lnTo>
                    <a:pt x="30" y="0"/>
                  </a:lnTo>
                  <a:lnTo>
                    <a:pt x="15" y="0"/>
                  </a:lnTo>
                  <a:lnTo>
                    <a:pt x="0" y="15"/>
                  </a:lnTo>
                  <a:lnTo>
                    <a:pt x="15" y="61"/>
                  </a:lnTo>
                  <a:lnTo>
                    <a:pt x="15" y="184"/>
                  </a:lnTo>
                  <a:lnTo>
                    <a:pt x="15" y="261"/>
                  </a:lnTo>
                  <a:lnTo>
                    <a:pt x="30" y="261"/>
                  </a:lnTo>
                  <a:lnTo>
                    <a:pt x="30" y="276"/>
                  </a:lnTo>
                  <a:lnTo>
                    <a:pt x="30" y="338"/>
                  </a:lnTo>
                  <a:lnTo>
                    <a:pt x="0" y="430"/>
                  </a:lnTo>
                  <a:lnTo>
                    <a:pt x="15" y="491"/>
                  </a:lnTo>
                  <a:lnTo>
                    <a:pt x="15" y="507"/>
                  </a:lnTo>
                  <a:lnTo>
                    <a:pt x="30" y="522"/>
                  </a:lnTo>
                  <a:lnTo>
                    <a:pt x="45" y="537"/>
                  </a:lnTo>
                  <a:lnTo>
                    <a:pt x="60" y="645"/>
                  </a:lnTo>
                  <a:lnTo>
                    <a:pt x="30" y="645"/>
                  </a:lnTo>
                  <a:lnTo>
                    <a:pt x="30" y="66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4" name="Freeform 449"/>
            <p:cNvSpPr>
              <a:spLocks/>
            </p:cNvSpPr>
            <p:nvPr/>
          </p:nvSpPr>
          <p:spPr bwMode="auto">
            <a:xfrm>
              <a:off x="6560" y="2168"/>
              <a:ext cx="13" cy="23"/>
            </a:xfrm>
            <a:custGeom>
              <a:avLst/>
              <a:gdLst>
                <a:gd name="T0" fmla="*/ 1 w 30"/>
                <a:gd name="T1" fmla="*/ 0 h 62"/>
                <a:gd name="T2" fmla="*/ 0 w 30"/>
                <a:gd name="T3" fmla="*/ 0 h 62"/>
                <a:gd name="T4" fmla="*/ 0 w 30"/>
                <a:gd name="T5" fmla="*/ 0 h 62"/>
                <a:gd name="T6" fmla="*/ 0 w 30"/>
                <a:gd name="T7" fmla="*/ 0 h 62"/>
                <a:gd name="T8" fmla="*/ 0 w 30"/>
                <a:gd name="T9" fmla="*/ 1 h 62"/>
                <a:gd name="T10" fmla="*/ 0 w 30"/>
                <a:gd name="T11" fmla="*/ 1 h 62"/>
                <a:gd name="T12" fmla="*/ 1 w 30"/>
                <a:gd name="T13" fmla="*/ 1 h 62"/>
                <a:gd name="T14" fmla="*/ 1 w 30"/>
                <a:gd name="T15" fmla="*/ 0 h 6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62">
                  <a:moveTo>
                    <a:pt x="29" y="15"/>
                  </a:moveTo>
                  <a:lnTo>
                    <a:pt x="15" y="0"/>
                  </a:lnTo>
                  <a:lnTo>
                    <a:pt x="0" y="15"/>
                  </a:lnTo>
                  <a:lnTo>
                    <a:pt x="0" y="31"/>
                  </a:lnTo>
                  <a:lnTo>
                    <a:pt x="0" y="46"/>
                  </a:lnTo>
                  <a:lnTo>
                    <a:pt x="0" y="61"/>
                  </a:lnTo>
                  <a:lnTo>
                    <a:pt x="29" y="61"/>
                  </a:lnTo>
                  <a:lnTo>
                    <a:pt x="29"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5" name="Freeform 450"/>
            <p:cNvSpPr>
              <a:spLocks/>
            </p:cNvSpPr>
            <p:nvPr/>
          </p:nvSpPr>
          <p:spPr bwMode="auto">
            <a:xfrm>
              <a:off x="6541" y="2184"/>
              <a:ext cx="19" cy="12"/>
            </a:xfrm>
            <a:custGeom>
              <a:avLst/>
              <a:gdLst>
                <a:gd name="T0" fmla="*/ 1 w 45"/>
                <a:gd name="T1" fmla="*/ 0 h 31"/>
                <a:gd name="T2" fmla="*/ 0 w 45"/>
                <a:gd name="T3" fmla="*/ 0 h 31"/>
                <a:gd name="T4" fmla="*/ 1 w 45"/>
                <a:gd name="T5" fmla="*/ 1 h 31"/>
                <a:gd name="T6" fmla="*/ 1 w 45"/>
                <a:gd name="T7" fmla="*/ 1 h 31"/>
                <a:gd name="T8" fmla="*/ 1 w 45"/>
                <a:gd name="T9" fmla="*/ 0 h 31"/>
                <a:gd name="T10" fmla="*/ 1 w 45"/>
                <a:gd name="T11" fmla="*/ 0 h 31"/>
                <a:gd name="T12" fmla="*/ 1 w 45"/>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5" h="31">
                  <a:moveTo>
                    <a:pt x="29" y="0"/>
                  </a:moveTo>
                  <a:lnTo>
                    <a:pt x="0" y="0"/>
                  </a:lnTo>
                  <a:lnTo>
                    <a:pt x="29" y="30"/>
                  </a:lnTo>
                  <a:lnTo>
                    <a:pt x="44" y="30"/>
                  </a:lnTo>
                  <a:lnTo>
                    <a:pt x="44" y="15"/>
                  </a:lnTo>
                  <a:lnTo>
                    <a:pt x="44" y="0"/>
                  </a:lnTo>
                  <a:lnTo>
                    <a:pt x="2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6" name="Freeform 451"/>
            <p:cNvSpPr>
              <a:spLocks/>
            </p:cNvSpPr>
            <p:nvPr/>
          </p:nvSpPr>
          <p:spPr bwMode="auto">
            <a:xfrm>
              <a:off x="6508" y="2127"/>
              <a:ext cx="8" cy="12"/>
            </a:xfrm>
            <a:custGeom>
              <a:avLst/>
              <a:gdLst>
                <a:gd name="T0" fmla="*/ 0 w 17"/>
                <a:gd name="T1" fmla="*/ 0 h 32"/>
                <a:gd name="T2" fmla="*/ 0 w 17"/>
                <a:gd name="T3" fmla="*/ 1 h 32"/>
                <a:gd name="T4" fmla="*/ 1 w 17"/>
                <a:gd name="T5" fmla="*/ 1 h 32"/>
                <a:gd name="T6" fmla="*/ 1 w 17"/>
                <a:gd name="T7" fmla="*/ 0 h 32"/>
                <a:gd name="T8" fmla="*/ 0 w 17"/>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2">
                  <a:moveTo>
                    <a:pt x="0" y="0"/>
                  </a:moveTo>
                  <a:lnTo>
                    <a:pt x="0" y="31"/>
                  </a:lnTo>
                  <a:lnTo>
                    <a:pt x="16" y="31"/>
                  </a:lnTo>
                  <a:lnTo>
                    <a:pt x="16"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7" name="Freeform 452"/>
            <p:cNvSpPr>
              <a:spLocks/>
            </p:cNvSpPr>
            <p:nvPr/>
          </p:nvSpPr>
          <p:spPr bwMode="auto">
            <a:xfrm>
              <a:off x="6508" y="2086"/>
              <a:ext cx="8" cy="12"/>
            </a:xfrm>
            <a:custGeom>
              <a:avLst/>
              <a:gdLst>
                <a:gd name="T0" fmla="*/ 0 w 17"/>
                <a:gd name="T1" fmla="*/ 0 h 32"/>
                <a:gd name="T2" fmla="*/ 1 w 17"/>
                <a:gd name="T3" fmla="*/ 1 h 32"/>
                <a:gd name="T4" fmla="*/ 0 w 17"/>
                <a:gd name="T5" fmla="*/ 1 h 32"/>
                <a:gd name="T6" fmla="*/ 0 w 17"/>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0" y="0"/>
                  </a:moveTo>
                  <a:lnTo>
                    <a:pt x="16" y="31"/>
                  </a:lnTo>
                  <a:lnTo>
                    <a:pt x="0"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8" name="Freeform 453"/>
            <p:cNvSpPr>
              <a:spLocks/>
            </p:cNvSpPr>
            <p:nvPr/>
          </p:nvSpPr>
          <p:spPr bwMode="auto">
            <a:xfrm>
              <a:off x="6503" y="2069"/>
              <a:ext cx="7" cy="11"/>
            </a:xfrm>
            <a:custGeom>
              <a:avLst/>
              <a:gdLst>
                <a:gd name="T0" fmla="*/ 0 w 17"/>
                <a:gd name="T1" fmla="*/ 0 h 31"/>
                <a:gd name="T2" fmla="*/ 0 w 17"/>
                <a:gd name="T3" fmla="*/ 0 h 31"/>
                <a:gd name="T4" fmla="*/ 0 w 17"/>
                <a:gd name="T5" fmla="*/ 0 h 31"/>
                <a:gd name="T6" fmla="*/ 0 w 17"/>
                <a:gd name="T7" fmla="*/ 0 h 31"/>
                <a:gd name="T8" fmla="*/ 0 w 1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31">
                  <a:moveTo>
                    <a:pt x="0" y="0"/>
                  </a:moveTo>
                  <a:lnTo>
                    <a:pt x="0" y="30"/>
                  </a:lnTo>
                  <a:lnTo>
                    <a:pt x="16" y="30"/>
                  </a:lnTo>
                  <a:lnTo>
                    <a:pt x="16" y="15"/>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29" name="Freeform 454"/>
            <p:cNvSpPr>
              <a:spLocks/>
            </p:cNvSpPr>
            <p:nvPr/>
          </p:nvSpPr>
          <p:spPr bwMode="auto">
            <a:xfrm>
              <a:off x="6529" y="2168"/>
              <a:ext cx="6"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0"/>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0" name="Freeform 455"/>
            <p:cNvSpPr>
              <a:spLocks/>
            </p:cNvSpPr>
            <p:nvPr/>
          </p:nvSpPr>
          <p:spPr bwMode="auto">
            <a:xfrm>
              <a:off x="6573" y="2196"/>
              <a:ext cx="6"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16"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1" name="Freeform 456"/>
            <p:cNvSpPr>
              <a:spLocks/>
            </p:cNvSpPr>
            <p:nvPr/>
          </p:nvSpPr>
          <p:spPr bwMode="auto">
            <a:xfrm>
              <a:off x="6893" y="1179"/>
              <a:ext cx="64" cy="41"/>
            </a:xfrm>
            <a:custGeom>
              <a:avLst/>
              <a:gdLst>
                <a:gd name="T0" fmla="*/ 4 w 150"/>
                <a:gd name="T1" fmla="*/ 0 h 109"/>
                <a:gd name="T2" fmla="*/ 4 w 150"/>
                <a:gd name="T3" fmla="*/ 1 h 109"/>
                <a:gd name="T4" fmla="*/ 3 w 150"/>
                <a:gd name="T5" fmla="*/ 0 h 109"/>
                <a:gd name="T6" fmla="*/ 1 w 150"/>
                <a:gd name="T7" fmla="*/ 1 h 109"/>
                <a:gd name="T8" fmla="*/ 1 w 150"/>
                <a:gd name="T9" fmla="*/ 0 h 109"/>
                <a:gd name="T10" fmla="*/ 0 w 150"/>
                <a:gd name="T11" fmla="*/ 0 h 109"/>
                <a:gd name="T12" fmla="*/ 0 w 150"/>
                <a:gd name="T13" fmla="*/ 1 h 109"/>
                <a:gd name="T14" fmla="*/ 0 w 150"/>
                <a:gd name="T15" fmla="*/ 1 h 109"/>
                <a:gd name="T16" fmla="*/ 1 w 150"/>
                <a:gd name="T17" fmla="*/ 1 h 109"/>
                <a:gd name="T18" fmla="*/ 0 w 150"/>
                <a:gd name="T19" fmla="*/ 1 h 109"/>
                <a:gd name="T20" fmla="*/ 0 w 150"/>
                <a:gd name="T21" fmla="*/ 1 h 109"/>
                <a:gd name="T22" fmla="*/ 1 w 150"/>
                <a:gd name="T23" fmla="*/ 2 h 109"/>
                <a:gd name="T24" fmla="*/ 0 w 150"/>
                <a:gd name="T25" fmla="*/ 2 h 109"/>
                <a:gd name="T26" fmla="*/ 1 w 150"/>
                <a:gd name="T27" fmla="*/ 2 h 109"/>
                <a:gd name="T28" fmla="*/ 3 w 150"/>
                <a:gd name="T29" fmla="*/ 2 h 109"/>
                <a:gd name="T30" fmla="*/ 3 w 150"/>
                <a:gd name="T31" fmla="*/ 2 h 109"/>
                <a:gd name="T32" fmla="*/ 4 w 150"/>
                <a:gd name="T33" fmla="*/ 2 h 109"/>
                <a:gd name="T34" fmla="*/ 5 w 150"/>
                <a:gd name="T35" fmla="*/ 1 h 109"/>
                <a:gd name="T36" fmla="*/ 5 w 150"/>
                <a:gd name="T37" fmla="*/ 1 h 109"/>
                <a:gd name="T38" fmla="*/ 4 w 150"/>
                <a:gd name="T39" fmla="*/ 1 h 109"/>
                <a:gd name="T40" fmla="*/ 4 w 150"/>
                <a:gd name="T41" fmla="*/ 0 h 1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0" h="109">
                  <a:moveTo>
                    <a:pt x="119" y="0"/>
                  </a:moveTo>
                  <a:lnTo>
                    <a:pt x="119" y="31"/>
                  </a:lnTo>
                  <a:lnTo>
                    <a:pt x="75" y="15"/>
                  </a:lnTo>
                  <a:lnTo>
                    <a:pt x="45" y="31"/>
                  </a:lnTo>
                  <a:lnTo>
                    <a:pt x="45" y="15"/>
                  </a:lnTo>
                  <a:lnTo>
                    <a:pt x="15" y="0"/>
                  </a:lnTo>
                  <a:lnTo>
                    <a:pt x="0" y="31"/>
                  </a:lnTo>
                  <a:lnTo>
                    <a:pt x="15" y="31"/>
                  </a:lnTo>
                  <a:lnTo>
                    <a:pt x="30" y="31"/>
                  </a:lnTo>
                  <a:lnTo>
                    <a:pt x="15" y="46"/>
                  </a:lnTo>
                  <a:lnTo>
                    <a:pt x="0" y="62"/>
                  </a:lnTo>
                  <a:lnTo>
                    <a:pt x="30" y="77"/>
                  </a:lnTo>
                  <a:lnTo>
                    <a:pt x="15" y="93"/>
                  </a:lnTo>
                  <a:lnTo>
                    <a:pt x="45" y="93"/>
                  </a:lnTo>
                  <a:lnTo>
                    <a:pt x="75" y="108"/>
                  </a:lnTo>
                  <a:lnTo>
                    <a:pt x="104" y="93"/>
                  </a:lnTo>
                  <a:lnTo>
                    <a:pt x="134" y="77"/>
                  </a:lnTo>
                  <a:lnTo>
                    <a:pt x="149" y="46"/>
                  </a:lnTo>
                  <a:lnTo>
                    <a:pt x="149" y="31"/>
                  </a:lnTo>
                  <a:lnTo>
                    <a:pt x="134" y="31"/>
                  </a:lnTo>
                  <a:lnTo>
                    <a:pt x="11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2" name="Freeform 457"/>
            <p:cNvSpPr>
              <a:spLocks/>
            </p:cNvSpPr>
            <p:nvPr/>
          </p:nvSpPr>
          <p:spPr bwMode="auto">
            <a:xfrm>
              <a:off x="6900" y="1610"/>
              <a:ext cx="51" cy="35"/>
            </a:xfrm>
            <a:custGeom>
              <a:avLst/>
              <a:gdLst>
                <a:gd name="T0" fmla="*/ 0 w 120"/>
                <a:gd name="T1" fmla="*/ 1 h 93"/>
                <a:gd name="T2" fmla="*/ 1 w 120"/>
                <a:gd name="T3" fmla="*/ 1 h 93"/>
                <a:gd name="T4" fmla="*/ 2 w 120"/>
                <a:gd name="T5" fmla="*/ 1 h 93"/>
                <a:gd name="T6" fmla="*/ 0 w 120"/>
                <a:gd name="T7" fmla="*/ 1 h 93"/>
                <a:gd name="T8" fmla="*/ 0 w 120"/>
                <a:gd name="T9" fmla="*/ 2 h 93"/>
                <a:gd name="T10" fmla="*/ 1 w 120"/>
                <a:gd name="T11" fmla="*/ 2 h 93"/>
                <a:gd name="T12" fmla="*/ 3 w 120"/>
                <a:gd name="T13" fmla="*/ 2 h 93"/>
                <a:gd name="T14" fmla="*/ 4 w 120"/>
                <a:gd name="T15" fmla="*/ 2 h 93"/>
                <a:gd name="T16" fmla="*/ 3 w 120"/>
                <a:gd name="T17" fmla="*/ 1 h 93"/>
                <a:gd name="T18" fmla="*/ 3 w 120"/>
                <a:gd name="T19" fmla="*/ 0 h 93"/>
                <a:gd name="T20" fmla="*/ 2 w 120"/>
                <a:gd name="T21" fmla="*/ 0 h 93"/>
                <a:gd name="T22" fmla="*/ 1 w 120"/>
                <a:gd name="T23" fmla="*/ 0 h 93"/>
                <a:gd name="T24" fmla="*/ 0 w 120"/>
                <a:gd name="T25" fmla="*/ 1 h 93"/>
                <a:gd name="T26" fmla="*/ 0 w 120"/>
                <a:gd name="T27" fmla="*/ 1 h 9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0" h="93">
                  <a:moveTo>
                    <a:pt x="15" y="46"/>
                  </a:moveTo>
                  <a:lnTo>
                    <a:pt x="45" y="46"/>
                  </a:lnTo>
                  <a:lnTo>
                    <a:pt x="60" y="61"/>
                  </a:lnTo>
                  <a:lnTo>
                    <a:pt x="15" y="61"/>
                  </a:lnTo>
                  <a:lnTo>
                    <a:pt x="15" y="77"/>
                  </a:lnTo>
                  <a:lnTo>
                    <a:pt x="45" y="77"/>
                  </a:lnTo>
                  <a:lnTo>
                    <a:pt x="74" y="77"/>
                  </a:lnTo>
                  <a:lnTo>
                    <a:pt x="119" y="92"/>
                  </a:lnTo>
                  <a:lnTo>
                    <a:pt x="104" y="46"/>
                  </a:lnTo>
                  <a:lnTo>
                    <a:pt x="89" y="15"/>
                  </a:lnTo>
                  <a:lnTo>
                    <a:pt x="60" y="0"/>
                  </a:lnTo>
                  <a:lnTo>
                    <a:pt x="30" y="15"/>
                  </a:lnTo>
                  <a:lnTo>
                    <a:pt x="0" y="46"/>
                  </a:lnTo>
                  <a:lnTo>
                    <a:pt x="15"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3" name="Freeform 458"/>
            <p:cNvSpPr>
              <a:spLocks/>
            </p:cNvSpPr>
            <p:nvPr/>
          </p:nvSpPr>
          <p:spPr bwMode="auto">
            <a:xfrm>
              <a:off x="6951" y="1668"/>
              <a:ext cx="26" cy="34"/>
            </a:xfrm>
            <a:custGeom>
              <a:avLst/>
              <a:gdLst>
                <a:gd name="T0" fmla="*/ 2 w 61"/>
                <a:gd name="T1" fmla="*/ 1 h 93"/>
                <a:gd name="T2" fmla="*/ 2 w 61"/>
                <a:gd name="T3" fmla="*/ 1 h 93"/>
                <a:gd name="T4" fmla="*/ 2 w 61"/>
                <a:gd name="T5" fmla="*/ 0 h 93"/>
                <a:gd name="T6" fmla="*/ 1 w 61"/>
                <a:gd name="T7" fmla="*/ 0 h 93"/>
                <a:gd name="T8" fmla="*/ 1 w 61"/>
                <a:gd name="T9" fmla="*/ 0 h 93"/>
                <a:gd name="T10" fmla="*/ 0 w 61"/>
                <a:gd name="T11" fmla="*/ 0 h 93"/>
                <a:gd name="T12" fmla="*/ 0 w 61"/>
                <a:gd name="T13" fmla="*/ 1 h 93"/>
                <a:gd name="T14" fmla="*/ 2 w 61"/>
                <a:gd name="T15" fmla="*/ 1 h 9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1" h="93">
                  <a:moveTo>
                    <a:pt x="60" y="92"/>
                  </a:moveTo>
                  <a:lnTo>
                    <a:pt x="60" y="46"/>
                  </a:lnTo>
                  <a:lnTo>
                    <a:pt x="60" y="15"/>
                  </a:lnTo>
                  <a:lnTo>
                    <a:pt x="45" y="31"/>
                  </a:lnTo>
                  <a:lnTo>
                    <a:pt x="30" y="15"/>
                  </a:lnTo>
                  <a:lnTo>
                    <a:pt x="15" y="0"/>
                  </a:lnTo>
                  <a:lnTo>
                    <a:pt x="0" y="46"/>
                  </a:lnTo>
                  <a:lnTo>
                    <a:pt x="60" y="9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4" name="Freeform 459"/>
            <p:cNvSpPr>
              <a:spLocks/>
            </p:cNvSpPr>
            <p:nvPr/>
          </p:nvSpPr>
          <p:spPr bwMode="auto">
            <a:xfrm>
              <a:off x="6977" y="1650"/>
              <a:ext cx="39" cy="52"/>
            </a:xfrm>
            <a:custGeom>
              <a:avLst/>
              <a:gdLst>
                <a:gd name="T0" fmla="*/ 3 w 91"/>
                <a:gd name="T1" fmla="*/ 2 h 139"/>
                <a:gd name="T2" fmla="*/ 3 w 91"/>
                <a:gd name="T3" fmla="*/ 2 h 139"/>
                <a:gd name="T4" fmla="*/ 3 w 91"/>
                <a:gd name="T5" fmla="*/ 1 h 139"/>
                <a:gd name="T6" fmla="*/ 2 w 91"/>
                <a:gd name="T7" fmla="*/ 1 h 139"/>
                <a:gd name="T8" fmla="*/ 1 w 91"/>
                <a:gd name="T9" fmla="*/ 0 h 139"/>
                <a:gd name="T10" fmla="*/ 1 w 91"/>
                <a:gd name="T11" fmla="*/ 0 h 139"/>
                <a:gd name="T12" fmla="*/ 0 w 91"/>
                <a:gd name="T13" fmla="*/ 0 h 139"/>
                <a:gd name="T14" fmla="*/ 0 w 91"/>
                <a:gd name="T15" fmla="*/ 1 h 139"/>
                <a:gd name="T16" fmla="*/ 0 w 91"/>
                <a:gd name="T17" fmla="*/ 2 h 139"/>
                <a:gd name="T18" fmla="*/ 0 w 91"/>
                <a:gd name="T19" fmla="*/ 3 h 139"/>
                <a:gd name="T20" fmla="*/ 3 w 91"/>
                <a:gd name="T21" fmla="*/ 2 h 139"/>
                <a:gd name="T22" fmla="*/ 3 w 91"/>
                <a:gd name="T23" fmla="*/ 2 h 1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1" h="139">
                  <a:moveTo>
                    <a:pt x="90" y="123"/>
                  </a:moveTo>
                  <a:lnTo>
                    <a:pt x="90" y="92"/>
                  </a:lnTo>
                  <a:lnTo>
                    <a:pt x="90" y="46"/>
                  </a:lnTo>
                  <a:lnTo>
                    <a:pt x="60" y="46"/>
                  </a:lnTo>
                  <a:lnTo>
                    <a:pt x="45" y="15"/>
                  </a:lnTo>
                  <a:lnTo>
                    <a:pt x="30" y="0"/>
                  </a:lnTo>
                  <a:lnTo>
                    <a:pt x="0" y="15"/>
                  </a:lnTo>
                  <a:lnTo>
                    <a:pt x="0" y="61"/>
                  </a:lnTo>
                  <a:lnTo>
                    <a:pt x="0" y="92"/>
                  </a:lnTo>
                  <a:lnTo>
                    <a:pt x="0" y="138"/>
                  </a:lnTo>
                  <a:lnTo>
                    <a:pt x="75" y="107"/>
                  </a:lnTo>
                  <a:lnTo>
                    <a:pt x="90" y="123"/>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5" name="Freeform 460"/>
            <p:cNvSpPr>
              <a:spLocks/>
            </p:cNvSpPr>
            <p:nvPr/>
          </p:nvSpPr>
          <p:spPr bwMode="auto">
            <a:xfrm>
              <a:off x="6937" y="1662"/>
              <a:ext cx="20" cy="24"/>
            </a:xfrm>
            <a:custGeom>
              <a:avLst/>
              <a:gdLst>
                <a:gd name="T0" fmla="*/ 1 w 47"/>
                <a:gd name="T1" fmla="*/ 1 h 62"/>
                <a:gd name="T2" fmla="*/ 2 w 47"/>
                <a:gd name="T3" fmla="*/ 0 h 62"/>
                <a:gd name="T4" fmla="*/ 1 w 47"/>
                <a:gd name="T5" fmla="*/ 0 h 62"/>
                <a:gd name="T6" fmla="*/ 0 w 47"/>
                <a:gd name="T7" fmla="*/ 0 h 62"/>
                <a:gd name="T8" fmla="*/ 0 w 47"/>
                <a:gd name="T9" fmla="*/ 0 h 62"/>
                <a:gd name="T10" fmla="*/ 0 w 47"/>
                <a:gd name="T11" fmla="*/ 1 h 62"/>
                <a:gd name="T12" fmla="*/ 1 w 47"/>
                <a:gd name="T13" fmla="*/ 1 h 6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62">
                  <a:moveTo>
                    <a:pt x="30" y="61"/>
                  </a:moveTo>
                  <a:lnTo>
                    <a:pt x="46" y="15"/>
                  </a:lnTo>
                  <a:lnTo>
                    <a:pt x="30" y="0"/>
                  </a:lnTo>
                  <a:lnTo>
                    <a:pt x="0" y="0"/>
                  </a:lnTo>
                  <a:lnTo>
                    <a:pt x="0" y="15"/>
                  </a:lnTo>
                  <a:lnTo>
                    <a:pt x="0" y="46"/>
                  </a:lnTo>
                  <a:lnTo>
                    <a:pt x="30" y="6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6" name="Freeform 461"/>
            <p:cNvSpPr>
              <a:spLocks/>
            </p:cNvSpPr>
            <p:nvPr/>
          </p:nvSpPr>
          <p:spPr bwMode="auto">
            <a:xfrm>
              <a:off x="6918" y="1639"/>
              <a:ext cx="59" cy="41"/>
            </a:xfrm>
            <a:custGeom>
              <a:avLst/>
              <a:gdLst>
                <a:gd name="T0" fmla="*/ 2 w 136"/>
                <a:gd name="T1" fmla="*/ 2 h 109"/>
                <a:gd name="T2" fmla="*/ 2 w 136"/>
                <a:gd name="T3" fmla="*/ 1 h 109"/>
                <a:gd name="T4" fmla="*/ 3 w 136"/>
                <a:gd name="T5" fmla="*/ 1 h 109"/>
                <a:gd name="T6" fmla="*/ 3 w 136"/>
                <a:gd name="T7" fmla="*/ 2 h 109"/>
                <a:gd name="T8" fmla="*/ 4 w 136"/>
                <a:gd name="T9" fmla="*/ 2 h 109"/>
                <a:gd name="T10" fmla="*/ 4 w 136"/>
                <a:gd name="T11" fmla="*/ 2 h 109"/>
                <a:gd name="T12" fmla="*/ 5 w 136"/>
                <a:gd name="T13" fmla="*/ 2 h 109"/>
                <a:gd name="T14" fmla="*/ 5 w 136"/>
                <a:gd name="T15" fmla="*/ 1 h 109"/>
                <a:gd name="T16" fmla="*/ 4 w 136"/>
                <a:gd name="T17" fmla="*/ 0 h 109"/>
                <a:gd name="T18" fmla="*/ 3 w 136"/>
                <a:gd name="T19" fmla="*/ 0 h 109"/>
                <a:gd name="T20" fmla="*/ 1 w 136"/>
                <a:gd name="T21" fmla="*/ 0 h 109"/>
                <a:gd name="T22" fmla="*/ 1 w 136"/>
                <a:gd name="T23" fmla="*/ 0 h 109"/>
                <a:gd name="T24" fmla="*/ 0 w 136"/>
                <a:gd name="T25" fmla="*/ 1 h 109"/>
                <a:gd name="T26" fmla="*/ 2 w 136"/>
                <a:gd name="T27" fmla="*/ 2 h 10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 h="109">
                  <a:moveTo>
                    <a:pt x="45" y="77"/>
                  </a:moveTo>
                  <a:lnTo>
                    <a:pt x="45" y="62"/>
                  </a:lnTo>
                  <a:lnTo>
                    <a:pt x="75" y="62"/>
                  </a:lnTo>
                  <a:lnTo>
                    <a:pt x="90" y="77"/>
                  </a:lnTo>
                  <a:lnTo>
                    <a:pt x="105" y="93"/>
                  </a:lnTo>
                  <a:lnTo>
                    <a:pt x="120" y="108"/>
                  </a:lnTo>
                  <a:lnTo>
                    <a:pt x="135" y="93"/>
                  </a:lnTo>
                  <a:lnTo>
                    <a:pt x="135" y="46"/>
                  </a:lnTo>
                  <a:lnTo>
                    <a:pt x="105" y="15"/>
                  </a:lnTo>
                  <a:lnTo>
                    <a:pt x="75" y="15"/>
                  </a:lnTo>
                  <a:lnTo>
                    <a:pt x="30" y="0"/>
                  </a:lnTo>
                  <a:lnTo>
                    <a:pt x="30" y="15"/>
                  </a:lnTo>
                  <a:lnTo>
                    <a:pt x="0" y="31"/>
                  </a:lnTo>
                  <a:lnTo>
                    <a:pt x="45"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7" name="Freeform 462"/>
            <p:cNvSpPr>
              <a:spLocks/>
            </p:cNvSpPr>
            <p:nvPr/>
          </p:nvSpPr>
          <p:spPr bwMode="auto">
            <a:xfrm>
              <a:off x="6905" y="1639"/>
              <a:ext cx="27" cy="11"/>
            </a:xfrm>
            <a:custGeom>
              <a:avLst/>
              <a:gdLst>
                <a:gd name="T0" fmla="*/ 1 w 61"/>
                <a:gd name="T1" fmla="*/ 0 h 32"/>
                <a:gd name="T2" fmla="*/ 2 w 61"/>
                <a:gd name="T3" fmla="*/ 0 h 32"/>
                <a:gd name="T4" fmla="*/ 2 w 61"/>
                <a:gd name="T5" fmla="*/ 0 h 32"/>
                <a:gd name="T6" fmla="*/ 1 w 61"/>
                <a:gd name="T7" fmla="*/ 0 h 32"/>
                <a:gd name="T8" fmla="*/ 0 w 61"/>
                <a:gd name="T9" fmla="*/ 0 h 32"/>
                <a:gd name="T10" fmla="*/ 0 w 61"/>
                <a:gd name="T11" fmla="*/ 0 h 32"/>
                <a:gd name="T12" fmla="*/ 1 w 61"/>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32">
                  <a:moveTo>
                    <a:pt x="30" y="31"/>
                  </a:moveTo>
                  <a:lnTo>
                    <a:pt x="60" y="16"/>
                  </a:lnTo>
                  <a:lnTo>
                    <a:pt x="60" y="0"/>
                  </a:lnTo>
                  <a:lnTo>
                    <a:pt x="30" y="0"/>
                  </a:lnTo>
                  <a:lnTo>
                    <a:pt x="0" y="0"/>
                  </a:lnTo>
                  <a:lnTo>
                    <a:pt x="15" y="31"/>
                  </a:lnTo>
                  <a:lnTo>
                    <a:pt x="3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8" name="Freeform 463"/>
            <p:cNvSpPr>
              <a:spLocks/>
            </p:cNvSpPr>
            <p:nvPr/>
          </p:nvSpPr>
          <p:spPr bwMode="auto">
            <a:xfrm>
              <a:off x="6905" y="1627"/>
              <a:ext cx="21" cy="6"/>
            </a:xfrm>
            <a:custGeom>
              <a:avLst/>
              <a:gdLst>
                <a:gd name="T0" fmla="*/ 0 w 46"/>
                <a:gd name="T1" fmla="*/ 0 h 17"/>
                <a:gd name="T2" fmla="*/ 0 w 46"/>
                <a:gd name="T3" fmla="*/ 0 h 17"/>
                <a:gd name="T4" fmla="*/ 2 w 46"/>
                <a:gd name="T5" fmla="*/ 0 h 17"/>
                <a:gd name="T6" fmla="*/ 1 w 46"/>
                <a:gd name="T7" fmla="*/ 0 h 17"/>
                <a:gd name="T8" fmla="*/ 0 w 46"/>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17">
                  <a:moveTo>
                    <a:pt x="0" y="0"/>
                  </a:moveTo>
                  <a:lnTo>
                    <a:pt x="0" y="16"/>
                  </a:lnTo>
                  <a:lnTo>
                    <a:pt x="45" y="16"/>
                  </a:lnTo>
                  <a:lnTo>
                    <a:pt x="30"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39" name="Freeform 464"/>
            <p:cNvSpPr>
              <a:spLocks/>
            </p:cNvSpPr>
            <p:nvPr/>
          </p:nvSpPr>
          <p:spPr bwMode="auto">
            <a:xfrm>
              <a:off x="6912" y="1527"/>
              <a:ext cx="91" cy="100"/>
            </a:xfrm>
            <a:custGeom>
              <a:avLst/>
              <a:gdLst>
                <a:gd name="T0" fmla="*/ 0 w 210"/>
                <a:gd name="T1" fmla="*/ 5 h 263"/>
                <a:gd name="T2" fmla="*/ 1 w 210"/>
                <a:gd name="T3" fmla="*/ 5 h 263"/>
                <a:gd name="T4" fmla="*/ 2 w 210"/>
                <a:gd name="T5" fmla="*/ 5 h 263"/>
                <a:gd name="T6" fmla="*/ 3 w 210"/>
                <a:gd name="T7" fmla="*/ 5 h 263"/>
                <a:gd name="T8" fmla="*/ 4 w 210"/>
                <a:gd name="T9" fmla="*/ 5 h 263"/>
                <a:gd name="T10" fmla="*/ 5 w 210"/>
                <a:gd name="T11" fmla="*/ 5 h 263"/>
                <a:gd name="T12" fmla="*/ 7 w 210"/>
                <a:gd name="T13" fmla="*/ 5 h 263"/>
                <a:gd name="T14" fmla="*/ 7 w 210"/>
                <a:gd name="T15" fmla="*/ 5 h 263"/>
                <a:gd name="T16" fmla="*/ 7 w 210"/>
                <a:gd name="T17" fmla="*/ 2 h 263"/>
                <a:gd name="T18" fmla="*/ 7 w 210"/>
                <a:gd name="T19" fmla="*/ 2 h 263"/>
                <a:gd name="T20" fmla="*/ 7 w 210"/>
                <a:gd name="T21" fmla="*/ 1 h 263"/>
                <a:gd name="T22" fmla="*/ 7 w 210"/>
                <a:gd name="T23" fmla="*/ 1 h 263"/>
                <a:gd name="T24" fmla="*/ 5 w 210"/>
                <a:gd name="T25" fmla="*/ 0 h 263"/>
                <a:gd name="T26" fmla="*/ 5 w 210"/>
                <a:gd name="T27" fmla="*/ 1 h 263"/>
                <a:gd name="T28" fmla="*/ 3 w 210"/>
                <a:gd name="T29" fmla="*/ 1 h 263"/>
                <a:gd name="T30" fmla="*/ 3 w 210"/>
                <a:gd name="T31" fmla="*/ 2 h 263"/>
                <a:gd name="T32" fmla="*/ 2 w 210"/>
                <a:gd name="T33" fmla="*/ 2 h 263"/>
                <a:gd name="T34" fmla="*/ 2 w 210"/>
                <a:gd name="T35" fmla="*/ 3 h 263"/>
                <a:gd name="T36" fmla="*/ 0 w 210"/>
                <a:gd name="T37" fmla="*/ 3 h 263"/>
                <a:gd name="T38" fmla="*/ 0 w 210"/>
                <a:gd name="T39" fmla="*/ 3 h 263"/>
                <a:gd name="T40" fmla="*/ 0 w 210"/>
                <a:gd name="T41" fmla="*/ 4 h 263"/>
                <a:gd name="T42" fmla="*/ 0 w 210"/>
                <a:gd name="T43" fmla="*/ 5 h 26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0" h="263">
                  <a:moveTo>
                    <a:pt x="0" y="231"/>
                  </a:moveTo>
                  <a:lnTo>
                    <a:pt x="30" y="216"/>
                  </a:lnTo>
                  <a:lnTo>
                    <a:pt x="60" y="231"/>
                  </a:lnTo>
                  <a:lnTo>
                    <a:pt x="75" y="262"/>
                  </a:lnTo>
                  <a:lnTo>
                    <a:pt x="105" y="231"/>
                  </a:lnTo>
                  <a:lnTo>
                    <a:pt x="134" y="231"/>
                  </a:lnTo>
                  <a:lnTo>
                    <a:pt x="179" y="231"/>
                  </a:lnTo>
                  <a:lnTo>
                    <a:pt x="194" y="216"/>
                  </a:lnTo>
                  <a:lnTo>
                    <a:pt x="194" y="108"/>
                  </a:lnTo>
                  <a:lnTo>
                    <a:pt x="179" y="92"/>
                  </a:lnTo>
                  <a:lnTo>
                    <a:pt x="179" y="46"/>
                  </a:lnTo>
                  <a:lnTo>
                    <a:pt x="209" y="46"/>
                  </a:lnTo>
                  <a:lnTo>
                    <a:pt x="149" y="0"/>
                  </a:lnTo>
                  <a:lnTo>
                    <a:pt x="149" y="46"/>
                  </a:lnTo>
                  <a:lnTo>
                    <a:pt x="75" y="46"/>
                  </a:lnTo>
                  <a:lnTo>
                    <a:pt x="75" y="92"/>
                  </a:lnTo>
                  <a:lnTo>
                    <a:pt x="60" y="92"/>
                  </a:lnTo>
                  <a:lnTo>
                    <a:pt x="60" y="123"/>
                  </a:lnTo>
                  <a:lnTo>
                    <a:pt x="0" y="123"/>
                  </a:lnTo>
                  <a:lnTo>
                    <a:pt x="0" y="139"/>
                  </a:lnTo>
                  <a:lnTo>
                    <a:pt x="0" y="200"/>
                  </a:lnTo>
                  <a:lnTo>
                    <a:pt x="0" y="2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0" name="Freeform 465"/>
            <p:cNvSpPr>
              <a:spLocks/>
            </p:cNvSpPr>
            <p:nvPr/>
          </p:nvSpPr>
          <p:spPr bwMode="auto">
            <a:xfrm>
              <a:off x="6944" y="1545"/>
              <a:ext cx="129" cy="111"/>
            </a:xfrm>
            <a:custGeom>
              <a:avLst/>
              <a:gdLst>
                <a:gd name="T0" fmla="*/ 4 w 299"/>
                <a:gd name="T1" fmla="*/ 1 h 293"/>
                <a:gd name="T2" fmla="*/ 4 w 299"/>
                <a:gd name="T3" fmla="*/ 3 h 293"/>
                <a:gd name="T4" fmla="*/ 3 w 299"/>
                <a:gd name="T5" fmla="*/ 4 h 293"/>
                <a:gd name="T6" fmla="*/ 2 w 299"/>
                <a:gd name="T7" fmla="*/ 4 h 293"/>
                <a:gd name="T8" fmla="*/ 1 w 299"/>
                <a:gd name="T9" fmla="*/ 4 h 293"/>
                <a:gd name="T10" fmla="*/ 0 w 299"/>
                <a:gd name="T11" fmla="*/ 5 h 293"/>
                <a:gd name="T12" fmla="*/ 0 w 299"/>
                <a:gd name="T13" fmla="*/ 5 h 293"/>
                <a:gd name="T14" fmla="*/ 1 w 299"/>
                <a:gd name="T15" fmla="*/ 5 h 293"/>
                <a:gd name="T16" fmla="*/ 3 w 299"/>
                <a:gd name="T17" fmla="*/ 6 h 293"/>
                <a:gd name="T18" fmla="*/ 3 w 299"/>
                <a:gd name="T19" fmla="*/ 6 h 293"/>
                <a:gd name="T20" fmla="*/ 4 w 299"/>
                <a:gd name="T21" fmla="*/ 6 h 293"/>
                <a:gd name="T22" fmla="*/ 5 w 299"/>
                <a:gd name="T23" fmla="*/ 5 h 293"/>
                <a:gd name="T24" fmla="*/ 6 w 299"/>
                <a:gd name="T25" fmla="*/ 5 h 293"/>
                <a:gd name="T26" fmla="*/ 6 w 299"/>
                <a:gd name="T27" fmla="*/ 5 h 293"/>
                <a:gd name="T28" fmla="*/ 8 w 299"/>
                <a:gd name="T29" fmla="*/ 4 h 293"/>
                <a:gd name="T30" fmla="*/ 10 w 299"/>
                <a:gd name="T31" fmla="*/ 4 h 293"/>
                <a:gd name="T32" fmla="*/ 10 w 299"/>
                <a:gd name="T33" fmla="*/ 4 h 293"/>
                <a:gd name="T34" fmla="*/ 10 w 299"/>
                <a:gd name="T35" fmla="*/ 3 h 293"/>
                <a:gd name="T36" fmla="*/ 9 w 299"/>
                <a:gd name="T37" fmla="*/ 3 h 293"/>
                <a:gd name="T38" fmla="*/ 9 w 299"/>
                <a:gd name="T39" fmla="*/ 2 h 293"/>
                <a:gd name="T40" fmla="*/ 5 w 299"/>
                <a:gd name="T41" fmla="*/ 0 h 293"/>
                <a:gd name="T42" fmla="*/ 3 w 299"/>
                <a:gd name="T43" fmla="*/ 0 h 293"/>
                <a:gd name="T44" fmla="*/ 3 w 299"/>
                <a:gd name="T45" fmla="*/ 1 h 293"/>
                <a:gd name="T46" fmla="*/ 4 w 299"/>
                <a:gd name="T47" fmla="*/ 1 h 2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99" h="293">
                  <a:moveTo>
                    <a:pt x="119" y="61"/>
                  </a:moveTo>
                  <a:lnTo>
                    <a:pt x="119" y="169"/>
                  </a:lnTo>
                  <a:lnTo>
                    <a:pt x="104" y="184"/>
                  </a:lnTo>
                  <a:lnTo>
                    <a:pt x="60" y="184"/>
                  </a:lnTo>
                  <a:lnTo>
                    <a:pt x="30" y="184"/>
                  </a:lnTo>
                  <a:lnTo>
                    <a:pt x="0" y="215"/>
                  </a:lnTo>
                  <a:lnTo>
                    <a:pt x="15" y="261"/>
                  </a:lnTo>
                  <a:lnTo>
                    <a:pt x="45" y="261"/>
                  </a:lnTo>
                  <a:lnTo>
                    <a:pt x="75" y="292"/>
                  </a:lnTo>
                  <a:lnTo>
                    <a:pt x="104" y="277"/>
                  </a:lnTo>
                  <a:lnTo>
                    <a:pt x="119" y="292"/>
                  </a:lnTo>
                  <a:lnTo>
                    <a:pt x="149" y="246"/>
                  </a:lnTo>
                  <a:lnTo>
                    <a:pt x="164" y="246"/>
                  </a:lnTo>
                  <a:lnTo>
                    <a:pt x="179" y="231"/>
                  </a:lnTo>
                  <a:lnTo>
                    <a:pt x="224" y="200"/>
                  </a:lnTo>
                  <a:lnTo>
                    <a:pt x="283" y="200"/>
                  </a:lnTo>
                  <a:lnTo>
                    <a:pt x="298" y="184"/>
                  </a:lnTo>
                  <a:lnTo>
                    <a:pt x="298" y="123"/>
                  </a:lnTo>
                  <a:lnTo>
                    <a:pt x="268" y="123"/>
                  </a:lnTo>
                  <a:lnTo>
                    <a:pt x="268" y="108"/>
                  </a:lnTo>
                  <a:lnTo>
                    <a:pt x="134" y="0"/>
                  </a:lnTo>
                  <a:lnTo>
                    <a:pt x="104" y="0"/>
                  </a:lnTo>
                  <a:lnTo>
                    <a:pt x="104" y="46"/>
                  </a:lnTo>
                  <a:lnTo>
                    <a:pt x="119" y="6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1" name="Freeform 466"/>
            <p:cNvSpPr>
              <a:spLocks/>
            </p:cNvSpPr>
            <p:nvPr/>
          </p:nvSpPr>
          <p:spPr bwMode="auto">
            <a:xfrm>
              <a:off x="6995" y="1621"/>
              <a:ext cx="58" cy="47"/>
            </a:xfrm>
            <a:custGeom>
              <a:avLst/>
              <a:gdLst>
                <a:gd name="T0" fmla="*/ 3 w 136"/>
                <a:gd name="T1" fmla="*/ 0 h 124"/>
                <a:gd name="T2" fmla="*/ 2 w 136"/>
                <a:gd name="T3" fmla="*/ 1 h 124"/>
                <a:gd name="T4" fmla="*/ 1 w 136"/>
                <a:gd name="T5" fmla="*/ 1 h 124"/>
                <a:gd name="T6" fmla="*/ 1 w 136"/>
                <a:gd name="T7" fmla="*/ 1 h 124"/>
                <a:gd name="T8" fmla="*/ 0 w 136"/>
                <a:gd name="T9" fmla="*/ 2 h 124"/>
                <a:gd name="T10" fmla="*/ 0 w 136"/>
                <a:gd name="T11" fmla="*/ 3 h 124"/>
                <a:gd name="T12" fmla="*/ 1 w 136"/>
                <a:gd name="T13" fmla="*/ 3 h 124"/>
                <a:gd name="T14" fmla="*/ 1 w 136"/>
                <a:gd name="T15" fmla="*/ 2 h 124"/>
                <a:gd name="T16" fmla="*/ 3 w 136"/>
                <a:gd name="T17" fmla="*/ 2 h 124"/>
                <a:gd name="T18" fmla="*/ 4 w 136"/>
                <a:gd name="T19" fmla="*/ 2 h 124"/>
                <a:gd name="T20" fmla="*/ 5 w 136"/>
                <a:gd name="T21" fmla="*/ 2 h 124"/>
                <a:gd name="T22" fmla="*/ 5 w 136"/>
                <a:gd name="T23" fmla="*/ 1 h 124"/>
                <a:gd name="T24" fmla="*/ 4 w 136"/>
                <a:gd name="T25" fmla="*/ 1 h 124"/>
                <a:gd name="T26" fmla="*/ 3 w 136"/>
                <a:gd name="T27" fmla="*/ 0 h 1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 h="124">
                  <a:moveTo>
                    <a:pt x="105" y="0"/>
                  </a:moveTo>
                  <a:lnTo>
                    <a:pt x="60" y="31"/>
                  </a:lnTo>
                  <a:lnTo>
                    <a:pt x="45" y="46"/>
                  </a:lnTo>
                  <a:lnTo>
                    <a:pt x="30" y="46"/>
                  </a:lnTo>
                  <a:lnTo>
                    <a:pt x="0" y="92"/>
                  </a:lnTo>
                  <a:lnTo>
                    <a:pt x="15" y="123"/>
                  </a:lnTo>
                  <a:lnTo>
                    <a:pt x="45" y="123"/>
                  </a:lnTo>
                  <a:lnTo>
                    <a:pt x="45" y="92"/>
                  </a:lnTo>
                  <a:lnTo>
                    <a:pt x="105" y="77"/>
                  </a:lnTo>
                  <a:lnTo>
                    <a:pt x="120" y="92"/>
                  </a:lnTo>
                  <a:lnTo>
                    <a:pt x="135" y="77"/>
                  </a:lnTo>
                  <a:lnTo>
                    <a:pt x="135" y="62"/>
                  </a:lnTo>
                  <a:lnTo>
                    <a:pt x="120" y="46"/>
                  </a:lnTo>
                  <a:lnTo>
                    <a:pt x="10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2" name="Freeform 467"/>
            <p:cNvSpPr>
              <a:spLocks/>
            </p:cNvSpPr>
            <p:nvPr/>
          </p:nvSpPr>
          <p:spPr bwMode="auto">
            <a:xfrm>
              <a:off x="6617" y="1690"/>
              <a:ext cx="27" cy="24"/>
            </a:xfrm>
            <a:custGeom>
              <a:avLst/>
              <a:gdLst>
                <a:gd name="T0" fmla="*/ 0 w 60"/>
                <a:gd name="T1" fmla="*/ 0 h 62"/>
                <a:gd name="T2" fmla="*/ 0 w 60"/>
                <a:gd name="T3" fmla="*/ 0 h 62"/>
                <a:gd name="T4" fmla="*/ 0 w 60"/>
                <a:gd name="T5" fmla="*/ 1 h 62"/>
                <a:gd name="T6" fmla="*/ 0 w 60"/>
                <a:gd name="T7" fmla="*/ 1 h 62"/>
                <a:gd name="T8" fmla="*/ 1 w 60"/>
                <a:gd name="T9" fmla="*/ 1 h 62"/>
                <a:gd name="T10" fmla="*/ 2 w 60"/>
                <a:gd name="T11" fmla="*/ 0 h 62"/>
                <a:gd name="T12" fmla="*/ 1 w 60"/>
                <a:gd name="T13" fmla="*/ 0 h 62"/>
                <a:gd name="T14" fmla="*/ 0 w 60"/>
                <a:gd name="T15" fmla="*/ 0 h 6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0" h="62">
                  <a:moveTo>
                    <a:pt x="15" y="0"/>
                  </a:moveTo>
                  <a:lnTo>
                    <a:pt x="0" y="15"/>
                  </a:lnTo>
                  <a:lnTo>
                    <a:pt x="15" y="31"/>
                  </a:lnTo>
                  <a:lnTo>
                    <a:pt x="15" y="61"/>
                  </a:lnTo>
                  <a:lnTo>
                    <a:pt x="30" y="61"/>
                  </a:lnTo>
                  <a:lnTo>
                    <a:pt x="59" y="15"/>
                  </a:lnTo>
                  <a:lnTo>
                    <a:pt x="30" y="0"/>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3" name="Freeform 468"/>
            <p:cNvSpPr>
              <a:spLocks/>
            </p:cNvSpPr>
            <p:nvPr/>
          </p:nvSpPr>
          <p:spPr bwMode="auto">
            <a:xfrm>
              <a:off x="6867" y="1621"/>
              <a:ext cx="8" cy="12"/>
            </a:xfrm>
            <a:custGeom>
              <a:avLst/>
              <a:gdLst>
                <a:gd name="T0" fmla="*/ 0 w 17"/>
                <a:gd name="T1" fmla="*/ 0 h 32"/>
                <a:gd name="T2" fmla="*/ 0 w 17"/>
                <a:gd name="T3" fmla="*/ 0 h 32"/>
                <a:gd name="T4" fmla="*/ 1 w 17"/>
                <a:gd name="T5" fmla="*/ 0 h 32"/>
                <a:gd name="T6" fmla="*/ 0 w 17"/>
                <a:gd name="T7" fmla="*/ 1 h 32"/>
                <a:gd name="T8" fmla="*/ 0 w 17"/>
                <a:gd name="T9" fmla="*/ 0 h 32"/>
                <a:gd name="T10" fmla="*/ 0 w 17"/>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32">
                  <a:moveTo>
                    <a:pt x="0" y="0"/>
                  </a:moveTo>
                  <a:lnTo>
                    <a:pt x="0" y="16"/>
                  </a:lnTo>
                  <a:lnTo>
                    <a:pt x="16" y="16"/>
                  </a:lnTo>
                  <a:lnTo>
                    <a:pt x="0" y="31"/>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4" name="Freeform 469"/>
            <p:cNvSpPr>
              <a:spLocks/>
            </p:cNvSpPr>
            <p:nvPr/>
          </p:nvSpPr>
          <p:spPr bwMode="auto">
            <a:xfrm>
              <a:off x="7264" y="1749"/>
              <a:ext cx="14" cy="12"/>
            </a:xfrm>
            <a:custGeom>
              <a:avLst/>
              <a:gdLst>
                <a:gd name="T0" fmla="*/ 0 w 32"/>
                <a:gd name="T1" fmla="*/ 0 h 32"/>
                <a:gd name="T2" fmla="*/ 0 w 32"/>
                <a:gd name="T3" fmla="*/ 1 h 32"/>
                <a:gd name="T4" fmla="*/ 0 w 32"/>
                <a:gd name="T5" fmla="*/ 1 h 32"/>
                <a:gd name="T6" fmla="*/ 1 w 32"/>
                <a:gd name="T7" fmla="*/ 0 h 32"/>
                <a:gd name="T8" fmla="*/ 0 w 32"/>
                <a:gd name="T9" fmla="*/ 0 h 32"/>
                <a:gd name="T10" fmla="*/ 0 w 32"/>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32">
                  <a:moveTo>
                    <a:pt x="0" y="16"/>
                  </a:moveTo>
                  <a:lnTo>
                    <a:pt x="0" y="31"/>
                  </a:lnTo>
                  <a:lnTo>
                    <a:pt x="16" y="31"/>
                  </a:lnTo>
                  <a:lnTo>
                    <a:pt x="31" y="16"/>
                  </a:lnTo>
                  <a:lnTo>
                    <a:pt x="16"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5" name="Freeform 470"/>
            <p:cNvSpPr>
              <a:spLocks/>
            </p:cNvSpPr>
            <p:nvPr/>
          </p:nvSpPr>
          <p:spPr bwMode="auto">
            <a:xfrm>
              <a:off x="7201" y="1789"/>
              <a:ext cx="89" cy="76"/>
            </a:xfrm>
            <a:custGeom>
              <a:avLst/>
              <a:gdLst>
                <a:gd name="T0" fmla="*/ 1 w 209"/>
                <a:gd name="T1" fmla="*/ 1 h 202"/>
                <a:gd name="T2" fmla="*/ 1 w 209"/>
                <a:gd name="T3" fmla="*/ 2 h 202"/>
                <a:gd name="T4" fmla="*/ 0 w 209"/>
                <a:gd name="T5" fmla="*/ 2 h 202"/>
                <a:gd name="T6" fmla="*/ 0 w 209"/>
                <a:gd name="T7" fmla="*/ 3 h 202"/>
                <a:gd name="T8" fmla="*/ 1 w 209"/>
                <a:gd name="T9" fmla="*/ 4 h 202"/>
                <a:gd name="T10" fmla="*/ 2 w 209"/>
                <a:gd name="T11" fmla="*/ 4 h 202"/>
                <a:gd name="T12" fmla="*/ 2 w 209"/>
                <a:gd name="T13" fmla="*/ 4 h 202"/>
                <a:gd name="T14" fmla="*/ 3 w 209"/>
                <a:gd name="T15" fmla="*/ 4 h 202"/>
                <a:gd name="T16" fmla="*/ 4 w 209"/>
                <a:gd name="T17" fmla="*/ 3 h 202"/>
                <a:gd name="T18" fmla="*/ 4 w 209"/>
                <a:gd name="T19" fmla="*/ 3 h 202"/>
                <a:gd name="T20" fmla="*/ 4 w 209"/>
                <a:gd name="T21" fmla="*/ 3 h 202"/>
                <a:gd name="T22" fmla="*/ 5 w 209"/>
                <a:gd name="T23" fmla="*/ 3 h 202"/>
                <a:gd name="T24" fmla="*/ 7 w 209"/>
                <a:gd name="T25" fmla="*/ 3 h 202"/>
                <a:gd name="T26" fmla="*/ 6 w 209"/>
                <a:gd name="T27" fmla="*/ 3 h 202"/>
                <a:gd name="T28" fmla="*/ 7 w 209"/>
                <a:gd name="T29" fmla="*/ 2 h 202"/>
                <a:gd name="T30" fmla="*/ 7 w 209"/>
                <a:gd name="T31" fmla="*/ 1 h 202"/>
                <a:gd name="T32" fmla="*/ 7 w 209"/>
                <a:gd name="T33" fmla="*/ 1 h 202"/>
                <a:gd name="T34" fmla="*/ 6 w 209"/>
                <a:gd name="T35" fmla="*/ 0 h 202"/>
                <a:gd name="T36" fmla="*/ 4 w 209"/>
                <a:gd name="T37" fmla="*/ 0 h 202"/>
                <a:gd name="T38" fmla="*/ 4 w 209"/>
                <a:gd name="T39" fmla="*/ 1 h 202"/>
                <a:gd name="T40" fmla="*/ 4 w 209"/>
                <a:gd name="T41" fmla="*/ 1 h 202"/>
                <a:gd name="T42" fmla="*/ 5 w 209"/>
                <a:gd name="T43" fmla="*/ 2 h 202"/>
                <a:gd name="T44" fmla="*/ 5 w 209"/>
                <a:gd name="T45" fmla="*/ 2 h 202"/>
                <a:gd name="T46" fmla="*/ 4 w 209"/>
                <a:gd name="T47" fmla="*/ 2 h 202"/>
                <a:gd name="T48" fmla="*/ 3 w 209"/>
                <a:gd name="T49" fmla="*/ 2 h 202"/>
                <a:gd name="T50" fmla="*/ 1 w 209"/>
                <a:gd name="T51" fmla="*/ 1 h 2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9" h="202">
                  <a:moveTo>
                    <a:pt x="45" y="62"/>
                  </a:moveTo>
                  <a:lnTo>
                    <a:pt x="45" y="93"/>
                  </a:lnTo>
                  <a:lnTo>
                    <a:pt x="15" y="93"/>
                  </a:lnTo>
                  <a:lnTo>
                    <a:pt x="0" y="170"/>
                  </a:lnTo>
                  <a:lnTo>
                    <a:pt x="30" y="186"/>
                  </a:lnTo>
                  <a:lnTo>
                    <a:pt x="59" y="186"/>
                  </a:lnTo>
                  <a:lnTo>
                    <a:pt x="59" y="201"/>
                  </a:lnTo>
                  <a:lnTo>
                    <a:pt x="89" y="201"/>
                  </a:lnTo>
                  <a:lnTo>
                    <a:pt x="119" y="170"/>
                  </a:lnTo>
                  <a:lnTo>
                    <a:pt x="134" y="170"/>
                  </a:lnTo>
                  <a:lnTo>
                    <a:pt x="134" y="139"/>
                  </a:lnTo>
                  <a:lnTo>
                    <a:pt x="163" y="155"/>
                  </a:lnTo>
                  <a:lnTo>
                    <a:pt x="208" y="124"/>
                  </a:lnTo>
                  <a:lnTo>
                    <a:pt x="193" y="124"/>
                  </a:lnTo>
                  <a:lnTo>
                    <a:pt x="208" y="93"/>
                  </a:lnTo>
                  <a:lnTo>
                    <a:pt x="208" y="62"/>
                  </a:lnTo>
                  <a:lnTo>
                    <a:pt x="208" y="31"/>
                  </a:lnTo>
                  <a:lnTo>
                    <a:pt x="178" y="0"/>
                  </a:lnTo>
                  <a:lnTo>
                    <a:pt x="134" y="15"/>
                  </a:lnTo>
                  <a:lnTo>
                    <a:pt x="134" y="46"/>
                  </a:lnTo>
                  <a:lnTo>
                    <a:pt x="119" y="62"/>
                  </a:lnTo>
                  <a:lnTo>
                    <a:pt x="149" y="77"/>
                  </a:lnTo>
                  <a:lnTo>
                    <a:pt x="149" y="108"/>
                  </a:lnTo>
                  <a:lnTo>
                    <a:pt x="134" y="108"/>
                  </a:lnTo>
                  <a:lnTo>
                    <a:pt x="104" y="77"/>
                  </a:lnTo>
                  <a:lnTo>
                    <a:pt x="45" y="6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6" name="Freeform 471"/>
            <p:cNvSpPr>
              <a:spLocks/>
            </p:cNvSpPr>
            <p:nvPr/>
          </p:nvSpPr>
          <p:spPr bwMode="auto">
            <a:xfrm>
              <a:off x="7130" y="1772"/>
              <a:ext cx="90" cy="93"/>
            </a:xfrm>
            <a:custGeom>
              <a:avLst/>
              <a:gdLst>
                <a:gd name="T0" fmla="*/ 0 w 209"/>
                <a:gd name="T1" fmla="*/ 4 h 248"/>
                <a:gd name="T2" fmla="*/ 0 w 209"/>
                <a:gd name="T3" fmla="*/ 4 h 248"/>
                <a:gd name="T4" fmla="*/ 1 w 209"/>
                <a:gd name="T5" fmla="*/ 5 h 248"/>
                <a:gd name="T6" fmla="*/ 3 w 209"/>
                <a:gd name="T7" fmla="*/ 5 h 248"/>
                <a:gd name="T8" fmla="*/ 6 w 209"/>
                <a:gd name="T9" fmla="*/ 5 h 248"/>
                <a:gd name="T10" fmla="*/ 7 w 209"/>
                <a:gd name="T11" fmla="*/ 5 h 248"/>
                <a:gd name="T12" fmla="*/ 6 w 209"/>
                <a:gd name="T13" fmla="*/ 4 h 248"/>
                <a:gd name="T14" fmla="*/ 6 w 209"/>
                <a:gd name="T15" fmla="*/ 3 h 248"/>
                <a:gd name="T16" fmla="*/ 7 w 209"/>
                <a:gd name="T17" fmla="*/ 3 h 248"/>
                <a:gd name="T18" fmla="*/ 7 w 209"/>
                <a:gd name="T19" fmla="*/ 2 h 248"/>
                <a:gd name="T20" fmla="*/ 6 w 209"/>
                <a:gd name="T21" fmla="*/ 2 h 248"/>
                <a:gd name="T22" fmla="*/ 6 w 209"/>
                <a:gd name="T23" fmla="*/ 1 h 248"/>
                <a:gd name="T24" fmla="*/ 5 w 209"/>
                <a:gd name="T25" fmla="*/ 1 h 248"/>
                <a:gd name="T26" fmla="*/ 5 w 209"/>
                <a:gd name="T27" fmla="*/ 1 h 248"/>
                <a:gd name="T28" fmla="*/ 3 w 209"/>
                <a:gd name="T29" fmla="*/ 1 h 248"/>
                <a:gd name="T30" fmla="*/ 3 w 209"/>
                <a:gd name="T31" fmla="*/ 0 h 248"/>
                <a:gd name="T32" fmla="*/ 3 w 209"/>
                <a:gd name="T33" fmla="*/ 0 h 248"/>
                <a:gd name="T34" fmla="*/ 0 w 209"/>
                <a:gd name="T35" fmla="*/ 0 h 248"/>
                <a:gd name="T36" fmla="*/ 1 w 209"/>
                <a:gd name="T37" fmla="*/ 1 h 248"/>
                <a:gd name="T38" fmla="*/ 0 w 209"/>
                <a:gd name="T39" fmla="*/ 1 h 248"/>
                <a:gd name="T40" fmla="*/ 1 w 209"/>
                <a:gd name="T41" fmla="*/ 2 h 248"/>
                <a:gd name="T42" fmla="*/ 1 w 209"/>
                <a:gd name="T43" fmla="*/ 3 h 248"/>
                <a:gd name="T44" fmla="*/ 0 w 209"/>
                <a:gd name="T45" fmla="*/ 3 h 248"/>
                <a:gd name="T46" fmla="*/ 0 w 209"/>
                <a:gd name="T47" fmla="*/ 3 h 248"/>
                <a:gd name="T48" fmla="*/ 0 w 209"/>
                <a:gd name="T49" fmla="*/ 4 h 2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09" h="248">
                  <a:moveTo>
                    <a:pt x="0" y="216"/>
                  </a:moveTo>
                  <a:lnTo>
                    <a:pt x="15" y="216"/>
                  </a:lnTo>
                  <a:lnTo>
                    <a:pt x="30" y="232"/>
                  </a:lnTo>
                  <a:lnTo>
                    <a:pt x="104" y="232"/>
                  </a:lnTo>
                  <a:lnTo>
                    <a:pt x="163" y="247"/>
                  </a:lnTo>
                  <a:lnTo>
                    <a:pt x="193" y="232"/>
                  </a:lnTo>
                  <a:lnTo>
                    <a:pt x="163" y="216"/>
                  </a:lnTo>
                  <a:lnTo>
                    <a:pt x="178" y="139"/>
                  </a:lnTo>
                  <a:lnTo>
                    <a:pt x="208" y="139"/>
                  </a:lnTo>
                  <a:lnTo>
                    <a:pt x="208" y="108"/>
                  </a:lnTo>
                  <a:lnTo>
                    <a:pt x="178" y="108"/>
                  </a:lnTo>
                  <a:lnTo>
                    <a:pt x="163" y="31"/>
                  </a:lnTo>
                  <a:lnTo>
                    <a:pt x="134" y="31"/>
                  </a:lnTo>
                  <a:lnTo>
                    <a:pt x="134" y="46"/>
                  </a:lnTo>
                  <a:lnTo>
                    <a:pt x="89" y="46"/>
                  </a:lnTo>
                  <a:lnTo>
                    <a:pt x="89" y="15"/>
                  </a:lnTo>
                  <a:lnTo>
                    <a:pt x="74" y="0"/>
                  </a:lnTo>
                  <a:lnTo>
                    <a:pt x="15" y="15"/>
                  </a:lnTo>
                  <a:lnTo>
                    <a:pt x="30" y="46"/>
                  </a:lnTo>
                  <a:lnTo>
                    <a:pt x="15" y="62"/>
                  </a:lnTo>
                  <a:lnTo>
                    <a:pt x="30" y="108"/>
                  </a:lnTo>
                  <a:lnTo>
                    <a:pt x="30" y="124"/>
                  </a:lnTo>
                  <a:lnTo>
                    <a:pt x="15" y="139"/>
                  </a:lnTo>
                  <a:lnTo>
                    <a:pt x="0" y="170"/>
                  </a:lnTo>
                  <a:lnTo>
                    <a:pt x="0" y="2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7" name="Freeform 472"/>
            <p:cNvSpPr>
              <a:spLocks/>
            </p:cNvSpPr>
            <p:nvPr/>
          </p:nvSpPr>
          <p:spPr bwMode="auto">
            <a:xfrm>
              <a:off x="7283" y="1800"/>
              <a:ext cx="27" cy="65"/>
            </a:xfrm>
            <a:custGeom>
              <a:avLst/>
              <a:gdLst>
                <a:gd name="T0" fmla="*/ 0 w 62"/>
                <a:gd name="T1" fmla="*/ 0 h 171"/>
                <a:gd name="T2" fmla="*/ 0 w 62"/>
                <a:gd name="T3" fmla="*/ 1 h 171"/>
                <a:gd name="T4" fmla="*/ 0 w 62"/>
                <a:gd name="T5" fmla="*/ 1 h 171"/>
                <a:gd name="T6" fmla="*/ 0 w 62"/>
                <a:gd name="T7" fmla="*/ 2 h 171"/>
                <a:gd name="T8" fmla="*/ 0 w 62"/>
                <a:gd name="T9" fmla="*/ 2 h 171"/>
                <a:gd name="T10" fmla="*/ 1 w 62"/>
                <a:gd name="T11" fmla="*/ 2 h 171"/>
                <a:gd name="T12" fmla="*/ 1 w 62"/>
                <a:gd name="T13" fmla="*/ 3 h 171"/>
                <a:gd name="T14" fmla="*/ 2 w 62"/>
                <a:gd name="T15" fmla="*/ 4 h 171"/>
                <a:gd name="T16" fmla="*/ 2 w 62"/>
                <a:gd name="T17" fmla="*/ 3 h 171"/>
                <a:gd name="T18" fmla="*/ 2 w 62"/>
                <a:gd name="T19" fmla="*/ 3 h 171"/>
                <a:gd name="T20" fmla="*/ 2 w 62"/>
                <a:gd name="T21" fmla="*/ 2 h 171"/>
                <a:gd name="T22" fmla="*/ 2 w 62"/>
                <a:gd name="T23" fmla="*/ 2 h 171"/>
                <a:gd name="T24" fmla="*/ 1 w 62"/>
                <a:gd name="T25" fmla="*/ 1 h 171"/>
                <a:gd name="T26" fmla="*/ 1 w 62"/>
                <a:gd name="T27" fmla="*/ 1 h 171"/>
                <a:gd name="T28" fmla="*/ 1 w 62"/>
                <a:gd name="T29" fmla="*/ 0 h 171"/>
                <a:gd name="T30" fmla="*/ 0 w 62"/>
                <a:gd name="T31" fmla="*/ 0 h 1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2" h="171">
                  <a:moveTo>
                    <a:pt x="15" y="0"/>
                  </a:moveTo>
                  <a:lnTo>
                    <a:pt x="15" y="31"/>
                  </a:lnTo>
                  <a:lnTo>
                    <a:pt x="15" y="62"/>
                  </a:lnTo>
                  <a:lnTo>
                    <a:pt x="0" y="93"/>
                  </a:lnTo>
                  <a:lnTo>
                    <a:pt x="15" y="93"/>
                  </a:lnTo>
                  <a:lnTo>
                    <a:pt x="31" y="108"/>
                  </a:lnTo>
                  <a:lnTo>
                    <a:pt x="31" y="139"/>
                  </a:lnTo>
                  <a:lnTo>
                    <a:pt x="46" y="170"/>
                  </a:lnTo>
                  <a:lnTo>
                    <a:pt x="46" y="155"/>
                  </a:lnTo>
                  <a:lnTo>
                    <a:pt x="61" y="139"/>
                  </a:lnTo>
                  <a:lnTo>
                    <a:pt x="61" y="93"/>
                  </a:lnTo>
                  <a:lnTo>
                    <a:pt x="46" y="93"/>
                  </a:lnTo>
                  <a:lnTo>
                    <a:pt x="31" y="62"/>
                  </a:lnTo>
                  <a:lnTo>
                    <a:pt x="31" y="31"/>
                  </a:lnTo>
                  <a:lnTo>
                    <a:pt x="31" y="15"/>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8" name="Freeform 473"/>
            <p:cNvSpPr>
              <a:spLocks/>
            </p:cNvSpPr>
            <p:nvPr/>
          </p:nvSpPr>
          <p:spPr bwMode="auto">
            <a:xfrm>
              <a:off x="7130" y="1696"/>
              <a:ext cx="148" cy="135"/>
            </a:xfrm>
            <a:custGeom>
              <a:avLst/>
              <a:gdLst>
                <a:gd name="T0" fmla="*/ 6 w 344"/>
                <a:gd name="T1" fmla="*/ 5 h 354"/>
                <a:gd name="T2" fmla="*/ 6 w 344"/>
                <a:gd name="T3" fmla="*/ 6 h 354"/>
                <a:gd name="T4" fmla="*/ 7 w 344"/>
                <a:gd name="T5" fmla="*/ 6 h 354"/>
                <a:gd name="T6" fmla="*/ 9 w 344"/>
                <a:gd name="T7" fmla="*/ 7 h 354"/>
                <a:gd name="T8" fmla="*/ 10 w 344"/>
                <a:gd name="T9" fmla="*/ 7 h 354"/>
                <a:gd name="T10" fmla="*/ 11 w 344"/>
                <a:gd name="T11" fmla="*/ 7 h 354"/>
                <a:gd name="T12" fmla="*/ 11 w 344"/>
                <a:gd name="T13" fmla="*/ 7 h 354"/>
                <a:gd name="T14" fmla="*/ 9 w 344"/>
                <a:gd name="T15" fmla="*/ 6 h 354"/>
                <a:gd name="T16" fmla="*/ 10 w 344"/>
                <a:gd name="T17" fmla="*/ 6 h 354"/>
                <a:gd name="T18" fmla="*/ 10 w 344"/>
                <a:gd name="T19" fmla="*/ 5 h 354"/>
                <a:gd name="T20" fmla="*/ 12 w 344"/>
                <a:gd name="T21" fmla="*/ 5 h 354"/>
                <a:gd name="T22" fmla="*/ 11 w 344"/>
                <a:gd name="T23" fmla="*/ 5 h 354"/>
                <a:gd name="T24" fmla="*/ 11 w 344"/>
                <a:gd name="T25" fmla="*/ 5 h 354"/>
                <a:gd name="T26" fmla="*/ 10 w 344"/>
                <a:gd name="T27" fmla="*/ 3 h 354"/>
                <a:gd name="T28" fmla="*/ 11 w 344"/>
                <a:gd name="T29" fmla="*/ 3 h 354"/>
                <a:gd name="T30" fmla="*/ 11 w 344"/>
                <a:gd name="T31" fmla="*/ 3 h 354"/>
                <a:gd name="T32" fmla="*/ 11 w 344"/>
                <a:gd name="T33" fmla="*/ 2 h 354"/>
                <a:gd name="T34" fmla="*/ 11 w 344"/>
                <a:gd name="T35" fmla="*/ 2 h 354"/>
                <a:gd name="T36" fmla="*/ 11 w 344"/>
                <a:gd name="T37" fmla="*/ 2 h 354"/>
                <a:gd name="T38" fmla="*/ 12 w 344"/>
                <a:gd name="T39" fmla="*/ 1 h 354"/>
                <a:gd name="T40" fmla="*/ 11 w 344"/>
                <a:gd name="T41" fmla="*/ 1 h 354"/>
                <a:gd name="T42" fmla="*/ 11 w 344"/>
                <a:gd name="T43" fmla="*/ 0 h 354"/>
                <a:gd name="T44" fmla="*/ 9 w 344"/>
                <a:gd name="T45" fmla="*/ 0 h 354"/>
                <a:gd name="T46" fmla="*/ 9 w 344"/>
                <a:gd name="T47" fmla="*/ 0 h 354"/>
                <a:gd name="T48" fmla="*/ 8 w 344"/>
                <a:gd name="T49" fmla="*/ 0 h 354"/>
                <a:gd name="T50" fmla="*/ 6 w 344"/>
                <a:gd name="T51" fmla="*/ 0 h 354"/>
                <a:gd name="T52" fmla="*/ 6 w 344"/>
                <a:gd name="T53" fmla="*/ 0 h 354"/>
                <a:gd name="T54" fmla="*/ 5 w 344"/>
                <a:gd name="T55" fmla="*/ 0 h 354"/>
                <a:gd name="T56" fmla="*/ 4 w 344"/>
                <a:gd name="T57" fmla="*/ 0 h 354"/>
                <a:gd name="T58" fmla="*/ 3 w 344"/>
                <a:gd name="T59" fmla="*/ 1 h 354"/>
                <a:gd name="T60" fmla="*/ 3 w 344"/>
                <a:gd name="T61" fmla="*/ 1 h 354"/>
                <a:gd name="T62" fmla="*/ 3 w 344"/>
                <a:gd name="T63" fmla="*/ 2 h 354"/>
                <a:gd name="T64" fmla="*/ 3 w 344"/>
                <a:gd name="T65" fmla="*/ 3 h 354"/>
                <a:gd name="T66" fmla="*/ 2 w 344"/>
                <a:gd name="T67" fmla="*/ 3 h 354"/>
                <a:gd name="T68" fmla="*/ 1 w 344"/>
                <a:gd name="T69" fmla="*/ 4 h 354"/>
                <a:gd name="T70" fmla="*/ 0 w 344"/>
                <a:gd name="T71" fmla="*/ 4 h 354"/>
                <a:gd name="T72" fmla="*/ 0 w 344"/>
                <a:gd name="T73" fmla="*/ 4 h 354"/>
                <a:gd name="T74" fmla="*/ 0 w 344"/>
                <a:gd name="T75" fmla="*/ 5 h 354"/>
                <a:gd name="T76" fmla="*/ 3 w 344"/>
                <a:gd name="T77" fmla="*/ 4 h 354"/>
                <a:gd name="T78" fmla="*/ 3 w 344"/>
                <a:gd name="T79" fmla="*/ 5 h 354"/>
                <a:gd name="T80" fmla="*/ 3 w 344"/>
                <a:gd name="T81" fmla="*/ 5 h 354"/>
                <a:gd name="T82" fmla="*/ 5 w 344"/>
                <a:gd name="T83" fmla="*/ 5 h 354"/>
                <a:gd name="T84" fmla="*/ 5 w 344"/>
                <a:gd name="T85" fmla="*/ 5 h 354"/>
                <a:gd name="T86" fmla="*/ 6 w 344"/>
                <a:gd name="T87" fmla="*/ 5 h 3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44" h="354">
                  <a:moveTo>
                    <a:pt x="164" y="230"/>
                  </a:moveTo>
                  <a:lnTo>
                    <a:pt x="179" y="307"/>
                  </a:lnTo>
                  <a:lnTo>
                    <a:pt x="209" y="307"/>
                  </a:lnTo>
                  <a:lnTo>
                    <a:pt x="268" y="322"/>
                  </a:lnTo>
                  <a:lnTo>
                    <a:pt x="298" y="353"/>
                  </a:lnTo>
                  <a:lnTo>
                    <a:pt x="313" y="353"/>
                  </a:lnTo>
                  <a:lnTo>
                    <a:pt x="313" y="322"/>
                  </a:lnTo>
                  <a:lnTo>
                    <a:pt x="283" y="307"/>
                  </a:lnTo>
                  <a:lnTo>
                    <a:pt x="298" y="292"/>
                  </a:lnTo>
                  <a:lnTo>
                    <a:pt x="298" y="261"/>
                  </a:lnTo>
                  <a:lnTo>
                    <a:pt x="343" y="246"/>
                  </a:lnTo>
                  <a:lnTo>
                    <a:pt x="328" y="230"/>
                  </a:lnTo>
                  <a:lnTo>
                    <a:pt x="313" y="215"/>
                  </a:lnTo>
                  <a:lnTo>
                    <a:pt x="298" y="169"/>
                  </a:lnTo>
                  <a:lnTo>
                    <a:pt x="313" y="169"/>
                  </a:lnTo>
                  <a:lnTo>
                    <a:pt x="313" y="153"/>
                  </a:lnTo>
                  <a:lnTo>
                    <a:pt x="313" y="107"/>
                  </a:lnTo>
                  <a:lnTo>
                    <a:pt x="313" y="77"/>
                  </a:lnTo>
                  <a:lnTo>
                    <a:pt x="328" y="77"/>
                  </a:lnTo>
                  <a:lnTo>
                    <a:pt x="343" y="61"/>
                  </a:lnTo>
                  <a:lnTo>
                    <a:pt x="328" y="31"/>
                  </a:lnTo>
                  <a:lnTo>
                    <a:pt x="313" y="15"/>
                  </a:lnTo>
                  <a:lnTo>
                    <a:pt x="283" y="15"/>
                  </a:lnTo>
                  <a:lnTo>
                    <a:pt x="268" y="0"/>
                  </a:lnTo>
                  <a:lnTo>
                    <a:pt x="239" y="0"/>
                  </a:lnTo>
                  <a:lnTo>
                    <a:pt x="194" y="0"/>
                  </a:lnTo>
                  <a:lnTo>
                    <a:pt x="179" y="15"/>
                  </a:lnTo>
                  <a:lnTo>
                    <a:pt x="134" y="0"/>
                  </a:lnTo>
                  <a:lnTo>
                    <a:pt x="119" y="0"/>
                  </a:lnTo>
                  <a:lnTo>
                    <a:pt x="104" y="31"/>
                  </a:lnTo>
                  <a:lnTo>
                    <a:pt x="104" y="61"/>
                  </a:lnTo>
                  <a:lnTo>
                    <a:pt x="104" y="107"/>
                  </a:lnTo>
                  <a:lnTo>
                    <a:pt x="75" y="123"/>
                  </a:lnTo>
                  <a:lnTo>
                    <a:pt x="60" y="169"/>
                  </a:lnTo>
                  <a:lnTo>
                    <a:pt x="45" y="184"/>
                  </a:lnTo>
                  <a:lnTo>
                    <a:pt x="15" y="184"/>
                  </a:lnTo>
                  <a:lnTo>
                    <a:pt x="0" y="200"/>
                  </a:lnTo>
                  <a:lnTo>
                    <a:pt x="15" y="215"/>
                  </a:lnTo>
                  <a:lnTo>
                    <a:pt x="75" y="200"/>
                  </a:lnTo>
                  <a:lnTo>
                    <a:pt x="89" y="215"/>
                  </a:lnTo>
                  <a:lnTo>
                    <a:pt x="89" y="246"/>
                  </a:lnTo>
                  <a:lnTo>
                    <a:pt x="134" y="246"/>
                  </a:lnTo>
                  <a:lnTo>
                    <a:pt x="134" y="230"/>
                  </a:lnTo>
                  <a:lnTo>
                    <a:pt x="164" y="23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49" name="Freeform 474"/>
            <p:cNvSpPr>
              <a:spLocks/>
            </p:cNvSpPr>
            <p:nvPr/>
          </p:nvSpPr>
          <p:spPr bwMode="auto">
            <a:xfrm>
              <a:off x="7130" y="1766"/>
              <a:ext cx="7"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16"/>
                  </a:moveTo>
                  <a:lnTo>
                    <a:pt x="16" y="0"/>
                  </a:lnTo>
                  <a:lnTo>
                    <a:pt x="0"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0" name="Freeform 475"/>
            <p:cNvSpPr>
              <a:spLocks/>
            </p:cNvSpPr>
            <p:nvPr/>
          </p:nvSpPr>
          <p:spPr bwMode="auto">
            <a:xfrm>
              <a:off x="6470" y="1690"/>
              <a:ext cx="301" cy="297"/>
            </a:xfrm>
            <a:custGeom>
              <a:avLst/>
              <a:gdLst>
                <a:gd name="T0" fmla="*/ 14 w 702"/>
                <a:gd name="T1" fmla="*/ 16 h 784"/>
                <a:gd name="T2" fmla="*/ 12 w 702"/>
                <a:gd name="T3" fmla="*/ 15 h 784"/>
                <a:gd name="T4" fmla="*/ 13 w 702"/>
                <a:gd name="T5" fmla="*/ 13 h 784"/>
                <a:gd name="T6" fmla="*/ 12 w 702"/>
                <a:gd name="T7" fmla="*/ 13 h 784"/>
                <a:gd name="T8" fmla="*/ 12 w 702"/>
                <a:gd name="T9" fmla="*/ 12 h 784"/>
                <a:gd name="T10" fmla="*/ 11 w 702"/>
                <a:gd name="T11" fmla="*/ 11 h 784"/>
                <a:gd name="T12" fmla="*/ 10 w 702"/>
                <a:gd name="T13" fmla="*/ 11 h 784"/>
                <a:gd name="T14" fmla="*/ 10 w 702"/>
                <a:gd name="T15" fmla="*/ 9 h 784"/>
                <a:gd name="T16" fmla="*/ 9 w 702"/>
                <a:gd name="T17" fmla="*/ 9 h 784"/>
                <a:gd name="T18" fmla="*/ 6 w 702"/>
                <a:gd name="T19" fmla="*/ 7 h 784"/>
                <a:gd name="T20" fmla="*/ 5 w 702"/>
                <a:gd name="T21" fmla="*/ 7 h 784"/>
                <a:gd name="T22" fmla="*/ 4 w 702"/>
                <a:gd name="T23" fmla="*/ 6 h 784"/>
                <a:gd name="T24" fmla="*/ 3 w 702"/>
                <a:gd name="T25" fmla="*/ 7 h 784"/>
                <a:gd name="T26" fmla="*/ 3 w 702"/>
                <a:gd name="T27" fmla="*/ 6 h 784"/>
                <a:gd name="T28" fmla="*/ 1 w 702"/>
                <a:gd name="T29" fmla="*/ 6 h 784"/>
                <a:gd name="T30" fmla="*/ 0 w 702"/>
                <a:gd name="T31" fmla="*/ 6 h 784"/>
                <a:gd name="T32" fmla="*/ 0 w 702"/>
                <a:gd name="T33" fmla="*/ 5 h 784"/>
                <a:gd name="T34" fmla="*/ 3 w 702"/>
                <a:gd name="T35" fmla="*/ 4 h 784"/>
                <a:gd name="T36" fmla="*/ 3 w 702"/>
                <a:gd name="T37" fmla="*/ 3 h 784"/>
                <a:gd name="T38" fmla="*/ 3 w 702"/>
                <a:gd name="T39" fmla="*/ 2 h 784"/>
                <a:gd name="T40" fmla="*/ 2 w 702"/>
                <a:gd name="T41" fmla="*/ 2 h 784"/>
                <a:gd name="T42" fmla="*/ 3 w 702"/>
                <a:gd name="T43" fmla="*/ 1 h 784"/>
                <a:gd name="T44" fmla="*/ 4 w 702"/>
                <a:gd name="T45" fmla="*/ 2 h 784"/>
                <a:gd name="T46" fmla="*/ 6 w 702"/>
                <a:gd name="T47" fmla="*/ 2 h 784"/>
                <a:gd name="T48" fmla="*/ 5 w 702"/>
                <a:gd name="T49" fmla="*/ 1 h 784"/>
                <a:gd name="T50" fmla="*/ 6 w 702"/>
                <a:gd name="T51" fmla="*/ 1 h 784"/>
                <a:gd name="T52" fmla="*/ 8 w 702"/>
                <a:gd name="T53" fmla="*/ 0 h 784"/>
                <a:gd name="T54" fmla="*/ 9 w 702"/>
                <a:gd name="T55" fmla="*/ 1 h 784"/>
                <a:gd name="T56" fmla="*/ 10 w 702"/>
                <a:gd name="T57" fmla="*/ 1 h 784"/>
                <a:gd name="T58" fmla="*/ 10 w 702"/>
                <a:gd name="T59" fmla="*/ 1 h 784"/>
                <a:gd name="T60" fmla="*/ 13 w 702"/>
                <a:gd name="T61" fmla="*/ 1 h 784"/>
                <a:gd name="T62" fmla="*/ 14 w 702"/>
                <a:gd name="T63" fmla="*/ 1 h 784"/>
                <a:gd name="T64" fmla="*/ 14 w 702"/>
                <a:gd name="T65" fmla="*/ 2 h 784"/>
                <a:gd name="T66" fmla="*/ 14 w 702"/>
                <a:gd name="T67" fmla="*/ 3 h 784"/>
                <a:gd name="T68" fmla="*/ 15 w 702"/>
                <a:gd name="T69" fmla="*/ 3 h 784"/>
                <a:gd name="T70" fmla="*/ 15 w 702"/>
                <a:gd name="T71" fmla="*/ 3 h 784"/>
                <a:gd name="T72" fmla="*/ 18 w 702"/>
                <a:gd name="T73" fmla="*/ 3 h 784"/>
                <a:gd name="T74" fmla="*/ 18 w 702"/>
                <a:gd name="T75" fmla="*/ 3 h 784"/>
                <a:gd name="T76" fmla="*/ 20 w 702"/>
                <a:gd name="T77" fmla="*/ 3 h 784"/>
                <a:gd name="T78" fmla="*/ 21 w 702"/>
                <a:gd name="T79" fmla="*/ 3 h 784"/>
                <a:gd name="T80" fmla="*/ 24 w 702"/>
                <a:gd name="T81" fmla="*/ 5 h 784"/>
                <a:gd name="T82" fmla="*/ 23 w 702"/>
                <a:gd name="T83" fmla="*/ 6 h 784"/>
                <a:gd name="T84" fmla="*/ 21 w 702"/>
                <a:gd name="T85" fmla="*/ 9 h 784"/>
                <a:gd name="T86" fmla="*/ 21 w 702"/>
                <a:gd name="T87" fmla="*/ 10 h 784"/>
                <a:gd name="T88" fmla="*/ 21 w 702"/>
                <a:gd name="T89" fmla="*/ 11 h 784"/>
                <a:gd name="T90" fmla="*/ 20 w 702"/>
                <a:gd name="T91" fmla="*/ 11 h 784"/>
                <a:gd name="T92" fmla="*/ 17 w 702"/>
                <a:gd name="T93" fmla="*/ 12 h 784"/>
                <a:gd name="T94" fmla="*/ 15 w 702"/>
                <a:gd name="T95" fmla="*/ 13 h 7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02" h="784">
                  <a:moveTo>
                    <a:pt x="477" y="676"/>
                  </a:moveTo>
                  <a:lnTo>
                    <a:pt x="403" y="783"/>
                  </a:lnTo>
                  <a:lnTo>
                    <a:pt x="388" y="768"/>
                  </a:lnTo>
                  <a:lnTo>
                    <a:pt x="358" y="722"/>
                  </a:lnTo>
                  <a:lnTo>
                    <a:pt x="328" y="706"/>
                  </a:lnTo>
                  <a:lnTo>
                    <a:pt x="388" y="645"/>
                  </a:lnTo>
                  <a:lnTo>
                    <a:pt x="373" y="629"/>
                  </a:lnTo>
                  <a:lnTo>
                    <a:pt x="358" y="614"/>
                  </a:lnTo>
                  <a:lnTo>
                    <a:pt x="373" y="583"/>
                  </a:lnTo>
                  <a:lnTo>
                    <a:pt x="343" y="583"/>
                  </a:lnTo>
                  <a:lnTo>
                    <a:pt x="343" y="553"/>
                  </a:lnTo>
                  <a:lnTo>
                    <a:pt x="328" y="537"/>
                  </a:lnTo>
                  <a:lnTo>
                    <a:pt x="328" y="553"/>
                  </a:lnTo>
                  <a:lnTo>
                    <a:pt x="298" y="553"/>
                  </a:lnTo>
                  <a:lnTo>
                    <a:pt x="298" y="507"/>
                  </a:lnTo>
                  <a:lnTo>
                    <a:pt x="298" y="461"/>
                  </a:lnTo>
                  <a:lnTo>
                    <a:pt x="268" y="430"/>
                  </a:lnTo>
                  <a:lnTo>
                    <a:pt x="254" y="430"/>
                  </a:lnTo>
                  <a:lnTo>
                    <a:pt x="224" y="384"/>
                  </a:lnTo>
                  <a:lnTo>
                    <a:pt x="194" y="353"/>
                  </a:lnTo>
                  <a:lnTo>
                    <a:pt x="179" y="353"/>
                  </a:lnTo>
                  <a:lnTo>
                    <a:pt x="149" y="338"/>
                  </a:lnTo>
                  <a:lnTo>
                    <a:pt x="149" y="307"/>
                  </a:lnTo>
                  <a:lnTo>
                    <a:pt x="134" y="307"/>
                  </a:lnTo>
                  <a:lnTo>
                    <a:pt x="119" y="322"/>
                  </a:lnTo>
                  <a:lnTo>
                    <a:pt x="104" y="338"/>
                  </a:lnTo>
                  <a:lnTo>
                    <a:pt x="89" y="322"/>
                  </a:lnTo>
                  <a:lnTo>
                    <a:pt x="75" y="322"/>
                  </a:lnTo>
                  <a:lnTo>
                    <a:pt x="45" y="322"/>
                  </a:lnTo>
                  <a:lnTo>
                    <a:pt x="45" y="307"/>
                  </a:lnTo>
                  <a:lnTo>
                    <a:pt x="30" y="307"/>
                  </a:lnTo>
                  <a:lnTo>
                    <a:pt x="0" y="276"/>
                  </a:lnTo>
                  <a:lnTo>
                    <a:pt x="0" y="246"/>
                  </a:lnTo>
                  <a:lnTo>
                    <a:pt x="15" y="215"/>
                  </a:lnTo>
                  <a:lnTo>
                    <a:pt x="45" y="184"/>
                  </a:lnTo>
                  <a:lnTo>
                    <a:pt x="75" y="184"/>
                  </a:lnTo>
                  <a:lnTo>
                    <a:pt x="75" y="138"/>
                  </a:lnTo>
                  <a:lnTo>
                    <a:pt x="75" y="123"/>
                  </a:lnTo>
                  <a:lnTo>
                    <a:pt x="75" y="107"/>
                  </a:lnTo>
                  <a:lnTo>
                    <a:pt x="89" y="92"/>
                  </a:lnTo>
                  <a:lnTo>
                    <a:pt x="60" y="92"/>
                  </a:lnTo>
                  <a:lnTo>
                    <a:pt x="60" y="77"/>
                  </a:lnTo>
                  <a:lnTo>
                    <a:pt x="89" y="77"/>
                  </a:lnTo>
                  <a:lnTo>
                    <a:pt x="89" y="61"/>
                  </a:lnTo>
                  <a:lnTo>
                    <a:pt x="104" y="61"/>
                  </a:lnTo>
                  <a:lnTo>
                    <a:pt x="119" y="77"/>
                  </a:lnTo>
                  <a:lnTo>
                    <a:pt x="134" y="77"/>
                  </a:lnTo>
                  <a:lnTo>
                    <a:pt x="164" y="77"/>
                  </a:lnTo>
                  <a:lnTo>
                    <a:pt x="179" y="46"/>
                  </a:lnTo>
                  <a:lnTo>
                    <a:pt x="149" y="31"/>
                  </a:lnTo>
                  <a:lnTo>
                    <a:pt x="164" y="15"/>
                  </a:lnTo>
                  <a:lnTo>
                    <a:pt x="194" y="31"/>
                  </a:lnTo>
                  <a:lnTo>
                    <a:pt x="224" y="15"/>
                  </a:lnTo>
                  <a:lnTo>
                    <a:pt x="239" y="0"/>
                  </a:lnTo>
                  <a:lnTo>
                    <a:pt x="254" y="46"/>
                  </a:lnTo>
                  <a:lnTo>
                    <a:pt x="254" y="61"/>
                  </a:lnTo>
                  <a:lnTo>
                    <a:pt x="268" y="77"/>
                  </a:lnTo>
                  <a:lnTo>
                    <a:pt x="298" y="61"/>
                  </a:lnTo>
                  <a:lnTo>
                    <a:pt x="313" y="61"/>
                  </a:lnTo>
                  <a:lnTo>
                    <a:pt x="313" y="46"/>
                  </a:lnTo>
                  <a:lnTo>
                    <a:pt x="358" y="61"/>
                  </a:lnTo>
                  <a:lnTo>
                    <a:pt x="373" y="61"/>
                  </a:lnTo>
                  <a:lnTo>
                    <a:pt x="403" y="15"/>
                  </a:lnTo>
                  <a:lnTo>
                    <a:pt x="403" y="61"/>
                  </a:lnTo>
                  <a:lnTo>
                    <a:pt x="418" y="77"/>
                  </a:lnTo>
                  <a:lnTo>
                    <a:pt x="403" y="107"/>
                  </a:lnTo>
                  <a:lnTo>
                    <a:pt x="403" y="123"/>
                  </a:lnTo>
                  <a:lnTo>
                    <a:pt x="418" y="123"/>
                  </a:lnTo>
                  <a:lnTo>
                    <a:pt x="447" y="107"/>
                  </a:lnTo>
                  <a:lnTo>
                    <a:pt x="447" y="123"/>
                  </a:lnTo>
                  <a:lnTo>
                    <a:pt x="418" y="138"/>
                  </a:lnTo>
                  <a:lnTo>
                    <a:pt x="433" y="138"/>
                  </a:lnTo>
                  <a:lnTo>
                    <a:pt x="462" y="123"/>
                  </a:lnTo>
                  <a:lnTo>
                    <a:pt x="522" y="123"/>
                  </a:lnTo>
                  <a:lnTo>
                    <a:pt x="522" y="138"/>
                  </a:lnTo>
                  <a:lnTo>
                    <a:pt x="522" y="154"/>
                  </a:lnTo>
                  <a:lnTo>
                    <a:pt x="537" y="154"/>
                  </a:lnTo>
                  <a:lnTo>
                    <a:pt x="582" y="169"/>
                  </a:lnTo>
                  <a:lnTo>
                    <a:pt x="597" y="154"/>
                  </a:lnTo>
                  <a:lnTo>
                    <a:pt x="626" y="169"/>
                  </a:lnTo>
                  <a:lnTo>
                    <a:pt x="686" y="215"/>
                  </a:lnTo>
                  <a:lnTo>
                    <a:pt x="701" y="230"/>
                  </a:lnTo>
                  <a:lnTo>
                    <a:pt x="701" y="261"/>
                  </a:lnTo>
                  <a:lnTo>
                    <a:pt x="671" y="307"/>
                  </a:lnTo>
                  <a:lnTo>
                    <a:pt x="626" y="368"/>
                  </a:lnTo>
                  <a:lnTo>
                    <a:pt x="626" y="445"/>
                  </a:lnTo>
                  <a:lnTo>
                    <a:pt x="626" y="461"/>
                  </a:lnTo>
                  <a:lnTo>
                    <a:pt x="626" y="476"/>
                  </a:lnTo>
                  <a:lnTo>
                    <a:pt x="612" y="491"/>
                  </a:lnTo>
                  <a:lnTo>
                    <a:pt x="612" y="507"/>
                  </a:lnTo>
                  <a:lnTo>
                    <a:pt x="597" y="537"/>
                  </a:lnTo>
                  <a:lnTo>
                    <a:pt x="582" y="553"/>
                  </a:lnTo>
                  <a:lnTo>
                    <a:pt x="537" y="553"/>
                  </a:lnTo>
                  <a:lnTo>
                    <a:pt x="492" y="583"/>
                  </a:lnTo>
                  <a:lnTo>
                    <a:pt x="477" y="614"/>
                  </a:lnTo>
                  <a:lnTo>
                    <a:pt x="462" y="614"/>
                  </a:lnTo>
                  <a:lnTo>
                    <a:pt x="477" y="67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1" name="Freeform 476"/>
            <p:cNvSpPr>
              <a:spLocks/>
            </p:cNvSpPr>
            <p:nvPr/>
          </p:nvSpPr>
          <p:spPr bwMode="auto">
            <a:xfrm>
              <a:off x="6649" y="1726"/>
              <a:ext cx="7"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16" y="0"/>
                  </a:moveTo>
                  <a:lnTo>
                    <a:pt x="0" y="16"/>
                  </a:lnTo>
                  <a:lnTo>
                    <a:pt x="0" y="0"/>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2" name="Freeform 477"/>
            <p:cNvSpPr>
              <a:spLocks/>
            </p:cNvSpPr>
            <p:nvPr/>
          </p:nvSpPr>
          <p:spPr bwMode="auto">
            <a:xfrm>
              <a:off x="7264" y="1702"/>
              <a:ext cx="40" cy="41"/>
            </a:xfrm>
            <a:custGeom>
              <a:avLst/>
              <a:gdLst>
                <a:gd name="T0" fmla="*/ 1 w 92"/>
                <a:gd name="T1" fmla="*/ 1 h 109"/>
                <a:gd name="T2" fmla="*/ 0 w 92"/>
                <a:gd name="T3" fmla="*/ 1 h 109"/>
                <a:gd name="T4" fmla="*/ 0 w 92"/>
                <a:gd name="T5" fmla="*/ 1 h 109"/>
                <a:gd name="T6" fmla="*/ 0 w 92"/>
                <a:gd name="T7" fmla="*/ 2 h 109"/>
                <a:gd name="T8" fmla="*/ 0 w 92"/>
                <a:gd name="T9" fmla="*/ 2 h 109"/>
                <a:gd name="T10" fmla="*/ 2 w 92"/>
                <a:gd name="T11" fmla="*/ 2 h 109"/>
                <a:gd name="T12" fmla="*/ 2 w 92"/>
                <a:gd name="T13" fmla="*/ 2 h 109"/>
                <a:gd name="T14" fmla="*/ 3 w 92"/>
                <a:gd name="T15" fmla="*/ 2 h 109"/>
                <a:gd name="T16" fmla="*/ 3 w 92"/>
                <a:gd name="T17" fmla="*/ 2 h 109"/>
                <a:gd name="T18" fmla="*/ 3 w 92"/>
                <a:gd name="T19" fmla="*/ 1 h 109"/>
                <a:gd name="T20" fmla="*/ 3 w 92"/>
                <a:gd name="T21" fmla="*/ 0 h 109"/>
                <a:gd name="T22" fmla="*/ 3 w 92"/>
                <a:gd name="T23" fmla="*/ 0 h 109"/>
                <a:gd name="T24" fmla="*/ 1 w 92"/>
                <a:gd name="T25" fmla="*/ 0 h 109"/>
                <a:gd name="T26" fmla="*/ 1 w 92"/>
                <a:gd name="T27" fmla="*/ 1 h 109"/>
                <a:gd name="T28" fmla="*/ 1 w 92"/>
                <a:gd name="T29" fmla="*/ 1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2" h="109">
                  <a:moveTo>
                    <a:pt x="30" y="46"/>
                  </a:moveTo>
                  <a:lnTo>
                    <a:pt x="15" y="62"/>
                  </a:lnTo>
                  <a:lnTo>
                    <a:pt x="0" y="62"/>
                  </a:lnTo>
                  <a:lnTo>
                    <a:pt x="0" y="93"/>
                  </a:lnTo>
                  <a:lnTo>
                    <a:pt x="15" y="108"/>
                  </a:lnTo>
                  <a:lnTo>
                    <a:pt x="46" y="108"/>
                  </a:lnTo>
                  <a:lnTo>
                    <a:pt x="61" y="77"/>
                  </a:lnTo>
                  <a:lnTo>
                    <a:pt x="76" y="77"/>
                  </a:lnTo>
                  <a:lnTo>
                    <a:pt x="91" y="77"/>
                  </a:lnTo>
                  <a:lnTo>
                    <a:pt x="91" y="62"/>
                  </a:lnTo>
                  <a:lnTo>
                    <a:pt x="91" y="15"/>
                  </a:lnTo>
                  <a:lnTo>
                    <a:pt x="76" y="0"/>
                  </a:lnTo>
                  <a:lnTo>
                    <a:pt x="30" y="15"/>
                  </a:lnTo>
                  <a:lnTo>
                    <a:pt x="30" y="31"/>
                  </a:lnTo>
                  <a:lnTo>
                    <a:pt x="30"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3" name="Freeform 478"/>
            <p:cNvSpPr>
              <a:spLocks/>
            </p:cNvSpPr>
            <p:nvPr/>
          </p:nvSpPr>
          <p:spPr bwMode="auto">
            <a:xfrm>
              <a:off x="7117" y="1150"/>
              <a:ext cx="78" cy="146"/>
            </a:xfrm>
            <a:custGeom>
              <a:avLst/>
              <a:gdLst>
                <a:gd name="T0" fmla="*/ 0 w 179"/>
                <a:gd name="T1" fmla="*/ 6 h 384"/>
                <a:gd name="T2" fmla="*/ 0 w 179"/>
                <a:gd name="T3" fmla="*/ 6 h 384"/>
                <a:gd name="T4" fmla="*/ 1 w 179"/>
                <a:gd name="T5" fmla="*/ 8 h 384"/>
                <a:gd name="T6" fmla="*/ 2 w 179"/>
                <a:gd name="T7" fmla="*/ 8 h 384"/>
                <a:gd name="T8" fmla="*/ 2 w 179"/>
                <a:gd name="T9" fmla="*/ 7 h 384"/>
                <a:gd name="T10" fmla="*/ 3 w 179"/>
                <a:gd name="T11" fmla="*/ 7 h 384"/>
                <a:gd name="T12" fmla="*/ 3 w 179"/>
                <a:gd name="T13" fmla="*/ 6 h 384"/>
                <a:gd name="T14" fmla="*/ 3 w 179"/>
                <a:gd name="T15" fmla="*/ 6 h 384"/>
                <a:gd name="T16" fmla="*/ 4 w 179"/>
                <a:gd name="T17" fmla="*/ 6 h 384"/>
                <a:gd name="T18" fmla="*/ 4 w 179"/>
                <a:gd name="T19" fmla="*/ 5 h 384"/>
                <a:gd name="T20" fmla="*/ 3 w 179"/>
                <a:gd name="T21" fmla="*/ 5 h 384"/>
                <a:gd name="T22" fmla="*/ 3 w 179"/>
                <a:gd name="T23" fmla="*/ 4 h 384"/>
                <a:gd name="T24" fmla="*/ 3 w 179"/>
                <a:gd name="T25" fmla="*/ 3 h 384"/>
                <a:gd name="T26" fmla="*/ 4 w 179"/>
                <a:gd name="T27" fmla="*/ 3 h 384"/>
                <a:gd name="T28" fmla="*/ 5 w 179"/>
                <a:gd name="T29" fmla="*/ 3 h 384"/>
                <a:gd name="T30" fmla="*/ 5 w 179"/>
                <a:gd name="T31" fmla="*/ 2 h 384"/>
                <a:gd name="T32" fmla="*/ 7 w 179"/>
                <a:gd name="T33" fmla="*/ 2 h 384"/>
                <a:gd name="T34" fmla="*/ 6 w 179"/>
                <a:gd name="T35" fmla="*/ 1 h 384"/>
                <a:gd name="T36" fmla="*/ 5 w 179"/>
                <a:gd name="T37" fmla="*/ 0 h 384"/>
                <a:gd name="T38" fmla="*/ 5 w 179"/>
                <a:gd name="T39" fmla="*/ 0 h 384"/>
                <a:gd name="T40" fmla="*/ 4 w 179"/>
                <a:gd name="T41" fmla="*/ 0 h 384"/>
                <a:gd name="T42" fmla="*/ 4 w 179"/>
                <a:gd name="T43" fmla="*/ 0 h 384"/>
                <a:gd name="T44" fmla="*/ 3 w 179"/>
                <a:gd name="T45" fmla="*/ 0 h 384"/>
                <a:gd name="T46" fmla="*/ 2 w 179"/>
                <a:gd name="T47" fmla="*/ 2 h 384"/>
                <a:gd name="T48" fmla="*/ 0 w 179"/>
                <a:gd name="T49" fmla="*/ 3 h 384"/>
                <a:gd name="T50" fmla="*/ 0 w 179"/>
                <a:gd name="T51" fmla="*/ 5 h 384"/>
                <a:gd name="T52" fmla="*/ 0 w 179"/>
                <a:gd name="T53" fmla="*/ 6 h 3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79" h="384">
                  <a:moveTo>
                    <a:pt x="0" y="276"/>
                  </a:moveTo>
                  <a:lnTo>
                    <a:pt x="0" y="291"/>
                  </a:lnTo>
                  <a:lnTo>
                    <a:pt x="30" y="368"/>
                  </a:lnTo>
                  <a:lnTo>
                    <a:pt x="45" y="383"/>
                  </a:lnTo>
                  <a:lnTo>
                    <a:pt x="59" y="352"/>
                  </a:lnTo>
                  <a:lnTo>
                    <a:pt x="74" y="352"/>
                  </a:lnTo>
                  <a:lnTo>
                    <a:pt x="89" y="322"/>
                  </a:lnTo>
                  <a:lnTo>
                    <a:pt x="89" y="276"/>
                  </a:lnTo>
                  <a:lnTo>
                    <a:pt x="104" y="276"/>
                  </a:lnTo>
                  <a:lnTo>
                    <a:pt x="104" y="260"/>
                  </a:lnTo>
                  <a:lnTo>
                    <a:pt x="89" y="245"/>
                  </a:lnTo>
                  <a:lnTo>
                    <a:pt x="74" y="199"/>
                  </a:lnTo>
                  <a:lnTo>
                    <a:pt x="89" y="169"/>
                  </a:lnTo>
                  <a:lnTo>
                    <a:pt x="119" y="153"/>
                  </a:lnTo>
                  <a:lnTo>
                    <a:pt x="134" y="123"/>
                  </a:lnTo>
                  <a:lnTo>
                    <a:pt x="134" y="92"/>
                  </a:lnTo>
                  <a:lnTo>
                    <a:pt x="178" y="92"/>
                  </a:lnTo>
                  <a:lnTo>
                    <a:pt x="163" y="61"/>
                  </a:lnTo>
                  <a:lnTo>
                    <a:pt x="148" y="15"/>
                  </a:lnTo>
                  <a:lnTo>
                    <a:pt x="134" y="15"/>
                  </a:lnTo>
                  <a:lnTo>
                    <a:pt x="119" y="0"/>
                  </a:lnTo>
                  <a:lnTo>
                    <a:pt x="104" y="15"/>
                  </a:lnTo>
                  <a:lnTo>
                    <a:pt x="89" y="15"/>
                  </a:lnTo>
                  <a:lnTo>
                    <a:pt x="45" y="92"/>
                  </a:lnTo>
                  <a:lnTo>
                    <a:pt x="0" y="169"/>
                  </a:lnTo>
                  <a:lnTo>
                    <a:pt x="15" y="230"/>
                  </a:lnTo>
                  <a:lnTo>
                    <a:pt x="0" y="27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4" name="Freeform 479"/>
            <p:cNvSpPr>
              <a:spLocks/>
            </p:cNvSpPr>
            <p:nvPr/>
          </p:nvSpPr>
          <p:spPr bwMode="auto">
            <a:xfrm>
              <a:off x="7168" y="1133"/>
              <a:ext cx="72" cy="116"/>
            </a:xfrm>
            <a:custGeom>
              <a:avLst/>
              <a:gdLst>
                <a:gd name="T0" fmla="*/ 2 w 165"/>
                <a:gd name="T1" fmla="*/ 3 h 307"/>
                <a:gd name="T2" fmla="*/ 3 w 165"/>
                <a:gd name="T3" fmla="*/ 3 h 307"/>
                <a:gd name="T4" fmla="*/ 3 w 165"/>
                <a:gd name="T5" fmla="*/ 3 h 307"/>
                <a:gd name="T6" fmla="*/ 0 w 165"/>
                <a:gd name="T7" fmla="*/ 5 h 307"/>
                <a:gd name="T8" fmla="*/ 1 w 165"/>
                <a:gd name="T9" fmla="*/ 6 h 307"/>
                <a:gd name="T10" fmla="*/ 2 w 165"/>
                <a:gd name="T11" fmla="*/ 6 h 307"/>
                <a:gd name="T12" fmla="*/ 5 w 165"/>
                <a:gd name="T13" fmla="*/ 6 h 307"/>
                <a:gd name="T14" fmla="*/ 6 w 165"/>
                <a:gd name="T15" fmla="*/ 5 h 307"/>
                <a:gd name="T16" fmla="*/ 5 w 165"/>
                <a:gd name="T17" fmla="*/ 4 h 307"/>
                <a:gd name="T18" fmla="*/ 5 w 165"/>
                <a:gd name="T19" fmla="*/ 3 h 307"/>
                <a:gd name="T20" fmla="*/ 5 w 165"/>
                <a:gd name="T21" fmla="*/ 2 h 307"/>
                <a:gd name="T22" fmla="*/ 5 w 165"/>
                <a:gd name="T23" fmla="*/ 2 h 307"/>
                <a:gd name="T24" fmla="*/ 4 w 165"/>
                <a:gd name="T25" fmla="*/ 1 h 307"/>
                <a:gd name="T26" fmla="*/ 4 w 165"/>
                <a:gd name="T27" fmla="*/ 1 h 307"/>
                <a:gd name="T28" fmla="*/ 3 w 165"/>
                <a:gd name="T29" fmla="*/ 0 h 307"/>
                <a:gd name="T30" fmla="*/ 3 w 165"/>
                <a:gd name="T31" fmla="*/ 0 h 307"/>
                <a:gd name="T32" fmla="*/ 2 w 165"/>
                <a:gd name="T33" fmla="*/ 1 h 307"/>
                <a:gd name="T34" fmla="*/ 2 w 165"/>
                <a:gd name="T35" fmla="*/ 1 h 307"/>
                <a:gd name="T36" fmla="*/ 0 w 165"/>
                <a:gd name="T37" fmla="*/ 1 h 307"/>
                <a:gd name="T38" fmla="*/ 0 w 165"/>
                <a:gd name="T39" fmla="*/ 1 h 307"/>
                <a:gd name="T40" fmla="*/ 0 w 165"/>
                <a:gd name="T41" fmla="*/ 1 h 307"/>
                <a:gd name="T42" fmla="*/ 1 w 165"/>
                <a:gd name="T43" fmla="*/ 1 h 307"/>
                <a:gd name="T44" fmla="*/ 2 w 165"/>
                <a:gd name="T45" fmla="*/ 2 h 307"/>
                <a:gd name="T46" fmla="*/ 2 w 165"/>
                <a:gd name="T47" fmla="*/ 3 h 3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65" h="307">
                  <a:moveTo>
                    <a:pt x="60" y="138"/>
                  </a:moveTo>
                  <a:lnTo>
                    <a:pt x="75" y="138"/>
                  </a:lnTo>
                  <a:lnTo>
                    <a:pt x="75" y="153"/>
                  </a:lnTo>
                  <a:lnTo>
                    <a:pt x="15" y="230"/>
                  </a:lnTo>
                  <a:lnTo>
                    <a:pt x="30" y="275"/>
                  </a:lnTo>
                  <a:lnTo>
                    <a:pt x="60" y="306"/>
                  </a:lnTo>
                  <a:lnTo>
                    <a:pt x="134" y="275"/>
                  </a:lnTo>
                  <a:lnTo>
                    <a:pt x="164" y="214"/>
                  </a:lnTo>
                  <a:lnTo>
                    <a:pt x="149" y="184"/>
                  </a:lnTo>
                  <a:lnTo>
                    <a:pt x="134" y="138"/>
                  </a:lnTo>
                  <a:lnTo>
                    <a:pt x="149" y="122"/>
                  </a:lnTo>
                  <a:lnTo>
                    <a:pt x="134" y="77"/>
                  </a:lnTo>
                  <a:lnTo>
                    <a:pt x="119" y="61"/>
                  </a:lnTo>
                  <a:lnTo>
                    <a:pt x="119" y="31"/>
                  </a:lnTo>
                  <a:lnTo>
                    <a:pt x="89" y="0"/>
                  </a:lnTo>
                  <a:lnTo>
                    <a:pt x="75" y="15"/>
                  </a:lnTo>
                  <a:lnTo>
                    <a:pt x="60" y="46"/>
                  </a:lnTo>
                  <a:lnTo>
                    <a:pt x="45" y="46"/>
                  </a:lnTo>
                  <a:lnTo>
                    <a:pt x="0" y="31"/>
                  </a:lnTo>
                  <a:lnTo>
                    <a:pt x="0" y="46"/>
                  </a:lnTo>
                  <a:lnTo>
                    <a:pt x="15" y="61"/>
                  </a:lnTo>
                  <a:lnTo>
                    <a:pt x="30" y="61"/>
                  </a:lnTo>
                  <a:lnTo>
                    <a:pt x="45" y="107"/>
                  </a:lnTo>
                  <a:lnTo>
                    <a:pt x="60" y="138"/>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5" name="Freeform 480"/>
            <p:cNvSpPr>
              <a:spLocks/>
            </p:cNvSpPr>
            <p:nvPr/>
          </p:nvSpPr>
          <p:spPr bwMode="auto">
            <a:xfrm>
              <a:off x="6707" y="947"/>
              <a:ext cx="302" cy="302"/>
            </a:xfrm>
            <a:custGeom>
              <a:avLst/>
              <a:gdLst>
                <a:gd name="T0" fmla="*/ 3 w 702"/>
                <a:gd name="T1" fmla="*/ 15 h 799"/>
                <a:gd name="T2" fmla="*/ 2 w 702"/>
                <a:gd name="T3" fmla="*/ 14 h 799"/>
                <a:gd name="T4" fmla="*/ 2 w 702"/>
                <a:gd name="T5" fmla="*/ 14 h 799"/>
                <a:gd name="T6" fmla="*/ 0 w 702"/>
                <a:gd name="T7" fmla="*/ 12 h 799"/>
                <a:gd name="T8" fmla="*/ 2 w 702"/>
                <a:gd name="T9" fmla="*/ 10 h 799"/>
                <a:gd name="T10" fmla="*/ 1 w 702"/>
                <a:gd name="T11" fmla="*/ 10 h 799"/>
                <a:gd name="T12" fmla="*/ 2 w 702"/>
                <a:gd name="T13" fmla="*/ 9 h 799"/>
                <a:gd name="T14" fmla="*/ 3 w 702"/>
                <a:gd name="T15" fmla="*/ 8 h 799"/>
                <a:gd name="T16" fmla="*/ 3 w 702"/>
                <a:gd name="T17" fmla="*/ 8 h 799"/>
                <a:gd name="T18" fmla="*/ 3 w 702"/>
                <a:gd name="T19" fmla="*/ 7 h 799"/>
                <a:gd name="T20" fmla="*/ 3 w 702"/>
                <a:gd name="T21" fmla="*/ 6 h 799"/>
                <a:gd name="T22" fmla="*/ 0 w 702"/>
                <a:gd name="T23" fmla="*/ 5 h 799"/>
                <a:gd name="T24" fmla="*/ 0 w 702"/>
                <a:gd name="T25" fmla="*/ 5 h 799"/>
                <a:gd name="T26" fmla="*/ 2 w 702"/>
                <a:gd name="T27" fmla="*/ 5 h 799"/>
                <a:gd name="T28" fmla="*/ 0 w 702"/>
                <a:gd name="T29" fmla="*/ 4 h 799"/>
                <a:gd name="T30" fmla="*/ 5 w 702"/>
                <a:gd name="T31" fmla="*/ 2 h 799"/>
                <a:gd name="T32" fmla="*/ 8 w 702"/>
                <a:gd name="T33" fmla="*/ 0 h 799"/>
                <a:gd name="T34" fmla="*/ 21 w 702"/>
                <a:gd name="T35" fmla="*/ 0 h 799"/>
                <a:gd name="T36" fmla="*/ 16 w 702"/>
                <a:gd name="T37" fmla="*/ 2 h 799"/>
                <a:gd name="T38" fmla="*/ 17 w 702"/>
                <a:gd name="T39" fmla="*/ 2 h 799"/>
                <a:gd name="T40" fmla="*/ 22 w 702"/>
                <a:gd name="T41" fmla="*/ 2 h 799"/>
                <a:gd name="T42" fmla="*/ 23 w 702"/>
                <a:gd name="T43" fmla="*/ 3 h 799"/>
                <a:gd name="T44" fmla="*/ 22 w 702"/>
                <a:gd name="T45" fmla="*/ 3 h 799"/>
                <a:gd name="T46" fmla="*/ 19 w 702"/>
                <a:gd name="T47" fmla="*/ 5 h 799"/>
                <a:gd name="T48" fmla="*/ 20 w 702"/>
                <a:gd name="T49" fmla="*/ 5 h 799"/>
                <a:gd name="T50" fmla="*/ 18 w 702"/>
                <a:gd name="T51" fmla="*/ 6 h 799"/>
                <a:gd name="T52" fmla="*/ 20 w 702"/>
                <a:gd name="T53" fmla="*/ 7 h 799"/>
                <a:gd name="T54" fmla="*/ 15 w 702"/>
                <a:gd name="T55" fmla="*/ 9 h 799"/>
                <a:gd name="T56" fmla="*/ 16 w 702"/>
                <a:gd name="T57" fmla="*/ 10 h 799"/>
                <a:gd name="T58" fmla="*/ 18 w 702"/>
                <a:gd name="T59" fmla="*/ 11 h 799"/>
                <a:gd name="T60" fmla="*/ 13 w 702"/>
                <a:gd name="T61" fmla="*/ 11 h 799"/>
                <a:gd name="T62" fmla="*/ 12 w 702"/>
                <a:gd name="T63" fmla="*/ 12 h 799"/>
                <a:gd name="T64" fmla="*/ 8 w 702"/>
                <a:gd name="T65" fmla="*/ 14 h 799"/>
                <a:gd name="T66" fmla="*/ 6 w 702"/>
                <a:gd name="T67" fmla="*/ 16 h 799"/>
                <a:gd name="T68" fmla="*/ 5 w 702"/>
                <a:gd name="T69" fmla="*/ 16 h 799"/>
                <a:gd name="T70" fmla="*/ 3 w 702"/>
                <a:gd name="T71" fmla="*/ 16 h 7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02" h="799">
                  <a:moveTo>
                    <a:pt x="89" y="767"/>
                  </a:moveTo>
                  <a:lnTo>
                    <a:pt x="75" y="737"/>
                  </a:lnTo>
                  <a:lnTo>
                    <a:pt x="60" y="737"/>
                  </a:lnTo>
                  <a:lnTo>
                    <a:pt x="60" y="706"/>
                  </a:lnTo>
                  <a:lnTo>
                    <a:pt x="75" y="691"/>
                  </a:lnTo>
                  <a:lnTo>
                    <a:pt x="60" y="660"/>
                  </a:lnTo>
                  <a:lnTo>
                    <a:pt x="45" y="660"/>
                  </a:lnTo>
                  <a:lnTo>
                    <a:pt x="15" y="614"/>
                  </a:lnTo>
                  <a:lnTo>
                    <a:pt x="45" y="506"/>
                  </a:lnTo>
                  <a:lnTo>
                    <a:pt x="60" y="506"/>
                  </a:lnTo>
                  <a:lnTo>
                    <a:pt x="75" y="476"/>
                  </a:lnTo>
                  <a:lnTo>
                    <a:pt x="45" y="491"/>
                  </a:lnTo>
                  <a:lnTo>
                    <a:pt x="30" y="460"/>
                  </a:lnTo>
                  <a:lnTo>
                    <a:pt x="60" y="430"/>
                  </a:lnTo>
                  <a:lnTo>
                    <a:pt x="89" y="445"/>
                  </a:lnTo>
                  <a:lnTo>
                    <a:pt x="75" y="399"/>
                  </a:lnTo>
                  <a:lnTo>
                    <a:pt x="89" y="399"/>
                  </a:lnTo>
                  <a:lnTo>
                    <a:pt x="75" y="384"/>
                  </a:lnTo>
                  <a:lnTo>
                    <a:pt x="104" y="384"/>
                  </a:lnTo>
                  <a:lnTo>
                    <a:pt x="75" y="353"/>
                  </a:lnTo>
                  <a:lnTo>
                    <a:pt x="89" y="307"/>
                  </a:lnTo>
                  <a:lnTo>
                    <a:pt x="75" y="276"/>
                  </a:lnTo>
                  <a:lnTo>
                    <a:pt x="45" y="276"/>
                  </a:lnTo>
                  <a:lnTo>
                    <a:pt x="15" y="261"/>
                  </a:lnTo>
                  <a:lnTo>
                    <a:pt x="15" y="246"/>
                  </a:lnTo>
                  <a:lnTo>
                    <a:pt x="0" y="246"/>
                  </a:lnTo>
                  <a:lnTo>
                    <a:pt x="60" y="230"/>
                  </a:lnTo>
                  <a:lnTo>
                    <a:pt x="60" y="215"/>
                  </a:lnTo>
                  <a:lnTo>
                    <a:pt x="15" y="215"/>
                  </a:lnTo>
                  <a:lnTo>
                    <a:pt x="0" y="184"/>
                  </a:lnTo>
                  <a:lnTo>
                    <a:pt x="60" y="169"/>
                  </a:lnTo>
                  <a:lnTo>
                    <a:pt x="134" y="107"/>
                  </a:lnTo>
                  <a:lnTo>
                    <a:pt x="164" y="123"/>
                  </a:lnTo>
                  <a:lnTo>
                    <a:pt x="239" y="0"/>
                  </a:lnTo>
                  <a:lnTo>
                    <a:pt x="373" y="0"/>
                  </a:lnTo>
                  <a:lnTo>
                    <a:pt x="612" y="15"/>
                  </a:lnTo>
                  <a:lnTo>
                    <a:pt x="612" y="46"/>
                  </a:lnTo>
                  <a:lnTo>
                    <a:pt x="477" y="77"/>
                  </a:lnTo>
                  <a:lnTo>
                    <a:pt x="567" y="107"/>
                  </a:lnTo>
                  <a:lnTo>
                    <a:pt x="507" y="123"/>
                  </a:lnTo>
                  <a:lnTo>
                    <a:pt x="537" y="153"/>
                  </a:lnTo>
                  <a:lnTo>
                    <a:pt x="641" y="92"/>
                  </a:lnTo>
                  <a:lnTo>
                    <a:pt x="701" y="138"/>
                  </a:lnTo>
                  <a:lnTo>
                    <a:pt x="671" y="169"/>
                  </a:lnTo>
                  <a:lnTo>
                    <a:pt x="641" y="138"/>
                  </a:lnTo>
                  <a:lnTo>
                    <a:pt x="626" y="169"/>
                  </a:lnTo>
                  <a:lnTo>
                    <a:pt x="641" y="184"/>
                  </a:lnTo>
                  <a:lnTo>
                    <a:pt x="552" y="215"/>
                  </a:lnTo>
                  <a:lnTo>
                    <a:pt x="537" y="246"/>
                  </a:lnTo>
                  <a:lnTo>
                    <a:pt x="582" y="246"/>
                  </a:lnTo>
                  <a:lnTo>
                    <a:pt x="597" y="307"/>
                  </a:lnTo>
                  <a:lnTo>
                    <a:pt x="537" y="292"/>
                  </a:lnTo>
                  <a:lnTo>
                    <a:pt x="522" y="368"/>
                  </a:lnTo>
                  <a:lnTo>
                    <a:pt x="582" y="338"/>
                  </a:lnTo>
                  <a:lnTo>
                    <a:pt x="552" y="430"/>
                  </a:lnTo>
                  <a:lnTo>
                    <a:pt x="447" y="445"/>
                  </a:lnTo>
                  <a:lnTo>
                    <a:pt x="447" y="476"/>
                  </a:lnTo>
                  <a:lnTo>
                    <a:pt x="477" y="476"/>
                  </a:lnTo>
                  <a:lnTo>
                    <a:pt x="552" y="506"/>
                  </a:lnTo>
                  <a:lnTo>
                    <a:pt x="537" y="552"/>
                  </a:lnTo>
                  <a:lnTo>
                    <a:pt x="403" y="506"/>
                  </a:lnTo>
                  <a:lnTo>
                    <a:pt x="388" y="552"/>
                  </a:lnTo>
                  <a:lnTo>
                    <a:pt x="477" y="568"/>
                  </a:lnTo>
                  <a:lnTo>
                    <a:pt x="343" y="614"/>
                  </a:lnTo>
                  <a:lnTo>
                    <a:pt x="298" y="599"/>
                  </a:lnTo>
                  <a:lnTo>
                    <a:pt x="239" y="660"/>
                  </a:lnTo>
                  <a:lnTo>
                    <a:pt x="194" y="721"/>
                  </a:lnTo>
                  <a:lnTo>
                    <a:pt x="179" y="798"/>
                  </a:lnTo>
                  <a:lnTo>
                    <a:pt x="164" y="798"/>
                  </a:lnTo>
                  <a:lnTo>
                    <a:pt x="149" y="798"/>
                  </a:lnTo>
                  <a:lnTo>
                    <a:pt x="119" y="767"/>
                  </a:lnTo>
                  <a:lnTo>
                    <a:pt x="89" y="76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6" name="Freeform 481"/>
            <p:cNvSpPr>
              <a:spLocks/>
            </p:cNvSpPr>
            <p:nvPr/>
          </p:nvSpPr>
          <p:spPr bwMode="auto">
            <a:xfrm>
              <a:off x="7099" y="1278"/>
              <a:ext cx="12" cy="23"/>
            </a:xfrm>
            <a:custGeom>
              <a:avLst/>
              <a:gdLst>
                <a:gd name="T0" fmla="*/ 0 w 30"/>
                <a:gd name="T1" fmla="*/ 1 h 63"/>
                <a:gd name="T2" fmla="*/ 0 w 30"/>
                <a:gd name="T3" fmla="*/ 0 h 63"/>
                <a:gd name="T4" fmla="*/ 0 w 30"/>
                <a:gd name="T5" fmla="*/ 0 h 63"/>
                <a:gd name="T6" fmla="*/ 1 w 30"/>
                <a:gd name="T7" fmla="*/ 0 h 63"/>
                <a:gd name="T8" fmla="*/ 1 w 30"/>
                <a:gd name="T9" fmla="*/ 0 h 63"/>
                <a:gd name="T10" fmla="*/ 1 w 30"/>
                <a:gd name="T11" fmla="*/ 0 h 63"/>
                <a:gd name="T12" fmla="*/ 1 w 30"/>
                <a:gd name="T13" fmla="*/ 1 h 63"/>
                <a:gd name="T14" fmla="*/ 0 w 30"/>
                <a:gd name="T15" fmla="*/ 1 h 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63">
                  <a:moveTo>
                    <a:pt x="15" y="62"/>
                  </a:moveTo>
                  <a:lnTo>
                    <a:pt x="0" y="31"/>
                  </a:lnTo>
                  <a:lnTo>
                    <a:pt x="0" y="16"/>
                  </a:lnTo>
                  <a:lnTo>
                    <a:pt x="29" y="0"/>
                  </a:lnTo>
                  <a:lnTo>
                    <a:pt x="29" y="16"/>
                  </a:lnTo>
                  <a:lnTo>
                    <a:pt x="29" y="31"/>
                  </a:lnTo>
                  <a:lnTo>
                    <a:pt x="29" y="62"/>
                  </a:lnTo>
                  <a:lnTo>
                    <a:pt x="15" y="6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7" name="Freeform 482"/>
            <p:cNvSpPr>
              <a:spLocks/>
            </p:cNvSpPr>
            <p:nvPr/>
          </p:nvSpPr>
          <p:spPr bwMode="auto">
            <a:xfrm>
              <a:off x="7099" y="1272"/>
              <a:ext cx="12" cy="7"/>
            </a:xfrm>
            <a:custGeom>
              <a:avLst/>
              <a:gdLst>
                <a:gd name="T0" fmla="*/ 0 w 30"/>
                <a:gd name="T1" fmla="*/ 0 h 17"/>
                <a:gd name="T2" fmla="*/ 1 w 30"/>
                <a:gd name="T3" fmla="*/ 0 h 17"/>
                <a:gd name="T4" fmla="*/ 1 w 30"/>
                <a:gd name="T5" fmla="*/ 0 h 17"/>
                <a:gd name="T6" fmla="*/ 0 w 30"/>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17">
                  <a:moveTo>
                    <a:pt x="0" y="16"/>
                  </a:moveTo>
                  <a:lnTo>
                    <a:pt x="29" y="0"/>
                  </a:lnTo>
                  <a:lnTo>
                    <a:pt x="29" y="16"/>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8" name="Freeform 483"/>
            <p:cNvSpPr>
              <a:spLocks/>
            </p:cNvSpPr>
            <p:nvPr/>
          </p:nvSpPr>
          <p:spPr bwMode="auto">
            <a:xfrm>
              <a:off x="7124" y="1284"/>
              <a:ext cx="1" cy="12"/>
            </a:xfrm>
            <a:custGeom>
              <a:avLst/>
              <a:gdLst>
                <a:gd name="T0" fmla="*/ 0 w 1"/>
                <a:gd name="T1" fmla="*/ 0 h 31"/>
                <a:gd name="T2" fmla="*/ 0 w 1"/>
                <a:gd name="T3" fmla="*/ 0 h 31"/>
                <a:gd name="T4" fmla="*/ 0 w 1"/>
                <a:gd name="T5" fmla="*/ 1 h 31"/>
                <a:gd name="T6" fmla="*/ 0 w 1"/>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31">
                  <a:moveTo>
                    <a:pt x="0" y="0"/>
                  </a:moveTo>
                  <a:lnTo>
                    <a:pt x="0" y="15"/>
                  </a:lnTo>
                  <a:lnTo>
                    <a:pt x="0" y="3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59" name="Freeform 484"/>
            <p:cNvSpPr>
              <a:spLocks/>
            </p:cNvSpPr>
            <p:nvPr/>
          </p:nvSpPr>
          <p:spPr bwMode="auto">
            <a:xfrm>
              <a:off x="7111" y="1290"/>
              <a:ext cx="7"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0"/>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0" name="Freeform 485"/>
            <p:cNvSpPr>
              <a:spLocks/>
            </p:cNvSpPr>
            <p:nvPr/>
          </p:nvSpPr>
          <p:spPr bwMode="auto">
            <a:xfrm>
              <a:off x="7072" y="1121"/>
              <a:ext cx="148" cy="146"/>
            </a:xfrm>
            <a:custGeom>
              <a:avLst/>
              <a:gdLst>
                <a:gd name="T0" fmla="*/ 3 w 344"/>
                <a:gd name="T1" fmla="*/ 7 h 385"/>
                <a:gd name="T2" fmla="*/ 3 w 344"/>
                <a:gd name="T3" fmla="*/ 7 h 385"/>
                <a:gd name="T4" fmla="*/ 2 w 344"/>
                <a:gd name="T5" fmla="*/ 8 h 385"/>
                <a:gd name="T6" fmla="*/ 1 w 344"/>
                <a:gd name="T7" fmla="*/ 8 h 385"/>
                <a:gd name="T8" fmla="*/ 0 w 344"/>
                <a:gd name="T9" fmla="*/ 8 h 385"/>
                <a:gd name="T10" fmla="*/ 0 w 344"/>
                <a:gd name="T11" fmla="*/ 6 h 385"/>
                <a:gd name="T12" fmla="*/ 1 w 344"/>
                <a:gd name="T13" fmla="*/ 5 h 385"/>
                <a:gd name="T14" fmla="*/ 1 w 344"/>
                <a:gd name="T15" fmla="*/ 5 h 385"/>
                <a:gd name="T16" fmla="*/ 3 w 344"/>
                <a:gd name="T17" fmla="*/ 5 h 385"/>
                <a:gd name="T18" fmla="*/ 6 w 344"/>
                <a:gd name="T19" fmla="*/ 2 h 385"/>
                <a:gd name="T20" fmla="*/ 6 w 344"/>
                <a:gd name="T21" fmla="*/ 1 h 385"/>
                <a:gd name="T22" fmla="*/ 6 w 344"/>
                <a:gd name="T23" fmla="*/ 1 h 385"/>
                <a:gd name="T24" fmla="*/ 8 w 344"/>
                <a:gd name="T25" fmla="*/ 1 h 385"/>
                <a:gd name="T26" fmla="*/ 9 w 344"/>
                <a:gd name="T27" fmla="*/ 0 h 385"/>
                <a:gd name="T28" fmla="*/ 10 w 344"/>
                <a:gd name="T29" fmla="*/ 0 h 385"/>
                <a:gd name="T30" fmla="*/ 11 w 344"/>
                <a:gd name="T31" fmla="*/ 0 h 385"/>
                <a:gd name="T32" fmla="*/ 12 w 344"/>
                <a:gd name="T33" fmla="*/ 1 h 385"/>
                <a:gd name="T34" fmla="*/ 12 w 344"/>
                <a:gd name="T35" fmla="*/ 1 h 385"/>
                <a:gd name="T36" fmla="*/ 12 w 344"/>
                <a:gd name="T37" fmla="*/ 1 h 385"/>
                <a:gd name="T38" fmla="*/ 11 w 344"/>
                <a:gd name="T39" fmla="*/ 1 h 385"/>
                <a:gd name="T40" fmla="*/ 10 w 344"/>
                <a:gd name="T41" fmla="*/ 1 h 385"/>
                <a:gd name="T42" fmla="*/ 9 w 344"/>
                <a:gd name="T43" fmla="*/ 2 h 385"/>
                <a:gd name="T44" fmla="*/ 9 w 344"/>
                <a:gd name="T45" fmla="*/ 2 h 385"/>
                <a:gd name="T46" fmla="*/ 8 w 344"/>
                <a:gd name="T47" fmla="*/ 1 h 385"/>
                <a:gd name="T48" fmla="*/ 8 w 344"/>
                <a:gd name="T49" fmla="*/ 2 h 385"/>
                <a:gd name="T50" fmla="*/ 7 w 344"/>
                <a:gd name="T51" fmla="*/ 2 h 385"/>
                <a:gd name="T52" fmla="*/ 6 w 344"/>
                <a:gd name="T53" fmla="*/ 2 h 385"/>
                <a:gd name="T54" fmla="*/ 5 w 344"/>
                <a:gd name="T55" fmla="*/ 3 h 385"/>
                <a:gd name="T56" fmla="*/ 3 w 344"/>
                <a:gd name="T57" fmla="*/ 5 h 385"/>
                <a:gd name="T58" fmla="*/ 4 w 344"/>
                <a:gd name="T59" fmla="*/ 6 h 385"/>
                <a:gd name="T60" fmla="*/ 3 w 344"/>
                <a:gd name="T61" fmla="*/ 7 h 3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44" h="385">
                  <a:moveTo>
                    <a:pt x="104" y="353"/>
                  </a:moveTo>
                  <a:lnTo>
                    <a:pt x="89" y="353"/>
                  </a:lnTo>
                  <a:lnTo>
                    <a:pt x="60" y="384"/>
                  </a:lnTo>
                  <a:lnTo>
                    <a:pt x="45" y="384"/>
                  </a:lnTo>
                  <a:lnTo>
                    <a:pt x="15" y="369"/>
                  </a:lnTo>
                  <a:lnTo>
                    <a:pt x="0" y="276"/>
                  </a:lnTo>
                  <a:lnTo>
                    <a:pt x="30" y="261"/>
                  </a:lnTo>
                  <a:lnTo>
                    <a:pt x="45" y="230"/>
                  </a:lnTo>
                  <a:lnTo>
                    <a:pt x="75" y="215"/>
                  </a:lnTo>
                  <a:lnTo>
                    <a:pt x="164" y="77"/>
                  </a:lnTo>
                  <a:lnTo>
                    <a:pt x="164" y="61"/>
                  </a:lnTo>
                  <a:lnTo>
                    <a:pt x="179" y="46"/>
                  </a:lnTo>
                  <a:lnTo>
                    <a:pt x="239" y="31"/>
                  </a:lnTo>
                  <a:lnTo>
                    <a:pt x="254" y="15"/>
                  </a:lnTo>
                  <a:lnTo>
                    <a:pt x="298" y="15"/>
                  </a:lnTo>
                  <a:lnTo>
                    <a:pt x="328" y="0"/>
                  </a:lnTo>
                  <a:lnTo>
                    <a:pt x="343" y="31"/>
                  </a:lnTo>
                  <a:lnTo>
                    <a:pt x="343" y="46"/>
                  </a:lnTo>
                  <a:lnTo>
                    <a:pt x="343" y="61"/>
                  </a:lnTo>
                  <a:lnTo>
                    <a:pt x="313" y="31"/>
                  </a:lnTo>
                  <a:lnTo>
                    <a:pt x="298" y="46"/>
                  </a:lnTo>
                  <a:lnTo>
                    <a:pt x="283" y="77"/>
                  </a:lnTo>
                  <a:lnTo>
                    <a:pt x="268" y="77"/>
                  </a:lnTo>
                  <a:lnTo>
                    <a:pt x="224" y="61"/>
                  </a:lnTo>
                  <a:lnTo>
                    <a:pt x="224" y="77"/>
                  </a:lnTo>
                  <a:lnTo>
                    <a:pt x="209" y="92"/>
                  </a:lnTo>
                  <a:lnTo>
                    <a:pt x="194" y="92"/>
                  </a:lnTo>
                  <a:lnTo>
                    <a:pt x="149" y="169"/>
                  </a:lnTo>
                  <a:lnTo>
                    <a:pt x="104" y="246"/>
                  </a:lnTo>
                  <a:lnTo>
                    <a:pt x="119" y="307"/>
                  </a:lnTo>
                  <a:lnTo>
                    <a:pt x="104" y="353"/>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1" name="Freeform 486"/>
            <p:cNvSpPr>
              <a:spLocks/>
            </p:cNvSpPr>
            <p:nvPr/>
          </p:nvSpPr>
          <p:spPr bwMode="auto">
            <a:xfrm>
              <a:off x="7085" y="1017"/>
              <a:ext cx="51" cy="53"/>
            </a:xfrm>
            <a:custGeom>
              <a:avLst/>
              <a:gdLst>
                <a:gd name="T0" fmla="*/ 3 w 120"/>
                <a:gd name="T1" fmla="*/ 0 h 140"/>
                <a:gd name="T2" fmla="*/ 4 w 120"/>
                <a:gd name="T3" fmla="*/ 1 h 140"/>
                <a:gd name="T4" fmla="*/ 3 w 120"/>
                <a:gd name="T5" fmla="*/ 2 h 140"/>
                <a:gd name="T6" fmla="*/ 3 w 120"/>
                <a:gd name="T7" fmla="*/ 3 h 140"/>
                <a:gd name="T8" fmla="*/ 1 w 120"/>
                <a:gd name="T9" fmla="*/ 3 h 140"/>
                <a:gd name="T10" fmla="*/ 2 w 120"/>
                <a:gd name="T11" fmla="*/ 2 h 140"/>
                <a:gd name="T12" fmla="*/ 2 w 120"/>
                <a:gd name="T13" fmla="*/ 1 h 140"/>
                <a:gd name="T14" fmla="*/ 1 w 120"/>
                <a:gd name="T15" fmla="*/ 2 h 140"/>
                <a:gd name="T16" fmla="*/ 0 w 120"/>
                <a:gd name="T17" fmla="*/ 2 h 140"/>
                <a:gd name="T18" fmla="*/ 0 w 120"/>
                <a:gd name="T19" fmla="*/ 1 h 140"/>
                <a:gd name="T20" fmla="*/ 0 w 120"/>
                <a:gd name="T21" fmla="*/ 1 h 140"/>
                <a:gd name="T22" fmla="*/ 2 w 120"/>
                <a:gd name="T23" fmla="*/ 1 h 140"/>
                <a:gd name="T24" fmla="*/ 3 w 120"/>
                <a:gd name="T25" fmla="*/ 0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0" h="140">
                  <a:moveTo>
                    <a:pt x="74" y="0"/>
                  </a:moveTo>
                  <a:lnTo>
                    <a:pt x="119" y="46"/>
                  </a:lnTo>
                  <a:lnTo>
                    <a:pt x="89" y="77"/>
                  </a:lnTo>
                  <a:lnTo>
                    <a:pt x="74" y="139"/>
                  </a:lnTo>
                  <a:lnTo>
                    <a:pt x="45" y="124"/>
                  </a:lnTo>
                  <a:lnTo>
                    <a:pt x="60" y="77"/>
                  </a:lnTo>
                  <a:lnTo>
                    <a:pt x="60" y="62"/>
                  </a:lnTo>
                  <a:lnTo>
                    <a:pt x="45" y="77"/>
                  </a:lnTo>
                  <a:lnTo>
                    <a:pt x="15" y="77"/>
                  </a:lnTo>
                  <a:lnTo>
                    <a:pt x="0" y="62"/>
                  </a:lnTo>
                  <a:lnTo>
                    <a:pt x="15" y="46"/>
                  </a:lnTo>
                  <a:lnTo>
                    <a:pt x="60" y="31"/>
                  </a:lnTo>
                  <a:lnTo>
                    <a:pt x="74"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2" name="Freeform 487"/>
            <p:cNvSpPr>
              <a:spLocks/>
            </p:cNvSpPr>
            <p:nvPr/>
          </p:nvSpPr>
          <p:spPr bwMode="auto">
            <a:xfrm>
              <a:off x="7124" y="1005"/>
              <a:ext cx="45" cy="24"/>
            </a:xfrm>
            <a:custGeom>
              <a:avLst/>
              <a:gdLst>
                <a:gd name="T0" fmla="*/ 0 w 104"/>
                <a:gd name="T1" fmla="*/ 0 h 62"/>
                <a:gd name="T2" fmla="*/ 0 w 104"/>
                <a:gd name="T3" fmla="*/ 1 h 62"/>
                <a:gd name="T4" fmla="*/ 1 w 104"/>
                <a:gd name="T5" fmla="*/ 1 h 62"/>
                <a:gd name="T6" fmla="*/ 3 w 104"/>
                <a:gd name="T7" fmla="*/ 1 h 62"/>
                <a:gd name="T8" fmla="*/ 3 w 104"/>
                <a:gd name="T9" fmla="*/ 0 h 62"/>
                <a:gd name="T10" fmla="*/ 3 w 104"/>
                <a:gd name="T11" fmla="*/ 0 h 62"/>
                <a:gd name="T12" fmla="*/ 0 w 104"/>
                <a:gd name="T13" fmla="*/ 0 h 6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4" h="62">
                  <a:moveTo>
                    <a:pt x="15" y="15"/>
                  </a:moveTo>
                  <a:lnTo>
                    <a:pt x="0" y="31"/>
                  </a:lnTo>
                  <a:lnTo>
                    <a:pt x="29" y="61"/>
                  </a:lnTo>
                  <a:lnTo>
                    <a:pt x="88" y="61"/>
                  </a:lnTo>
                  <a:lnTo>
                    <a:pt x="103" y="15"/>
                  </a:lnTo>
                  <a:lnTo>
                    <a:pt x="74" y="0"/>
                  </a:lnTo>
                  <a:lnTo>
                    <a:pt x="1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3" name="Freeform 488"/>
            <p:cNvSpPr>
              <a:spLocks/>
            </p:cNvSpPr>
            <p:nvPr/>
          </p:nvSpPr>
          <p:spPr bwMode="auto">
            <a:xfrm>
              <a:off x="7149" y="1033"/>
              <a:ext cx="8" cy="7"/>
            </a:xfrm>
            <a:custGeom>
              <a:avLst/>
              <a:gdLst>
                <a:gd name="T0" fmla="*/ 0 w 17"/>
                <a:gd name="T1" fmla="*/ 0 h 17"/>
                <a:gd name="T2" fmla="*/ 1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4" name="Freeform 489"/>
            <p:cNvSpPr>
              <a:spLocks/>
            </p:cNvSpPr>
            <p:nvPr/>
          </p:nvSpPr>
          <p:spPr bwMode="auto">
            <a:xfrm>
              <a:off x="6977" y="1459"/>
              <a:ext cx="159" cy="133"/>
            </a:xfrm>
            <a:custGeom>
              <a:avLst/>
              <a:gdLst>
                <a:gd name="T0" fmla="*/ 4 w 374"/>
                <a:gd name="T1" fmla="*/ 0 h 355"/>
                <a:gd name="T2" fmla="*/ 4 w 374"/>
                <a:gd name="T3" fmla="*/ 1 h 355"/>
                <a:gd name="T4" fmla="*/ 4 w 374"/>
                <a:gd name="T5" fmla="*/ 2 h 355"/>
                <a:gd name="T6" fmla="*/ 3 w 374"/>
                <a:gd name="T7" fmla="*/ 2 h 355"/>
                <a:gd name="T8" fmla="*/ 3 w 374"/>
                <a:gd name="T9" fmla="*/ 2 h 355"/>
                <a:gd name="T10" fmla="*/ 0 w 374"/>
                <a:gd name="T11" fmla="*/ 3 h 355"/>
                <a:gd name="T12" fmla="*/ 0 w 374"/>
                <a:gd name="T13" fmla="*/ 4 h 355"/>
                <a:gd name="T14" fmla="*/ 2 w 374"/>
                <a:gd name="T15" fmla="*/ 4 h 355"/>
                <a:gd name="T16" fmla="*/ 6 w 374"/>
                <a:gd name="T17" fmla="*/ 7 h 355"/>
                <a:gd name="T18" fmla="*/ 6 w 374"/>
                <a:gd name="T19" fmla="*/ 7 h 355"/>
                <a:gd name="T20" fmla="*/ 7 w 374"/>
                <a:gd name="T21" fmla="*/ 7 h 355"/>
                <a:gd name="T22" fmla="*/ 9 w 374"/>
                <a:gd name="T23" fmla="*/ 7 h 355"/>
                <a:gd name="T24" fmla="*/ 9 w 374"/>
                <a:gd name="T25" fmla="*/ 6 h 355"/>
                <a:gd name="T26" fmla="*/ 12 w 374"/>
                <a:gd name="T27" fmla="*/ 6 h 355"/>
                <a:gd name="T28" fmla="*/ 11 w 374"/>
                <a:gd name="T29" fmla="*/ 5 h 355"/>
                <a:gd name="T30" fmla="*/ 10 w 374"/>
                <a:gd name="T31" fmla="*/ 4 h 355"/>
                <a:gd name="T32" fmla="*/ 10 w 374"/>
                <a:gd name="T33" fmla="*/ 4 h 355"/>
                <a:gd name="T34" fmla="*/ 10 w 374"/>
                <a:gd name="T35" fmla="*/ 3 h 355"/>
                <a:gd name="T36" fmla="*/ 10 w 374"/>
                <a:gd name="T37" fmla="*/ 2 h 355"/>
                <a:gd name="T38" fmla="*/ 10 w 374"/>
                <a:gd name="T39" fmla="*/ 2 h 355"/>
                <a:gd name="T40" fmla="*/ 9 w 374"/>
                <a:gd name="T41" fmla="*/ 1 h 355"/>
                <a:gd name="T42" fmla="*/ 9 w 374"/>
                <a:gd name="T43" fmla="*/ 1 h 355"/>
                <a:gd name="T44" fmla="*/ 10 w 374"/>
                <a:gd name="T45" fmla="*/ 0 h 355"/>
                <a:gd name="T46" fmla="*/ 10 w 374"/>
                <a:gd name="T47" fmla="*/ 0 h 355"/>
                <a:gd name="T48" fmla="*/ 8 w 374"/>
                <a:gd name="T49" fmla="*/ 0 h 355"/>
                <a:gd name="T50" fmla="*/ 8 w 374"/>
                <a:gd name="T51" fmla="*/ 0 h 355"/>
                <a:gd name="T52" fmla="*/ 4 w 374"/>
                <a:gd name="T53" fmla="*/ 0 h 3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74" h="355">
                  <a:moveTo>
                    <a:pt x="119" y="31"/>
                  </a:moveTo>
                  <a:lnTo>
                    <a:pt x="119" y="62"/>
                  </a:lnTo>
                  <a:lnTo>
                    <a:pt x="134" y="92"/>
                  </a:lnTo>
                  <a:lnTo>
                    <a:pt x="90" y="92"/>
                  </a:lnTo>
                  <a:lnTo>
                    <a:pt x="90" y="123"/>
                  </a:lnTo>
                  <a:lnTo>
                    <a:pt x="0" y="169"/>
                  </a:lnTo>
                  <a:lnTo>
                    <a:pt x="0" y="185"/>
                  </a:lnTo>
                  <a:lnTo>
                    <a:pt x="60" y="231"/>
                  </a:lnTo>
                  <a:lnTo>
                    <a:pt x="194" y="339"/>
                  </a:lnTo>
                  <a:lnTo>
                    <a:pt x="194" y="354"/>
                  </a:lnTo>
                  <a:lnTo>
                    <a:pt x="224" y="354"/>
                  </a:lnTo>
                  <a:lnTo>
                    <a:pt x="254" y="339"/>
                  </a:lnTo>
                  <a:lnTo>
                    <a:pt x="269" y="323"/>
                  </a:lnTo>
                  <a:lnTo>
                    <a:pt x="373" y="277"/>
                  </a:lnTo>
                  <a:lnTo>
                    <a:pt x="328" y="246"/>
                  </a:lnTo>
                  <a:lnTo>
                    <a:pt x="313" y="215"/>
                  </a:lnTo>
                  <a:lnTo>
                    <a:pt x="313" y="185"/>
                  </a:lnTo>
                  <a:lnTo>
                    <a:pt x="313" y="169"/>
                  </a:lnTo>
                  <a:lnTo>
                    <a:pt x="313" y="123"/>
                  </a:lnTo>
                  <a:lnTo>
                    <a:pt x="313" y="92"/>
                  </a:lnTo>
                  <a:lnTo>
                    <a:pt x="283" y="77"/>
                  </a:lnTo>
                  <a:lnTo>
                    <a:pt x="283" y="46"/>
                  </a:lnTo>
                  <a:lnTo>
                    <a:pt x="298" y="31"/>
                  </a:lnTo>
                  <a:lnTo>
                    <a:pt x="298" y="0"/>
                  </a:lnTo>
                  <a:lnTo>
                    <a:pt x="239" y="15"/>
                  </a:lnTo>
                  <a:lnTo>
                    <a:pt x="239" y="0"/>
                  </a:lnTo>
                  <a:lnTo>
                    <a:pt x="119"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5" name="Freeform 490"/>
            <p:cNvSpPr>
              <a:spLocks/>
            </p:cNvSpPr>
            <p:nvPr/>
          </p:nvSpPr>
          <p:spPr bwMode="auto">
            <a:xfrm>
              <a:off x="6912" y="1527"/>
              <a:ext cx="65" cy="47"/>
            </a:xfrm>
            <a:custGeom>
              <a:avLst/>
              <a:gdLst>
                <a:gd name="T0" fmla="*/ 0 w 150"/>
                <a:gd name="T1" fmla="*/ 3 h 124"/>
                <a:gd name="T2" fmla="*/ 2 w 150"/>
                <a:gd name="T3" fmla="*/ 3 h 124"/>
                <a:gd name="T4" fmla="*/ 2 w 150"/>
                <a:gd name="T5" fmla="*/ 2 h 124"/>
                <a:gd name="T6" fmla="*/ 3 w 150"/>
                <a:gd name="T7" fmla="*/ 2 h 124"/>
                <a:gd name="T8" fmla="*/ 3 w 150"/>
                <a:gd name="T9" fmla="*/ 1 h 124"/>
                <a:gd name="T10" fmla="*/ 5 w 150"/>
                <a:gd name="T11" fmla="*/ 1 h 124"/>
                <a:gd name="T12" fmla="*/ 5 w 150"/>
                <a:gd name="T13" fmla="*/ 0 h 124"/>
                <a:gd name="T14" fmla="*/ 3 w 150"/>
                <a:gd name="T15" fmla="*/ 0 h 124"/>
                <a:gd name="T16" fmla="*/ 2 w 150"/>
                <a:gd name="T17" fmla="*/ 1 h 124"/>
                <a:gd name="T18" fmla="*/ 0 w 150"/>
                <a:gd name="T19" fmla="*/ 3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0" h="124">
                  <a:moveTo>
                    <a:pt x="0" y="123"/>
                  </a:moveTo>
                  <a:lnTo>
                    <a:pt x="60" y="123"/>
                  </a:lnTo>
                  <a:lnTo>
                    <a:pt x="60" y="92"/>
                  </a:lnTo>
                  <a:lnTo>
                    <a:pt x="75" y="92"/>
                  </a:lnTo>
                  <a:lnTo>
                    <a:pt x="75" y="46"/>
                  </a:lnTo>
                  <a:lnTo>
                    <a:pt x="149" y="46"/>
                  </a:lnTo>
                  <a:lnTo>
                    <a:pt x="149" y="0"/>
                  </a:lnTo>
                  <a:lnTo>
                    <a:pt x="75" y="0"/>
                  </a:lnTo>
                  <a:lnTo>
                    <a:pt x="45" y="31"/>
                  </a:lnTo>
                  <a:lnTo>
                    <a:pt x="0" y="123"/>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6" name="Freeform 491"/>
            <p:cNvSpPr>
              <a:spLocks/>
            </p:cNvSpPr>
            <p:nvPr/>
          </p:nvSpPr>
          <p:spPr bwMode="auto">
            <a:xfrm>
              <a:off x="6944" y="1464"/>
              <a:ext cx="90" cy="65"/>
            </a:xfrm>
            <a:custGeom>
              <a:avLst/>
              <a:gdLst>
                <a:gd name="T0" fmla="*/ 0 w 211"/>
                <a:gd name="T1" fmla="*/ 4 h 170"/>
                <a:gd name="T2" fmla="*/ 3 w 211"/>
                <a:gd name="T3" fmla="*/ 4 h 170"/>
                <a:gd name="T4" fmla="*/ 3 w 211"/>
                <a:gd name="T5" fmla="*/ 3 h 170"/>
                <a:gd name="T6" fmla="*/ 6 w 211"/>
                <a:gd name="T7" fmla="*/ 2 h 170"/>
                <a:gd name="T8" fmla="*/ 6 w 211"/>
                <a:gd name="T9" fmla="*/ 2 h 170"/>
                <a:gd name="T10" fmla="*/ 7 w 211"/>
                <a:gd name="T11" fmla="*/ 2 h 170"/>
                <a:gd name="T12" fmla="*/ 6 w 211"/>
                <a:gd name="T13" fmla="*/ 1 h 170"/>
                <a:gd name="T14" fmla="*/ 6 w 211"/>
                <a:gd name="T15" fmla="*/ 0 h 170"/>
                <a:gd name="T16" fmla="*/ 6 w 211"/>
                <a:gd name="T17" fmla="*/ 0 h 170"/>
                <a:gd name="T18" fmla="*/ 5 w 211"/>
                <a:gd name="T19" fmla="*/ 0 h 170"/>
                <a:gd name="T20" fmla="*/ 5 w 211"/>
                <a:gd name="T21" fmla="*/ 0 h 170"/>
                <a:gd name="T22" fmla="*/ 3 w 211"/>
                <a:gd name="T23" fmla="*/ 1 h 170"/>
                <a:gd name="T24" fmla="*/ 3 w 211"/>
                <a:gd name="T25" fmla="*/ 1 h 170"/>
                <a:gd name="T26" fmla="*/ 1 w 211"/>
                <a:gd name="T27" fmla="*/ 3 h 170"/>
                <a:gd name="T28" fmla="*/ 0 w 211"/>
                <a:gd name="T29" fmla="*/ 4 h 1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11" h="170">
                  <a:moveTo>
                    <a:pt x="0" y="169"/>
                  </a:moveTo>
                  <a:lnTo>
                    <a:pt x="75" y="169"/>
                  </a:lnTo>
                  <a:lnTo>
                    <a:pt x="75" y="154"/>
                  </a:lnTo>
                  <a:lnTo>
                    <a:pt x="165" y="108"/>
                  </a:lnTo>
                  <a:lnTo>
                    <a:pt x="165" y="77"/>
                  </a:lnTo>
                  <a:lnTo>
                    <a:pt x="210" y="77"/>
                  </a:lnTo>
                  <a:lnTo>
                    <a:pt x="195" y="46"/>
                  </a:lnTo>
                  <a:lnTo>
                    <a:pt x="195" y="15"/>
                  </a:lnTo>
                  <a:lnTo>
                    <a:pt x="165" y="0"/>
                  </a:lnTo>
                  <a:lnTo>
                    <a:pt x="135" y="15"/>
                  </a:lnTo>
                  <a:lnTo>
                    <a:pt x="135" y="0"/>
                  </a:lnTo>
                  <a:lnTo>
                    <a:pt x="105" y="31"/>
                  </a:lnTo>
                  <a:lnTo>
                    <a:pt x="90" y="46"/>
                  </a:lnTo>
                  <a:lnTo>
                    <a:pt x="45" y="123"/>
                  </a:lnTo>
                  <a:lnTo>
                    <a:pt x="0" y="16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7" name="Freeform 492"/>
            <p:cNvSpPr>
              <a:spLocks/>
            </p:cNvSpPr>
            <p:nvPr/>
          </p:nvSpPr>
          <p:spPr bwMode="auto">
            <a:xfrm>
              <a:off x="7009" y="1337"/>
              <a:ext cx="90" cy="69"/>
            </a:xfrm>
            <a:custGeom>
              <a:avLst/>
              <a:gdLst>
                <a:gd name="T0" fmla="*/ 2 w 210"/>
                <a:gd name="T1" fmla="*/ 3 h 185"/>
                <a:gd name="T2" fmla="*/ 3 w 210"/>
                <a:gd name="T3" fmla="*/ 4 h 185"/>
                <a:gd name="T4" fmla="*/ 3 w 210"/>
                <a:gd name="T5" fmla="*/ 3 h 185"/>
                <a:gd name="T6" fmla="*/ 4 w 210"/>
                <a:gd name="T7" fmla="*/ 4 h 185"/>
                <a:gd name="T8" fmla="*/ 4 w 210"/>
                <a:gd name="T9" fmla="*/ 3 h 185"/>
                <a:gd name="T10" fmla="*/ 5 w 210"/>
                <a:gd name="T11" fmla="*/ 3 h 185"/>
                <a:gd name="T12" fmla="*/ 6 w 210"/>
                <a:gd name="T13" fmla="*/ 3 h 185"/>
                <a:gd name="T14" fmla="*/ 7 w 210"/>
                <a:gd name="T15" fmla="*/ 3 h 185"/>
                <a:gd name="T16" fmla="*/ 6 w 210"/>
                <a:gd name="T17" fmla="*/ 2 h 185"/>
                <a:gd name="T18" fmla="*/ 6 w 210"/>
                <a:gd name="T19" fmla="*/ 2 h 185"/>
                <a:gd name="T20" fmla="*/ 6 w 210"/>
                <a:gd name="T21" fmla="*/ 2 h 185"/>
                <a:gd name="T22" fmla="*/ 6 w 210"/>
                <a:gd name="T23" fmla="*/ 2 h 185"/>
                <a:gd name="T24" fmla="*/ 7 w 210"/>
                <a:gd name="T25" fmla="*/ 1 h 185"/>
                <a:gd name="T26" fmla="*/ 7 w 210"/>
                <a:gd name="T27" fmla="*/ 1 h 185"/>
                <a:gd name="T28" fmla="*/ 6 w 210"/>
                <a:gd name="T29" fmla="*/ 0 h 185"/>
                <a:gd name="T30" fmla="*/ 5 w 210"/>
                <a:gd name="T31" fmla="*/ 0 h 185"/>
                <a:gd name="T32" fmla="*/ 4 w 210"/>
                <a:gd name="T33" fmla="*/ 0 h 185"/>
                <a:gd name="T34" fmla="*/ 3 w 210"/>
                <a:gd name="T35" fmla="*/ 0 h 185"/>
                <a:gd name="T36" fmla="*/ 3 w 210"/>
                <a:gd name="T37" fmla="*/ 0 h 185"/>
                <a:gd name="T38" fmla="*/ 3 w 210"/>
                <a:gd name="T39" fmla="*/ 1 h 185"/>
                <a:gd name="T40" fmla="*/ 1 w 210"/>
                <a:gd name="T41" fmla="*/ 0 h 185"/>
                <a:gd name="T42" fmla="*/ 1 w 210"/>
                <a:gd name="T43" fmla="*/ 1 h 185"/>
                <a:gd name="T44" fmla="*/ 1 w 210"/>
                <a:gd name="T45" fmla="*/ 1 h 185"/>
                <a:gd name="T46" fmla="*/ 0 w 210"/>
                <a:gd name="T47" fmla="*/ 1 h 185"/>
                <a:gd name="T48" fmla="*/ 0 w 210"/>
                <a:gd name="T49" fmla="*/ 1 h 185"/>
                <a:gd name="T50" fmla="*/ 1 w 210"/>
                <a:gd name="T51" fmla="*/ 1 h 185"/>
                <a:gd name="T52" fmla="*/ 2 w 210"/>
                <a:gd name="T53" fmla="*/ 2 h 185"/>
                <a:gd name="T54" fmla="*/ 2 w 210"/>
                <a:gd name="T55" fmla="*/ 3 h 18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0" h="185">
                  <a:moveTo>
                    <a:pt x="60" y="169"/>
                  </a:moveTo>
                  <a:lnTo>
                    <a:pt x="90" y="184"/>
                  </a:lnTo>
                  <a:lnTo>
                    <a:pt x="90" y="169"/>
                  </a:lnTo>
                  <a:lnTo>
                    <a:pt x="134" y="184"/>
                  </a:lnTo>
                  <a:lnTo>
                    <a:pt x="134" y="169"/>
                  </a:lnTo>
                  <a:lnTo>
                    <a:pt x="149" y="169"/>
                  </a:lnTo>
                  <a:lnTo>
                    <a:pt x="194" y="169"/>
                  </a:lnTo>
                  <a:lnTo>
                    <a:pt x="209" y="153"/>
                  </a:lnTo>
                  <a:lnTo>
                    <a:pt x="194" y="123"/>
                  </a:lnTo>
                  <a:lnTo>
                    <a:pt x="194" y="107"/>
                  </a:lnTo>
                  <a:lnTo>
                    <a:pt x="179" y="107"/>
                  </a:lnTo>
                  <a:lnTo>
                    <a:pt x="179" y="92"/>
                  </a:lnTo>
                  <a:lnTo>
                    <a:pt x="209" y="61"/>
                  </a:lnTo>
                  <a:lnTo>
                    <a:pt x="209" y="46"/>
                  </a:lnTo>
                  <a:lnTo>
                    <a:pt x="179" y="15"/>
                  </a:lnTo>
                  <a:lnTo>
                    <a:pt x="149" y="15"/>
                  </a:lnTo>
                  <a:lnTo>
                    <a:pt x="119" y="0"/>
                  </a:lnTo>
                  <a:lnTo>
                    <a:pt x="105" y="0"/>
                  </a:lnTo>
                  <a:lnTo>
                    <a:pt x="105" y="15"/>
                  </a:lnTo>
                  <a:lnTo>
                    <a:pt x="75" y="46"/>
                  </a:lnTo>
                  <a:lnTo>
                    <a:pt x="45" y="31"/>
                  </a:lnTo>
                  <a:lnTo>
                    <a:pt x="45" y="46"/>
                  </a:lnTo>
                  <a:lnTo>
                    <a:pt x="30" y="46"/>
                  </a:lnTo>
                  <a:lnTo>
                    <a:pt x="15" y="46"/>
                  </a:lnTo>
                  <a:lnTo>
                    <a:pt x="0" y="61"/>
                  </a:lnTo>
                  <a:lnTo>
                    <a:pt x="45" y="77"/>
                  </a:lnTo>
                  <a:lnTo>
                    <a:pt x="60" y="123"/>
                  </a:lnTo>
                  <a:lnTo>
                    <a:pt x="60" y="16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8" name="Freeform 493"/>
            <p:cNvSpPr>
              <a:spLocks/>
            </p:cNvSpPr>
            <p:nvPr/>
          </p:nvSpPr>
          <p:spPr bwMode="auto">
            <a:xfrm>
              <a:off x="7105" y="1406"/>
              <a:ext cx="7" cy="6"/>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0" y="16"/>
                  </a:lnTo>
                  <a:lnTo>
                    <a:pt x="16"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69" name="Freeform 494"/>
            <p:cNvSpPr>
              <a:spLocks/>
            </p:cNvSpPr>
            <p:nvPr/>
          </p:nvSpPr>
          <p:spPr bwMode="auto">
            <a:xfrm>
              <a:off x="6977" y="1394"/>
              <a:ext cx="90" cy="65"/>
            </a:xfrm>
            <a:custGeom>
              <a:avLst/>
              <a:gdLst>
                <a:gd name="T0" fmla="*/ 2 w 210"/>
                <a:gd name="T1" fmla="*/ 4 h 170"/>
                <a:gd name="T2" fmla="*/ 3 w 210"/>
                <a:gd name="T3" fmla="*/ 3 h 170"/>
                <a:gd name="T4" fmla="*/ 3 w 210"/>
                <a:gd name="T5" fmla="*/ 3 h 170"/>
                <a:gd name="T6" fmla="*/ 4 w 210"/>
                <a:gd name="T7" fmla="*/ 3 h 170"/>
                <a:gd name="T8" fmla="*/ 4 w 210"/>
                <a:gd name="T9" fmla="*/ 3 h 170"/>
                <a:gd name="T10" fmla="*/ 5 w 210"/>
                <a:gd name="T11" fmla="*/ 3 h 170"/>
                <a:gd name="T12" fmla="*/ 6 w 210"/>
                <a:gd name="T13" fmla="*/ 2 h 170"/>
                <a:gd name="T14" fmla="*/ 5 w 210"/>
                <a:gd name="T15" fmla="*/ 2 h 170"/>
                <a:gd name="T16" fmla="*/ 6 w 210"/>
                <a:gd name="T17" fmla="*/ 1 h 170"/>
                <a:gd name="T18" fmla="*/ 7 w 210"/>
                <a:gd name="T19" fmla="*/ 1 h 170"/>
                <a:gd name="T20" fmla="*/ 7 w 210"/>
                <a:gd name="T21" fmla="*/ 1 h 170"/>
                <a:gd name="T22" fmla="*/ 6 w 210"/>
                <a:gd name="T23" fmla="*/ 0 h 170"/>
                <a:gd name="T24" fmla="*/ 6 w 210"/>
                <a:gd name="T25" fmla="*/ 1 h 170"/>
                <a:gd name="T26" fmla="*/ 4 w 210"/>
                <a:gd name="T27" fmla="*/ 0 h 170"/>
                <a:gd name="T28" fmla="*/ 4 w 210"/>
                <a:gd name="T29" fmla="*/ 0 h 170"/>
                <a:gd name="T30" fmla="*/ 1 w 210"/>
                <a:gd name="T31" fmla="*/ 0 h 170"/>
                <a:gd name="T32" fmla="*/ 0 w 210"/>
                <a:gd name="T33" fmla="*/ 0 h 170"/>
                <a:gd name="T34" fmla="*/ 0 w 210"/>
                <a:gd name="T35" fmla="*/ 1 h 170"/>
                <a:gd name="T36" fmla="*/ 1 w 210"/>
                <a:gd name="T37" fmla="*/ 1 h 170"/>
                <a:gd name="T38" fmla="*/ 1 w 210"/>
                <a:gd name="T39" fmla="*/ 2 h 170"/>
                <a:gd name="T40" fmla="*/ 1 w 210"/>
                <a:gd name="T41" fmla="*/ 3 h 170"/>
                <a:gd name="T42" fmla="*/ 1 w 210"/>
                <a:gd name="T43" fmla="*/ 3 h 170"/>
                <a:gd name="T44" fmla="*/ 1 w 210"/>
                <a:gd name="T45" fmla="*/ 3 h 170"/>
                <a:gd name="T46" fmla="*/ 2 w 210"/>
                <a:gd name="T47" fmla="*/ 4 h 1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0" h="170">
                  <a:moveTo>
                    <a:pt x="60" y="169"/>
                  </a:moveTo>
                  <a:lnTo>
                    <a:pt x="90" y="154"/>
                  </a:lnTo>
                  <a:lnTo>
                    <a:pt x="105" y="154"/>
                  </a:lnTo>
                  <a:lnTo>
                    <a:pt x="119" y="154"/>
                  </a:lnTo>
                  <a:lnTo>
                    <a:pt x="134" y="138"/>
                  </a:lnTo>
                  <a:lnTo>
                    <a:pt x="149" y="138"/>
                  </a:lnTo>
                  <a:lnTo>
                    <a:pt x="164" y="108"/>
                  </a:lnTo>
                  <a:lnTo>
                    <a:pt x="149" y="92"/>
                  </a:lnTo>
                  <a:lnTo>
                    <a:pt x="179" y="61"/>
                  </a:lnTo>
                  <a:lnTo>
                    <a:pt x="209" y="46"/>
                  </a:lnTo>
                  <a:lnTo>
                    <a:pt x="209" y="31"/>
                  </a:lnTo>
                  <a:lnTo>
                    <a:pt x="164" y="15"/>
                  </a:lnTo>
                  <a:lnTo>
                    <a:pt x="164" y="31"/>
                  </a:lnTo>
                  <a:lnTo>
                    <a:pt x="134" y="15"/>
                  </a:lnTo>
                  <a:lnTo>
                    <a:pt x="119" y="15"/>
                  </a:lnTo>
                  <a:lnTo>
                    <a:pt x="30" y="0"/>
                  </a:lnTo>
                  <a:lnTo>
                    <a:pt x="0" y="15"/>
                  </a:lnTo>
                  <a:lnTo>
                    <a:pt x="0" y="46"/>
                  </a:lnTo>
                  <a:lnTo>
                    <a:pt x="45" y="46"/>
                  </a:lnTo>
                  <a:lnTo>
                    <a:pt x="30" y="108"/>
                  </a:lnTo>
                  <a:lnTo>
                    <a:pt x="30" y="123"/>
                  </a:lnTo>
                  <a:lnTo>
                    <a:pt x="30" y="154"/>
                  </a:lnTo>
                  <a:lnTo>
                    <a:pt x="45" y="154"/>
                  </a:lnTo>
                  <a:lnTo>
                    <a:pt x="60" y="16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0" name="Freeform 495"/>
            <p:cNvSpPr>
              <a:spLocks/>
            </p:cNvSpPr>
            <p:nvPr/>
          </p:nvSpPr>
          <p:spPr bwMode="auto">
            <a:xfrm>
              <a:off x="7053" y="1429"/>
              <a:ext cx="14" cy="7"/>
            </a:xfrm>
            <a:custGeom>
              <a:avLst/>
              <a:gdLst>
                <a:gd name="T0" fmla="*/ 0 w 30"/>
                <a:gd name="T1" fmla="*/ 0 h 17"/>
                <a:gd name="T2" fmla="*/ 0 w 30"/>
                <a:gd name="T3" fmla="*/ 0 h 17"/>
                <a:gd name="T4" fmla="*/ 1 w 30"/>
                <a:gd name="T5" fmla="*/ 0 h 17"/>
                <a:gd name="T6" fmla="*/ 0 w 30"/>
                <a:gd name="T7" fmla="*/ 0 h 17"/>
                <a:gd name="T8" fmla="*/ 0 w 30"/>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17">
                  <a:moveTo>
                    <a:pt x="0" y="0"/>
                  </a:moveTo>
                  <a:lnTo>
                    <a:pt x="15" y="16"/>
                  </a:lnTo>
                  <a:lnTo>
                    <a:pt x="29" y="0"/>
                  </a:lnTo>
                  <a:lnTo>
                    <a:pt x="15"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1" name="Freeform 496"/>
            <p:cNvSpPr>
              <a:spLocks/>
            </p:cNvSpPr>
            <p:nvPr/>
          </p:nvSpPr>
          <p:spPr bwMode="auto">
            <a:xfrm>
              <a:off x="6977" y="1411"/>
              <a:ext cx="19" cy="42"/>
            </a:xfrm>
            <a:custGeom>
              <a:avLst/>
              <a:gdLst>
                <a:gd name="T0" fmla="*/ 0 w 46"/>
                <a:gd name="T1" fmla="*/ 0 h 108"/>
                <a:gd name="T2" fmla="*/ 0 w 46"/>
                <a:gd name="T3" fmla="*/ 2 h 108"/>
                <a:gd name="T4" fmla="*/ 0 w 46"/>
                <a:gd name="T5" fmla="*/ 2 h 108"/>
                <a:gd name="T6" fmla="*/ 0 w 46"/>
                <a:gd name="T7" fmla="*/ 2 h 108"/>
                <a:gd name="T8" fmla="*/ 1 w 46"/>
                <a:gd name="T9" fmla="*/ 2 h 108"/>
                <a:gd name="T10" fmla="*/ 1 w 46"/>
                <a:gd name="T11" fmla="*/ 2 h 108"/>
                <a:gd name="T12" fmla="*/ 1 w 46"/>
                <a:gd name="T13" fmla="*/ 2 h 108"/>
                <a:gd name="T14" fmla="*/ 1 w 46"/>
                <a:gd name="T15" fmla="*/ 0 h 108"/>
                <a:gd name="T16" fmla="*/ 0 w 46"/>
                <a:gd name="T17" fmla="*/ 0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6" h="108">
                  <a:moveTo>
                    <a:pt x="0" y="0"/>
                  </a:moveTo>
                  <a:lnTo>
                    <a:pt x="0" y="61"/>
                  </a:lnTo>
                  <a:lnTo>
                    <a:pt x="0" y="76"/>
                  </a:lnTo>
                  <a:lnTo>
                    <a:pt x="0" y="107"/>
                  </a:lnTo>
                  <a:lnTo>
                    <a:pt x="30" y="107"/>
                  </a:lnTo>
                  <a:lnTo>
                    <a:pt x="30" y="76"/>
                  </a:lnTo>
                  <a:lnTo>
                    <a:pt x="30" y="61"/>
                  </a:lnTo>
                  <a:lnTo>
                    <a:pt x="45"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2" name="Freeform 497"/>
            <p:cNvSpPr>
              <a:spLocks/>
            </p:cNvSpPr>
            <p:nvPr/>
          </p:nvSpPr>
          <p:spPr bwMode="auto">
            <a:xfrm>
              <a:off x="7060" y="1325"/>
              <a:ext cx="26" cy="18"/>
            </a:xfrm>
            <a:custGeom>
              <a:avLst/>
              <a:gdLst>
                <a:gd name="T0" fmla="*/ 1 w 61"/>
                <a:gd name="T1" fmla="*/ 1 h 47"/>
                <a:gd name="T2" fmla="*/ 2 w 61"/>
                <a:gd name="T3" fmla="*/ 1 h 47"/>
                <a:gd name="T4" fmla="*/ 1 w 61"/>
                <a:gd name="T5" fmla="*/ 1 h 47"/>
                <a:gd name="T6" fmla="*/ 0 w 61"/>
                <a:gd name="T7" fmla="*/ 1 h 47"/>
                <a:gd name="T8" fmla="*/ 0 w 61"/>
                <a:gd name="T9" fmla="*/ 0 h 47"/>
                <a:gd name="T10" fmla="*/ 1 w 61"/>
                <a:gd name="T11" fmla="*/ 0 h 47"/>
                <a:gd name="T12" fmla="*/ 1 w 61"/>
                <a:gd name="T13" fmla="*/ 0 h 47"/>
                <a:gd name="T14" fmla="*/ 2 w 61"/>
                <a:gd name="T15" fmla="*/ 0 h 47"/>
                <a:gd name="T16" fmla="*/ 2 w 61"/>
                <a:gd name="T17" fmla="*/ 1 h 47"/>
                <a:gd name="T18" fmla="*/ 1 w 61"/>
                <a:gd name="T19" fmla="*/ 1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47">
                  <a:moveTo>
                    <a:pt x="45" y="46"/>
                  </a:moveTo>
                  <a:lnTo>
                    <a:pt x="60" y="46"/>
                  </a:lnTo>
                  <a:lnTo>
                    <a:pt x="30" y="46"/>
                  </a:lnTo>
                  <a:lnTo>
                    <a:pt x="0" y="31"/>
                  </a:lnTo>
                  <a:lnTo>
                    <a:pt x="15" y="15"/>
                  </a:lnTo>
                  <a:lnTo>
                    <a:pt x="30" y="15"/>
                  </a:lnTo>
                  <a:lnTo>
                    <a:pt x="45" y="0"/>
                  </a:lnTo>
                  <a:lnTo>
                    <a:pt x="60" y="15"/>
                  </a:lnTo>
                  <a:lnTo>
                    <a:pt x="60" y="31"/>
                  </a:lnTo>
                  <a:lnTo>
                    <a:pt x="45"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3" name="Freeform 498"/>
            <p:cNvSpPr>
              <a:spLocks/>
            </p:cNvSpPr>
            <p:nvPr/>
          </p:nvSpPr>
          <p:spPr bwMode="auto">
            <a:xfrm>
              <a:off x="7066" y="1312"/>
              <a:ext cx="26" cy="19"/>
            </a:xfrm>
            <a:custGeom>
              <a:avLst/>
              <a:gdLst>
                <a:gd name="T0" fmla="*/ 0 w 60"/>
                <a:gd name="T1" fmla="*/ 1 h 48"/>
                <a:gd name="T2" fmla="*/ 0 w 60"/>
                <a:gd name="T3" fmla="*/ 1 h 48"/>
                <a:gd name="T4" fmla="*/ 1 w 60"/>
                <a:gd name="T5" fmla="*/ 1 h 48"/>
                <a:gd name="T6" fmla="*/ 1 w 60"/>
                <a:gd name="T7" fmla="*/ 1 h 48"/>
                <a:gd name="T8" fmla="*/ 2 w 60"/>
                <a:gd name="T9" fmla="*/ 0 h 48"/>
                <a:gd name="T10" fmla="*/ 2 w 60"/>
                <a:gd name="T11" fmla="*/ 0 h 48"/>
                <a:gd name="T12" fmla="*/ 1 w 60"/>
                <a:gd name="T13" fmla="*/ 0 h 48"/>
                <a:gd name="T14" fmla="*/ 0 w 60"/>
                <a:gd name="T15" fmla="*/ 0 h 48"/>
                <a:gd name="T16" fmla="*/ 0 w 60"/>
                <a:gd name="T17" fmla="*/ 1 h 48"/>
                <a:gd name="T18" fmla="*/ 0 w 60"/>
                <a:gd name="T19" fmla="*/ 1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48">
                  <a:moveTo>
                    <a:pt x="0" y="47"/>
                  </a:moveTo>
                  <a:lnTo>
                    <a:pt x="15" y="47"/>
                  </a:lnTo>
                  <a:lnTo>
                    <a:pt x="30" y="31"/>
                  </a:lnTo>
                  <a:lnTo>
                    <a:pt x="44" y="47"/>
                  </a:lnTo>
                  <a:lnTo>
                    <a:pt x="59" y="16"/>
                  </a:lnTo>
                  <a:lnTo>
                    <a:pt x="59" y="0"/>
                  </a:lnTo>
                  <a:lnTo>
                    <a:pt x="30" y="0"/>
                  </a:lnTo>
                  <a:lnTo>
                    <a:pt x="15" y="0"/>
                  </a:lnTo>
                  <a:lnTo>
                    <a:pt x="0" y="31"/>
                  </a:lnTo>
                  <a:lnTo>
                    <a:pt x="0" y="4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4" name="Freeform 499"/>
            <p:cNvSpPr>
              <a:spLocks/>
            </p:cNvSpPr>
            <p:nvPr/>
          </p:nvSpPr>
          <p:spPr bwMode="auto">
            <a:xfrm>
              <a:off x="7003" y="1260"/>
              <a:ext cx="50" cy="83"/>
            </a:xfrm>
            <a:custGeom>
              <a:avLst/>
              <a:gdLst>
                <a:gd name="T0" fmla="*/ 1 w 121"/>
                <a:gd name="T1" fmla="*/ 0 h 217"/>
                <a:gd name="T2" fmla="*/ 0 w 121"/>
                <a:gd name="T3" fmla="*/ 0 h 217"/>
                <a:gd name="T4" fmla="*/ 0 w 121"/>
                <a:gd name="T5" fmla="*/ 0 h 217"/>
                <a:gd name="T6" fmla="*/ 0 w 121"/>
                <a:gd name="T7" fmla="*/ 1 h 217"/>
                <a:gd name="T8" fmla="*/ 0 w 121"/>
                <a:gd name="T9" fmla="*/ 2 h 217"/>
                <a:gd name="T10" fmla="*/ 0 w 121"/>
                <a:gd name="T11" fmla="*/ 2 h 217"/>
                <a:gd name="T12" fmla="*/ 0 w 121"/>
                <a:gd name="T13" fmla="*/ 2 h 217"/>
                <a:gd name="T14" fmla="*/ 1 w 121"/>
                <a:gd name="T15" fmla="*/ 2 h 217"/>
                <a:gd name="T16" fmla="*/ 1 w 121"/>
                <a:gd name="T17" fmla="*/ 2 h 217"/>
                <a:gd name="T18" fmla="*/ 1 w 121"/>
                <a:gd name="T19" fmla="*/ 3 h 217"/>
                <a:gd name="T20" fmla="*/ 1 w 121"/>
                <a:gd name="T21" fmla="*/ 3 h 217"/>
                <a:gd name="T22" fmla="*/ 1 w 121"/>
                <a:gd name="T23" fmla="*/ 3 h 217"/>
                <a:gd name="T24" fmla="*/ 0 w 121"/>
                <a:gd name="T25" fmla="*/ 4 h 217"/>
                <a:gd name="T26" fmla="*/ 1 w 121"/>
                <a:gd name="T27" fmla="*/ 4 h 217"/>
                <a:gd name="T28" fmla="*/ 1 w 121"/>
                <a:gd name="T29" fmla="*/ 4 h 217"/>
                <a:gd name="T30" fmla="*/ 1 w 121"/>
                <a:gd name="T31" fmla="*/ 4 h 217"/>
                <a:gd name="T32" fmla="*/ 0 w 121"/>
                <a:gd name="T33" fmla="*/ 5 h 217"/>
                <a:gd name="T34" fmla="*/ 0 w 121"/>
                <a:gd name="T35" fmla="*/ 5 h 217"/>
                <a:gd name="T36" fmla="*/ 1 w 121"/>
                <a:gd name="T37" fmla="*/ 4 h 217"/>
                <a:gd name="T38" fmla="*/ 2 w 121"/>
                <a:gd name="T39" fmla="*/ 4 h 217"/>
                <a:gd name="T40" fmla="*/ 3 w 121"/>
                <a:gd name="T41" fmla="*/ 4 h 217"/>
                <a:gd name="T42" fmla="*/ 4 w 121"/>
                <a:gd name="T43" fmla="*/ 4 h 217"/>
                <a:gd name="T44" fmla="*/ 3 w 121"/>
                <a:gd name="T45" fmla="*/ 4 h 217"/>
                <a:gd name="T46" fmla="*/ 4 w 121"/>
                <a:gd name="T47" fmla="*/ 4 h 217"/>
                <a:gd name="T48" fmla="*/ 4 w 121"/>
                <a:gd name="T49" fmla="*/ 3 h 217"/>
                <a:gd name="T50" fmla="*/ 4 w 121"/>
                <a:gd name="T51" fmla="*/ 3 h 217"/>
                <a:gd name="T52" fmla="*/ 3 w 121"/>
                <a:gd name="T53" fmla="*/ 3 h 217"/>
                <a:gd name="T54" fmla="*/ 2 w 121"/>
                <a:gd name="T55" fmla="*/ 1 h 217"/>
                <a:gd name="T56" fmla="*/ 1 w 121"/>
                <a:gd name="T57" fmla="*/ 1 h 217"/>
                <a:gd name="T58" fmla="*/ 2 w 121"/>
                <a:gd name="T59" fmla="*/ 1 h 217"/>
                <a:gd name="T60" fmla="*/ 1 w 121"/>
                <a:gd name="T61" fmla="*/ 1 h 217"/>
                <a:gd name="T62" fmla="*/ 1 w 121"/>
                <a:gd name="T63" fmla="*/ 0 h 2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1" h="217">
                  <a:moveTo>
                    <a:pt x="45" y="0"/>
                  </a:moveTo>
                  <a:lnTo>
                    <a:pt x="15" y="0"/>
                  </a:lnTo>
                  <a:lnTo>
                    <a:pt x="0" y="15"/>
                  </a:lnTo>
                  <a:lnTo>
                    <a:pt x="15" y="62"/>
                  </a:lnTo>
                  <a:lnTo>
                    <a:pt x="15" y="77"/>
                  </a:lnTo>
                  <a:lnTo>
                    <a:pt x="15" y="93"/>
                  </a:lnTo>
                  <a:lnTo>
                    <a:pt x="15" y="108"/>
                  </a:lnTo>
                  <a:lnTo>
                    <a:pt x="45" y="93"/>
                  </a:lnTo>
                  <a:lnTo>
                    <a:pt x="45" y="108"/>
                  </a:lnTo>
                  <a:lnTo>
                    <a:pt x="45" y="139"/>
                  </a:lnTo>
                  <a:lnTo>
                    <a:pt x="30" y="139"/>
                  </a:lnTo>
                  <a:lnTo>
                    <a:pt x="30" y="154"/>
                  </a:lnTo>
                  <a:lnTo>
                    <a:pt x="15" y="170"/>
                  </a:lnTo>
                  <a:lnTo>
                    <a:pt x="30" y="170"/>
                  </a:lnTo>
                  <a:lnTo>
                    <a:pt x="45" y="185"/>
                  </a:lnTo>
                  <a:lnTo>
                    <a:pt x="30" y="185"/>
                  </a:lnTo>
                  <a:lnTo>
                    <a:pt x="0" y="216"/>
                  </a:lnTo>
                  <a:lnTo>
                    <a:pt x="15" y="216"/>
                  </a:lnTo>
                  <a:lnTo>
                    <a:pt x="45" y="201"/>
                  </a:lnTo>
                  <a:lnTo>
                    <a:pt x="60" y="201"/>
                  </a:lnTo>
                  <a:lnTo>
                    <a:pt x="105" y="201"/>
                  </a:lnTo>
                  <a:lnTo>
                    <a:pt x="120" y="185"/>
                  </a:lnTo>
                  <a:lnTo>
                    <a:pt x="105" y="185"/>
                  </a:lnTo>
                  <a:lnTo>
                    <a:pt x="120" y="170"/>
                  </a:lnTo>
                  <a:lnTo>
                    <a:pt x="120" y="154"/>
                  </a:lnTo>
                  <a:lnTo>
                    <a:pt x="120" y="139"/>
                  </a:lnTo>
                  <a:lnTo>
                    <a:pt x="105" y="139"/>
                  </a:lnTo>
                  <a:lnTo>
                    <a:pt x="60" y="62"/>
                  </a:lnTo>
                  <a:lnTo>
                    <a:pt x="45" y="62"/>
                  </a:lnTo>
                  <a:lnTo>
                    <a:pt x="60" y="31"/>
                  </a:lnTo>
                  <a:lnTo>
                    <a:pt x="30" y="31"/>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5" name="Freeform 500"/>
            <p:cNvSpPr>
              <a:spLocks/>
            </p:cNvSpPr>
            <p:nvPr/>
          </p:nvSpPr>
          <p:spPr bwMode="auto">
            <a:xfrm>
              <a:off x="6989" y="1296"/>
              <a:ext cx="14" cy="11"/>
            </a:xfrm>
            <a:custGeom>
              <a:avLst/>
              <a:gdLst>
                <a:gd name="T0" fmla="*/ 0 w 31"/>
                <a:gd name="T1" fmla="*/ 0 h 32"/>
                <a:gd name="T2" fmla="*/ 0 w 31"/>
                <a:gd name="T3" fmla="*/ 0 h 32"/>
                <a:gd name="T4" fmla="*/ 0 w 31"/>
                <a:gd name="T5" fmla="*/ 0 h 32"/>
                <a:gd name="T6" fmla="*/ 1 w 31"/>
                <a:gd name="T7" fmla="*/ 0 h 32"/>
                <a:gd name="T8" fmla="*/ 1 w 31"/>
                <a:gd name="T9" fmla="*/ 0 h 32"/>
                <a:gd name="T10" fmla="*/ 1 w 31"/>
                <a:gd name="T11" fmla="*/ 0 h 32"/>
                <a:gd name="T12" fmla="*/ 0 w 31"/>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32">
                  <a:moveTo>
                    <a:pt x="15" y="0"/>
                  </a:moveTo>
                  <a:lnTo>
                    <a:pt x="0" y="16"/>
                  </a:lnTo>
                  <a:lnTo>
                    <a:pt x="15" y="31"/>
                  </a:lnTo>
                  <a:lnTo>
                    <a:pt x="30" y="31"/>
                  </a:lnTo>
                  <a:lnTo>
                    <a:pt x="30" y="16"/>
                  </a:lnTo>
                  <a:lnTo>
                    <a:pt x="30" y="0"/>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6" name="Freeform 501"/>
            <p:cNvSpPr>
              <a:spLocks/>
            </p:cNvSpPr>
            <p:nvPr/>
          </p:nvSpPr>
          <p:spPr bwMode="auto">
            <a:xfrm>
              <a:off x="6995" y="1260"/>
              <a:ext cx="9" cy="7"/>
            </a:xfrm>
            <a:custGeom>
              <a:avLst/>
              <a:gdLst>
                <a:gd name="T0" fmla="*/ 0 w 18"/>
                <a:gd name="T1" fmla="*/ 0 h 17"/>
                <a:gd name="T2" fmla="*/ 2 w 18"/>
                <a:gd name="T3" fmla="*/ 0 h 17"/>
                <a:gd name="T4" fmla="*/ 2 w 18"/>
                <a:gd name="T5" fmla="*/ 0 h 17"/>
                <a:gd name="T6" fmla="*/ 0 w 18"/>
                <a:gd name="T7" fmla="*/ 0 h 17"/>
                <a:gd name="T8" fmla="*/ 0 w 18"/>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7">
                  <a:moveTo>
                    <a:pt x="0" y="16"/>
                  </a:moveTo>
                  <a:lnTo>
                    <a:pt x="17" y="16"/>
                  </a:lnTo>
                  <a:lnTo>
                    <a:pt x="17" y="0"/>
                  </a:lnTo>
                  <a:lnTo>
                    <a:pt x="0"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7" name="Freeform 502"/>
            <p:cNvSpPr>
              <a:spLocks/>
            </p:cNvSpPr>
            <p:nvPr/>
          </p:nvSpPr>
          <p:spPr bwMode="auto">
            <a:xfrm>
              <a:off x="6969" y="1296"/>
              <a:ext cx="34" cy="35"/>
            </a:xfrm>
            <a:custGeom>
              <a:avLst/>
              <a:gdLst>
                <a:gd name="T0" fmla="*/ 3 w 77"/>
                <a:gd name="T1" fmla="*/ 0 h 94"/>
                <a:gd name="T2" fmla="*/ 2 w 77"/>
                <a:gd name="T3" fmla="*/ 0 h 94"/>
                <a:gd name="T4" fmla="*/ 2 w 77"/>
                <a:gd name="T5" fmla="*/ 0 h 94"/>
                <a:gd name="T6" fmla="*/ 2 w 77"/>
                <a:gd name="T7" fmla="*/ 0 h 94"/>
                <a:gd name="T8" fmla="*/ 2 w 77"/>
                <a:gd name="T9" fmla="*/ 0 h 94"/>
                <a:gd name="T10" fmla="*/ 1 w 77"/>
                <a:gd name="T11" fmla="*/ 0 h 94"/>
                <a:gd name="T12" fmla="*/ 0 w 77"/>
                <a:gd name="T13" fmla="*/ 0 h 94"/>
                <a:gd name="T14" fmla="*/ 0 w 77"/>
                <a:gd name="T15" fmla="*/ 1 h 94"/>
                <a:gd name="T16" fmla="*/ 0 w 77"/>
                <a:gd name="T17" fmla="*/ 1 h 94"/>
                <a:gd name="T18" fmla="*/ 0 w 77"/>
                <a:gd name="T19" fmla="*/ 1 h 94"/>
                <a:gd name="T20" fmla="*/ 0 w 77"/>
                <a:gd name="T21" fmla="*/ 2 h 94"/>
                <a:gd name="T22" fmla="*/ 1 w 77"/>
                <a:gd name="T23" fmla="*/ 2 h 94"/>
                <a:gd name="T24" fmla="*/ 2 w 77"/>
                <a:gd name="T25" fmla="*/ 1 h 94"/>
                <a:gd name="T26" fmla="*/ 3 w 77"/>
                <a:gd name="T27" fmla="*/ 1 h 94"/>
                <a:gd name="T28" fmla="*/ 3 w 77"/>
                <a:gd name="T29" fmla="*/ 0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7" h="94">
                  <a:moveTo>
                    <a:pt x="76" y="31"/>
                  </a:moveTo>
                  <a:lnTo>
                    <a:pt x="61" y="31"/>
                  </a:lnTo>
                  <a:lnTo>
                    <a:pt x="46" y="16"/>
                  </a:lnTo>
                  <a:lnTo>
                    <a:pt x="61" y="0"/>
                  </a:lnTo>
                  <a:lnTo>
                    <a:pt x="46" y="0"/>
                  </a:lnTo>
                  <a:lnTo>
                    <a:pt x="30" y="16"/>
                  </a:lnTo>
                  <a:lnTo>
                    <a:pt x="15" y="16"/>
                  </a:lnTo>
                  <a:lnTo>
                    <a:pt x="15" y="47"/>
                  </a:lnTo>
                  <a:lnTo>
                    <a:pt x="15" y="62"/>
                  </a:lnTo>
                  <a:lnTo>
                    <a:pt x="0" y="78"/>
                  </a:lnTo>
                  <a:lnTo>
                    <a:pt x="15" y="93"/>
                  </a:lnTo>
                  <a:lnTo>
                    <a:pt x="30" y="93"/>
                  </a:lnTo>
                  <a:lnTo>
                    <a:pt x="61" y="78"/>
                  </a:lnTo>
                  <a:lnTo>
                    <a:pt x="76" y="47"/>
                  </a:lnTo>
                  <a:lnTo>
                    <a:pt x="76"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8" name="Freeform 503"/>
            <p:cNvSpPr>
              <a:spLocks/>
            </p:cNvSpPr>
            <p:nvPr/>
          </p:nvSpPr>
          <p:spPr bwMode="auto">
            <a:xfrm>
              <a:off x="7105" y="1720"/>
              <a:ext cx="46" cy="41"/>
            </a:xfrm>
            <a:custGeom>
              <a:avLst/>
              <a:gdLst>
                <a:gd name="T0" fmla="*/ 2 w 105"/>
                <a:gd name="T1" fmla="*/ 2 h 109"/>
                <a:gd name="T2" fmla="*/ 2 w 105"/>
                <a:gd name="T3" fmla="*/ 2 h 109"/>
                <a:gd name="T4" fmla="*/ 2 w 105"/>
                <a:gd name="T5" fmla="*/ 2 h 109"/>
                <a:gd name="T6" fmla="*/ 3 w 105"/>
                <a:gd name="T7" fmla="*/ 1 h 109"/>
                <a:gd name="T8" fmla="*/ 3 w 105"/>
                <a:gd name="T9" fmla="*/ 1 h 109"/>
                <a:gd name="T10" fmla="*/ 4 w 105"/>
                <a:gd name="T11" fmla="*/ 0 h 109"/>
                <a:gd name="T12" fmla="*/ 3 w 105"/>
                <a:gd name="T13" fmla="*/ 0 h 109"/>
                <a:gd name="T14" fmla="*/ 2 w 105"/>
                <a:gd name="T15" fmla="*/ 0 h 109"/>
                <a:gd name="T16" fmla="*/ 2 w 105"/>
                <a:gd name="T17" fmla="*/ 0 h 109"/>
                <a:gd name="T18" fmla="*/ 0 w 105"/>
                <a:gd name="T19" fmla="*/ 0 h 109"/>
                <a:gd name="T20" fmla="*/ 0 w 105"/>
                <a:gd name="T21" fmla="*/ 1 h 109"/>
                <a:gd name="T22" fmla="*/ 2 w 105"/>
                <a:gd name="T23" fmla="*/ 2 h 10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5" h="109">
                  <a:moveTo>
                    <a:pt x="45" y="108"/>
                  </a:moveTo>
                  <a:lnTo>
                    <a:pt x="59" y="93"/>
                  </a:lnTo>
                  <a:lnTo>
                    <a:pt x="59" y="77"/>
                  </a:lnTo>
                  <a:lnTo>
                    <a:pt x="89" y="62"/>
                  </a:lnTo>
                  <a:lnTo>
                    <a:pt x="89" y="31"/>
                  </a:lnTo>
                  <a:lnTo>
                    <a:pt x="104" y="15"/>
                  </a:lnTo>
                  <a:lnTo>
                    <a:pt x="74" y="0"/>
                  </a:lnTo>
                  <a:lnTo>
                    <a:pt x="45" y="0"/>
                  </a:lnTo>
                  <a:lnTo>
                    <a:pt x="45" y="15"/>
                  </a:lnTo>
                  <a:lnTo>
                    <a:pt x="15" y="15"/>
                  </a:lnTo>
                  <a:lnTo>
                    <a:pt x="0" y="46"/>
                  </a:lnTo>
                  <a:lnTo>
                    <a:pt x="45" y="108"/>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79" name="Freeform 504"/>
            <p:cNvSpPr>
              <a:spLocks/>
            </p:cNvSpPr>
            <p:nvPr/>
          </p:nvSpPr>
          <p:spPr bwMode="auto">
            <a:xfrm>
              <a:off x="7111" y="1720"/>
              <a:ext cx="14" cy="6"/>
            </a:xfrm>
            <a:custGeom>
              <a:avLst/>
              <a:gdLst>
                <a:gd name="T0" fmla="*/ 0 w 32"/>
                <a:gd name="T1" fmla="*/ 0 h 17"/>
                <a:gd name="T2" fmla="*/ 1 w 32"/>
                <a:gd name="T3" fmla="*/ 0 h 17"/>
                <a:gd name="T4" fmla="*/ 1 w 32"/>
                <a:gd name="T5" fmla="*/ 0 h 17"/>
                <a:gd name="T6" fmla="*/ 0 w 32"/>
                <a:gd name="T7" fmla="*/ 0 h 17"/>
                <a:gd name="T8" fmla="*/ 0 w 32"/>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7">
                  <a:moveTo>
                    <a:pt x="0" y="16"/>
                  </a:moveTo>
                  <a:lnTo>
                    <a:pt x="31" y="16"/>
                  </a:lnTo>
                  <a:lnTo>
                    <a:pt x="31" y="0"/>
                  </a:lnTo>
                  <a:lnTo>
                    <a:pt x="0"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0" name="Freeform 505"/>
            <p:cNvSpPr>
              <a:spLocks/>
            </p:cNvSpPr>
            <p:nvPr/>
          </p:nvSpPr>
          <p:spPr bwMode="auto">
            <a:xfrm>
              <a:off x="7060" y="1633"/>
              <a:ext cx="91" cy="69"/>
            </a:xfrm>
            <a:custGeom>
              <a:avLst/>
              <a:gdLst>
                <a:gd name="T0" fmla="*/ 4 w 210"/>
                <a:gd name="T1" fmla="*/ 4 h 185"/>
                <a:gd name="T2" fmla="*/ 4 w 210"/>
                <a:gd name="T3" fmla="*/ 3 h 185"/>
                <a:gd name="T4" fmla="*/ 5 w 210"/>
                <a:gd name="T5" fmla="*/ 3 h 185"/>
                <a:gd name="T6" fmla="*/ 5 w 210"/>
                <a:gd name="T7" fmla="*/ 3 h 185"/>
                <a:gd name="T8" fmla="*/ 7 w 210"/>
                <a:gd name="T9" fmla="*/ 2 h 185"/>
                <a:gd name="T10" fmla="*/ 7 w 210"/>
                <a:gd name="T11" fmla="*/ 1 h 185"/>
                <a:gd name="T12" fmla="*/ 7 w 210"/>
                <a:gd name="T13" fmla="*/ 0 h 185"/>
                <a:gd name="T14" fmla="*/ 7 w 210"/>
                <a:gd name="T15" fmla="*/ 0 h 185"/>
                <a:gd name="T16" fmla="*/ 5 w 210"/>
                <a:gd name="T17" fmla="*/ 0 h 185"/>
                <a:gd name="T18" fmla="*/ 4 w 210"/>
                <a:gd name="T19" fmla="*/ 0 h 185"/>
                <a:gd name="T20" fmla="*/ 1 w 210"/>
                <a:gd name="T21" fmla="*/ 0 h 185"/>
                <a:gd name="T22" fmla="*/ 0 w 210"/>
                <a:gd name="T23" fmla="*/ 0 h 185"/>
                <a:gd name="T24" fmla="*/ 0 w 210"/>
                <a:gd name="T25" fmla="*/ 1 h 185"/>
                <a:gd name="T26" fmla="*/ 0 w 210"/>
                <a:gd name="T27" fmla="*/ 2 h 185"/>
                <a:gd name="T28" fmla="*/ 0 w 210"/>
                <a:gd name="T29" fmla="*/ 3 h 185"/>
                <a:gd name="T30" fmla="*/ 1 w 210"/>
                <a:gd name="T31" fmla="*/ 3 h 185"/>
                <a:gd name="T32" fmla="*/ 2 w 210"/>
                <a:gd name="T33" fmla="*/ 4 h 185"/>
                <a:gd name="T34" fmla="*/ 3 w 210"/>
                <a:gd name="T35" fmla="*/ 4 h 185"/>
                <a:gd name="T36" fmla="*/ 4 w 210"/>
                <a:gd name="T37" fmla="*/ 4 h 1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0" h="185">
                  <a:moveTo>
                    <a:pt x="105" y="184"/>
                  </a:moveTo>
                  <a:lnTo>
                    <a:pt x="105" y="153"/>
                  </a:lnTo>
                  <a:lnTo>
                    <a:pt x="134" y="138"/>
                  </a:lnTo>
                  <a:lnTo>
                    <a:pt x="149" y="138"/>
                  </a:lnTo>
                  <a:lnTo>
                    <a:pt x="179" y="92"/>
                  </a:lnTo>
                  <a:lnTo>
                    <a:pt x="209" y="46"/>
                  </a:lnTo>
                  <a:lnTo>
                    <a:pt x="209" y="15"/>
                  </a:lnTo>
                  <a:lnTo>
                    <a:pt x="179" y="0"/>
                  </a:lnTo>
                  <a:lnTo>
                    <a:pt x="134" y="0"/>
                  </a:lnTo>
                  <a:lnTo>
                    <a:pt x="105" y="15"/>
                  </a:lnTo>
                  <a:lnTo>
                    <a:pt x="30" y="0"/>
                  </a:lnTo>
                  <a:lnTo>
                    <a:pt x="15" y="31"/>
                  </a:lnTo>
                  <a:lnTo>
                    <a:pt x="15" y="61"/>
                  </a:lnTo>
                  <a:lnTo>
                    <a:pt x="0" y="92"/>
                  </a:lnTo>
                  <a:lnTo>
                    <a:pt x="0" y="138"/>
                  </a:lnTo>
                  <a:lnTo>
                    <a:pt x="30" y="138"/>
                  </a:lnTo>
                  <a:lnTo>
                    <a:pt x="45" y="184"/>
                  </a:lnTo>
                  <a:lnTo>
                    <a:pt x="75" y="184"/>
                  </a:lnTo>
                  <a:lnTo>
                    <a:pt x="105" y="184"/>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1" name="Freeform 506"/>
            <p:cNvSpPr>
              <a:spLocks/>
            </p:cNvSpPr>
            <p:nvPr/>
          </p:nvSpPr>
          <p:spPr bwMode="auto">
            <a:xfrm>
              <a:off x="7047" y="1644"/>
              <a:ext cx="20" cy="42"/>
            </a:xfrm>
            <a:custGeom>
              <a:avLst/>
              <a:gdLst>
                <a:gd name="T0" fmla="*/ 1 w 46"/>
                <a:gd name="T1" fmla="*/ 2 h 108"/>
                <a:gd name="T2" fmla="*/ 1 w 46"/>
                <a:gd name="T3" fmla="*/ 2 h 108"/>
                <a:gd name="T4" fmla="*/ 2 w 46"/>
                <a:gd name="T5" fmla="*/ 1 h 108"/>
                <a:gd name="T6" fmla="*/ 2 w 46"/>
                <a:gd name="T7" fmla="*/ 0 h 108"/>
                <a:gd name="T8" fmla="*/ 0 w 46"/>
                <a:gd name="T9" fmla="*/ 0 h 108"/>
                <a:gd name="T10" fmla="*/ 0 w 46"/>
                <a:gd name="T11" fmla="*/ 0 h 108"/>
                <a:gd name="T12" fmla="*/ 0 w 46"/>
                <a:gd name="T13" fmla="*/ 1 h 108"/>
                <a:gd name="T14" fmla="*/ 0 w 46"/>
                <a:gd name="T15" fmla="*/ 2 h 108"/>
                <a:gd name="T16" fmla="*/ 1 w 46"/>
                <a:gd name="T17" fmla="*/ 2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6" h="108">
                  <a:moveTo>
                    <a:pt x="30" y="107"/>
                  </a:moveTo>
                  <a:lnTo>
                    <a:pt x="30" y="61"/>
                  </a:lnTo>
                  <a:lnTo>
                    <a:pt x="45" y="31"/>
                  </a:lnTo>
                  <a:lnTo>
                    <a:pt x="45" y="0"/>
                  </a:lnTo>
                  <a:lnTo>
                    <a:pt x="15" y="0"/>
                  </a:lnTo>
                  <a:lnTo>
                    <a:pt x="15" y="15"/>
                  </a:lnTo>
                  <a:lnTo>
                    <a:pt x="0" y="31"/>
                  </a:lnTo>
                  <a:lnTo>
                    <a:pt x="15" y="107"/>
                  </a:lnTo>
                  <a:lnTo>
                    <a:pt x="30" y="10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2" name="Freeform 507"/>
            <p:cNvSpPr>
              <a:spLocks/>
            </p:cNvSpPr>
            <p:nvPr/>
          </p:nvSpPr>
          <p:spPr bwMode="auto">
            <a:xfrm>
              <a:off x="7040" y="1650"/>
              <a:ext cx="13" cy="36"/>
            </a:xfrm>
            <a:custGeom>
              <a:avLst/>
              <a:gdLst>
                <a:gd name="T0" fmla="*/ 1 w 32"/>
                <a:gd name="T1" fmla="*/ 2 h 93"/>
                <a:gd name="T2" fmla="*/ 0 w 32"/>
                <a:gd name="T3" fmla="*/ 0 h 93"/>
                <a:gd name="T4" fmla="*/ 0 w 32"/>
                <a:gd name="T5" fmla="*/ 0 h 93"/>
                <a:gd name="T6" fmla="*/ 0 w 32"/>
                <a:gd name="T7" fmla="*/ 2 h 93"/>
                <a:gd name="T8" fmla="*/ 1 w 32"/>
                <a:gd name="T9" fmla="*/ 2 h 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93">
                  <a:moveTo>
                    <a:pt x="31" y="92"/>
                  </a:moveTo>
                  <a:lnTo>
                    <a:pt x="16" y="15"/>
                  </a:lnTo>
                  <a:lnTo>
                    <a:pt x="0" y="0"/>
                  </a:lnTo>
                  <a:lnTo>
                    <a:pt x="16" y="92"/>
                  </a:lnTo>
                  <a:lnTo>
                    <a:pt x="31" y="9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3" name="Freeform 508"/>
            <p:cNvSpPr>
              <a:spLocks/>
            </p:cNvSpPr>
            <p:nvPr/>
          </p:nvSpPr>
          <p:spPr bwMode="auto">
            <a:xfrm>
              <a:off x="7015" y="1650"/>
              <a:ext cx="32" cy="47"/>
            </a:xfrm>
            <a:custGeom>
              <a:avLst/>
              <a:gdLst>
                <a:gd name="T0" fmla="*/ 3 w 75"/>
                <a:gd name="T1" fmla="*/ 2 h 124"/>
                <a:gd name="T2" fmla="*/ 2 w 75"/>
                <a:gd name="T3" fmla="*/ 0 h 124"/>
                <a:gd name="T4" fmla="*/ 0 w 75"/>
                <a:gd name="T5" fmla="*/ 0 h 124"/>
                <a:gd name="T6" fmla="*/ 0 w 75"/>
                <a:gd name="T7" fmla="*/ 1 h 124"/>
                <a:gd name="T8" fmla="*/ 0 w 75"/>
                <a:gd name="T9" fmla="*/ 2 h 124"/>
                <a:gd name="T10" fmla="*/ 0 w 75"/>
                <a:gd name="T11" fmla="*/ 3 h 124"/>
                <a:gd name="T12" fmla="*/ 1 w 75"/>
                <a:gd name="T13" fmla="*/ 3 h 124"/>
                <a:gd name="T14" fmla="*/ 3 w 75"/>
                <a:gd name="T15" fmla="*/ 2 h 12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5" h="124">
                  <a:moveTo>
                    <a:pt x="74" y="92"/>
                  </a:moveTo>
                  <a:lnTo>
                    <a:pt x="59" y="0"/>
                  </a:lnTo>
                  <a:lnTo>
                    <a:pt x="0" y="15"/>
                  </a:lnTo>
                  <a:lnTo>
                    <a:pt x="0" y="46"/>
                  </a:lnTo>
                  <a:lnTo>
                    <a:pt x="0" y="92"/>
                  </a:lnTo>
                  <a:lnTo>
                    <a:pt x="0" y="123"/>
                  </a:lnTo>
                  <a:lnTo>
                    <a:pt x="30" y="123"/>
                  </a:lnTo>
                  <a:lnTo>
                    <a:pt x="74" y="9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4" name="Freeform 509"/>
            <p:cNvSpPr>
              <a:spLocks/>
            </p:cNvSpPr>
            <p:nvPr/>
          </p:nvSpPr>
          <p:spPr bwMode="auto">
            <a:xfrm>
              <a:off x="7040" y="1563"/>
              <a:ext cx="111" cy="82"/>
            </a:xfrm>
            <a:custGeom>
              <a:avLst/>
              <a:gdLst>
                <a:gd name="T0" fmla="*/ 8 w 255"/>
                <a:gd name="T1" fmla="*/ 0 h 217"/>
                <a:gd name="T2" fmla="*/ 4 w 255"/>
                <a:gd name="T3" fmla="*/ 1 h 217"/>
                <a:gd name="T4" fmla="*/ 4 w 255"/>
                <a:gd name="T5" fmla="*/ 1 h 217"/>
                <a:gd name="T6" fmla="*/ 3 w 255"/>
                <a:gd name="T7" fmla="*/ 2 h 217"/>
                <a:gd name="T8" fmla="*/ 3 w 255"/>
                <a:gd name="T9" fmla="*/ 3 h 217"/>
                <a:gd name="T10" fmla="*/ 2 w 255"/>
                <a:gd name="T11" fmla="*/ 3 h 217"/>
                <a:gd name="T12" fmla="*/ 0 w 255"/>
                <a:gd name="T13" fmla="*/ 3 h 217"/>
                <a:gd name="T14" fmla="*/ 0 w 255"/>
                <a:gd name="T15" fmla="*/ 4 h 217"/>
                <a:gd name="T16" fmla="*/ 1 w 255"/>
                <a:gd name="T17" fmla="*/ 5 h 217"/>
                <a:gd name="T18" fmla="*/ 2 w 255"/>
                <a:gd name="T19" fmla="*/ 5 h 217"/>
                <a:gd name="T20" fmla="*/ 3 w 255"/>
                <a:gd name="T21" fmla="*/ 4 h 217"/>
                <a:gd name="T22" fmla="*/ 5 w 255"/>
                <a:gd name="T23" fmla="*/ 4 h 217"/>
                <a:gd name="T24" fmla="*/ 7 w 255"/>
                <a:gd name="T25" fmla="*/ 4 h 217"/>
                <a:gd name="T26" fmla="*/ 8 w 255"/>
                <a:gd name="T27" fmla="*/ 4 h 217"/>
                <a:gd name="T28" fmla="*/ 9 w 255"/>
                <a:gd name="T29" fmla="*/ 4 h 217"/>
                <a:gd name="T30" fmla="*/ 9 w 255"/>
                <a:gd name="T31" fmla="*/ 3 h 217"/>
                <a:gd name="T32" fmla="*/ 9 w 255"/>
                <a:gd name="T33" fmla="*/ 3 h 217"/>
                <a:gd name="T34" fmla="*/ 9 w 255"/>
                <a:gd name="T35" fmla="*/ 1 h 217"/>
                <a:gd name="T36" fmla="*/ 9 w 255"/>
                <a:gd name="T37" fmla="*/ 1 h 217"/>
                <a:gd name="T38" fmla="*/ 9 w 255"/>
                <a:gd name="T39" fmla="*/ 0 h 217"/>
                <a:gd name="T40" fmla="*/ 8 w 255"/>
                <a:gd name="T41" fmla="*/ 0 h 2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55" h="217">
                  <a:moveTo>
                    <a:pt x="224" y="0"/>
                  </a:moveTo>
                  <a:lnTo>
                    <a:pt x="120" y="46"/>
                  </a:lnTo>
                  <a:lnTo>
                    <a:pt x="105" y="62"/>
                  </a:lnTo>
                  <a:lnTo>
                    <a:pt x="75" y="77"/>
                  </a:lnTo>
                  <a:lnTo>
                    <a:pt x="75" y="139"/>
                  </a:lnTo>
                  <a:lnTo>
                    <a:pt x="60" y="154"/>
                  </a:lnTo>
                  <a:lnTo>
                    <a:pt x="0" y="154"/>
                  </a:lnTo>
                  <a:lnTo>
                    <a:pt x="15" y="201"/>
                  </a:lnTo>
                  <a:lnTo>
                    <a:pt x="30" y="216"/>
                  </a:lnTo>
                  <a:lnTo>
                    <a:pt x="60" y="216"/>
                  </a:lnTo>
                  <a:lnTo>
                    <a:pt x="75" y="185"/>
                  </a:lnTo>
                  <a:lnTo>
                    <a:pt x="149" y="201"/>
                  </a:lnTo>
                  <a:lnTo>
                    <a:pt x="179" y="185"/>
                  </a:lnTo>
                  <a:lnTo>
                    <a:pt x="224" y="185"/>
                  </a:lnTo>
                  <a:lnTo>
                    <a:pt x="239" y="185"/>
                  </a:lnTo>
                  <a:lnTo>
                    <a:pt x="239" y="154"/>
                  </a:lnTo>
                  <a:lnTo>
                    <a:pt x="254" y="139"/>
                  </a:lnTo>
                  <a:lnTo>
                    <a:pt x="254" y="62"/>
                  </a:lnTo>
                  <a:lnTo>
                    <a:pt x="254" y="46"/>
                  </a:lnTo>
                  <a:lnTo>
                    <a:pt x="254" y="15"/>
                  </a:lnTo>
                  <a:lnTo>
                    <a:pt x="224"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5" name="Freeform 510"/>
            <p:cNvSpPr>
              <a:spLocks/>
            </p:cNvSpPr>
            <p:nvPr/>
          </p:nvSpPr>
          <p:spPr bwMode="auto">
            <a:xfrm>
              <a:off x="7136" y="1563"/>
              <a:ext cx="84" cy="117"/>
            </a:xfrm>
            <a:custGeom>
              <a:avLst/>
              <a:gdLst>
                <a:gd name="T0" fmla="*/ 7 w 194"/>
                <a:gd name="T1" fmla="*/ 2 h 309"/>
                <a:gd name="T2" fmla="*/ 1 w 194"/>
                <a:gd name="T3" fmla="*/ 0 h 309"/>
                <a:gd name="T4" fmla="*/ 1 w 194"/>
                <a:gd name="T5" fmla="*/ 0 h 309"/>
                <a:gd name="T6" fmla="*/ 1 w 194"/>
                <a:gd name="T7" fmla="*/ 1 h 309"/>
                <a:gd name="T8" fmla="*/ 1 w 194"/>
                <a:gd name="T9" fmla="*/ 1 h 309"/>
                <a:gd name="T10" fmla="*/ 1 w 194"/>
                <a:gd name="T11" fmla="*/ 3 h 309"/>
                <a:gd name="T12" fmla="*/ 0 w 194"/>
                <a:gd name="T13" fmla="*/ 3 h 309"/>
                <a:gd name="T14" fmla="*/ 0 w 194"/>
                <a:gd name="T15" fmla="*/ 4 h 309"/>
                <a:gd name="T16" fmla="*/ 0 w 194"/>
                <a:gd name="T17" fmla="*/ 4 h 309"/>
                <a:gd name="T18" fmla="*/ 1 w 194"/>
                <a:gd name="T19" fmla="*/ 4 h 309"/>
                <a:gd name="T20" fmla="*/ 1 w 194"/>
                <a:gd name="T21" fmla="*/ 5 h 309"/>
                <a:gd name="T22" fmla="*/ 0 w 194"/>
                <a:gd name="T23" fmla="*/ 6 h 309"/>
                <a:gd name="T24" fmla="*/ 1 w 194"/>
                <a:gd name="T25" fmla="*/ 6 h 309"/>
                <a:gd name="T26" fmla="*/ 5 w 194"/>
                <a:gd name="T27" fmla="*/ 6 h 309"/>
                <a:gd name="T28" fmla="*/ 6 w 194"/>
                <a:gd name="T29" fmla="*/ 5 h 309"/>
                <a:gd name="T30" fmla="*/ 6 w 194"/>
                <a:gd name="T31" fmla="*/ 5 h 309"/>
                <a:gd name="T32" fmla="*/ 5 w 194"/>
                <a:gd name="T33" fmla="*/ 5 h 309"/>
                <a:gd name="T34" fmla="*/ 6 w 194"/>
                <a:gd name="T35" fmla="*/ 4 h 309"/>
                <a:gd name="T36" fmla="*/ 6 w 194"/>
                <a:gd name="T37" fmla="*/ 3 h 309"/>
                <a:gd name="T38" fmla="*/ 6 w 194"/>
                <a:gd name="T39" fmla="*/ 3 h 309"/>
                <a:gd name="T40" fmla="*/ 7 w 194"/>
                <a:gd name="T41" fmla="*/ 3 h 309"/>
                <a:gd name="T42" fmla="*/ 7 w 194"/>
                <a:gd name="T43" fmla="*/ 2 h 30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4" h="309">
                  <a:moveTo>
                    <a:pt x="193" y="77"/>
                  </a:moveTo>
                  <a:lnTo>
                    <a:pt x="45" y="0"/>
                  </a:lnTo>
                  <a:lnTo>
                    <a:pt x="30" y="15"/>
                  </a:lnTo>
                  <a:lnTo>
                    <a:pt x="30" y="46"/>
                  </a:lnTo>
                  <a:lnTo>
                    <a:pt x="30" y="62"/>
                  </a:lnTo>
                  <a:lnTo>
                    <a:pt x="30" y="139"/>
                  </a:lnTo>
                  <a:lnTo>
                    <a:pt x="15" y="154"/>
                  </a:lnTo>
                  <a:lnTo>
                    <a:pt x="15" y="185"/>
                  </a:lnTo>
                  <a:lnTo>
                    <a:pt x="0" y="185"/>
                  </a:lnTo>
                  <a:lnTo>
                    <a:pt x="30" y="200"/>
                  </a:lnTo>
                  <a:lnTo>
                    <a:pt x="45" y="262"/>
                  </a:lnTo>
                  <a:lnTo>
                    <a:pt x="15" y="277"/>
                  </a:lnTo>
                  <a:lnTo>
                    <a:pt x="45" y="308"/>
                  </a:lnTo>
                  <a:lnTo>
                    <a:pt x="134" y="277"/>
                  </a:lnTo>
                  <a:lnTo>
                    <a:pt x="163" y="246"/>
                  </a:lnTo>
                  <a:lnTo>
                    <a:pt x="178" y="231"/>
                  </a:lnTo>
                  <a:lnTo>
                    <a:pt x="148" y="216"/>
                  </a:lnTo>
                  <a:lnTo>
                    <a:pt x="163" y="185"/>
                  </a:lnTo>
                  <a:lnTo>
                    <a:pt x="163" y="169"/>
                  </a:lnTo>
                  <a:lnTo>
                    <a:pt x="163" y="139"/>
                  </a:lnTo>
                  <a:lnTo>
                    <a:pt x="193" y="154"/>
                  </a:lnTo>
                  <a:lnTo>
                    <a:pt x="193"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6" name="Line 511"/>
            <p:cNvSpPr>
              <a:spLocks noChangeShapeType="1"/>
            </p:cNvSpPr>
            <p:nvPr/>
          </p:nvSpPr>
          <p:spPr bwMode="auto">
            <a:xfrm>
              <a:off x="7099" y="1726"/>
              <a:ext cx="0"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7" name="Line 512"/>
            <p:cNvSpPr>
              <a:spLocks noChangeShapeType="1"/>
            </p:cNvSpPr>
            <p:nvPr/>
          </p:nvSpPr>
          <p:spPr bwMode="auto">
            <a:xfrm>
              <a:off x="7078" y="1341"/>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8" name="Freeform 513"/>
            <p:cNvSpPr>
              <a:spLocks/>
            </p:cNvSpPr>
            <p:nvPr/>
          </p:nvSpPr>
          <p:spPr bwMode="auto">
            <a:xfrm>
              <a:off x="7078" y="1301"/>
              <a:ext cx="58" cy="64"/>
            </a:xfrm>
            <a:custGeom>
              <a:avLst/>
              <a:gdLst>
                <a:gd name="T0" fmla="*/ 3 w 135"/>
                <a:gd name="T1" fmla="*/ 3 h 170"/>
                <a:gd name="T2" fmla="*/ 1 w 135"/>
                <a:gd name="T3" fmla="*/ 3 h 170"/>
                <a:gd name="T4" fmla="*/ 1 w 135"/>
                <a:gd name="T5" fmla="*/ 3 h 170"/>
                <a:gd name="T6" fmla="*/ 0 w 135"/>
                <a:gd name="T7" fmla="*/ 2 h 170"/>
                <a:gd name="T8" fmla="*/ 0 w 135"/>
                <a:gd name="T9" fmla="*/ 2 h 170"/>
                <a:gd name="T10" fmla="*/ 0 w 135"/>
                <a:gd name="T11" fmla="*/ 2 h 170"/>
                <a:gd name="T12" fmla="*/ 0 w 135"/>
                <a:gd name="T13" fmla="*/ 2 h 170"/>
                <a:gd name="T14" fmla="*/ 1 w 135"/>
                <a:gd name="T15" fmla="*/ 1 h 170"/>
                <a:gd name="T16" fmla="*/ 1 w 135"/>
                <a:gd name="T17" fmla="*/ 1 h 170"/>
                <a:gd name="T18" fmla="*/ 1 w 135"/>
                <a:gd name="T19" fmla="*/ 0 h 170"/>
                <a:gd name="T20" fmla="*/ 2 w 135"/>
                <a:gd name="T21" fmla="*/ 0 h 170"/>
                <a:gd name="T22" fmla="*/ 3 w 135"/>
                <a:gd name="T23" fmla="*/ 0 h 170"/>
                <a:gd name="T24" fmla="*/ 3 w 135"/>
                <a:gd name="T25" fmla="*/ 0 h 170"/>
                <a:gd name="T26" fmla="*/ 3 w 135"/>
                <a:gd name="T27" fmla="*/ 1 h 170"/>
                <a:gd name="T28" fmla="*/ 3 w 135"/>
                <a:gd name="T29" fmla="*/ 1 h 170"/>
                <a:gd name="T30" fmla="*/ 3 w 135"/>
                <a:gd name="T31" fmla="*/ 1 h 170"/>
                <a:gd name="T32" fmla="*/ 3 w 135"/>
                <a:gd name="T33" fmla="*/ 2 h 170"/>
                <a:gd name="T34" fmla="*/ 3 w 135"/>
                <a:gd name="T35" fmla="*/ 2 h 170"/>
                <a:gd name="T36" fmla="*/ 3 w 135"/>
                <a:gd name="T37" fmla="*/ 2 h 170"/>
                <a:gd name="T38" fmla="*/ 4 w 135"/>
                <a:gd name="T39" fmla="*/ 2 h 170"/>
                <a:gd name="T40" fmla="*/ 5 w 135"/>
                <a:gd name="T41" fmla="*/ 3 h 170"/>
                <a:gd name="T42" fmla="*/ 5 w 135"/>
                <a:gd name="T43" fmla="*/ 3 h 170"/>
                <a:gd name="T44" fmla="*/ 3 w 135"/>
                <a:gd name="T45" fmla="*/ 3 h 170"/>
                <a:gd name="T46" fmla="*/ 3 w 135"/>
                <a:gd name="T47" fmla="*/ 3 h 1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35" h="170">
                  <a:moveTo>
                    <a:pt x="74" y="169"/>
                  </a:moveTo>
                  <a:lnTo>
                    <a:pt x="45" y="154"/>
                  </a:lnTo>
                  <a:lnTo>
                    <a:pt x="45" y="138"/>
                  </a:lnTo>
                  <a:lnTo>
                    <a:pt x="15" y="108"/>
                  </a:lnTo>
                  <a:lnTo>
                    <a:pt x="0" y="108"/>
                  </a:lnTo>
                  <a:lnTo>
                    <a:pt x="15" y="92"/>
                  </a:lnTo>
                  <a:lnTo>
                    <a:pt x="15" y="77"/>
                  </a:lnTo>
                  <a:lnTo>
                    <a:pt x="30" y="46"/>
                  </a:lnTo>
                  <a:lnTo>
                    <a:pt x="30" y="31"/>
                  </a:lnTo>
                  <a:lnTo>
                    <a:pt x="45" y="15"/>
                  </a:lnTo>
                  <a:lnTo>
                    <a:pt x="60" y="0"/>
                  </a:lnTo>
                  <a:lnTo>
                    <a:pt x="74" y="0"/>
                  </a:lnTo>
                  <a:lnTo>
                    <a:pt x="89" y="15"/>
                  </a:lnTo>
                  <a:lnTo>
                    <a:pt x="89" y="31"/>
                  </a:lnTo>
                  <a:lnTo>
                    <a:pt x="89" y="46"/>
                  </a:lnTo>
                  <a:lnTo>
                    <a:pt x="74" y="61"/>
                  </a:lnTo>
                  <a:lnTo>
                    <a:pt x="74" y="77"/>
                  </a:lnTo>
                  <a:lnTo>
                    <a:pt x="74" y="92"/>
                  </a:lnTo>
                  <a:lnTo>
                    <a:pt x="89" y="92"/>
                  </a:lnTo>
                  <a:lnTo>
                    <a:pt x="119" y="108"/>
                  </a:lnTo>
                  <a:lnTo>
                    <a:pt x="134" y="138"/>
                  </a:lnTo>
                  <a:lnTo>
                    <a:pt x="134" y="154"/>
                  </a:lnTo>
                  <a:lnTo>
                    <a:pt x="89" y="154"/>
                  </a:lnTo>
                  <a:lnTo>
                    <a:pt x="74" y="16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89" name="Freeform 514"/>
            <p:cNvSpPr>
              <a:spLocks/>
            </p:cNvSpPr>
            <p:nvPr/>
          </p:nvSpPr>
          <p:spPr bwMode="auto">
            <a:xfrm>
              <a:off x="7130" y="1330"/>
              <a:ext cx="71" cy="30"/>
            </a:xfrm>
            <a:custGeom>
              <a:avLst/>
              <a:gdLst>
                <a:gd name="T0" fmla="*/ 3 w 165"/>
                <a:gd name="T1" fmla="*/ 0 h 78"/>
                <a:gd name="T2" fmla="*/ 1 w 165"/>
                <a:gd name="T3" fmla="*/ 0 h 78"/>
                <a:gd name="T4" fmla="*/ 0 w 165"/>
                <a:gd name="T5" fmla="*/ 0 h 78"/>
                <a:gd name="T6" fmla="*/ 0 w 165"/>
                <a:gd name="T7" fmla="*/ 1 h 78"/>
                <a:gd name="T8" fmla="*/ 0 w 165"/>
                <a:gd name="T9" fmla="*/ 1 h 78"/>
                <a:gd name="T10" fmla="*/ 1 w 165"/>
                <a:gd name="T11" fmla="*/ 1 h 78"/>
                <a:gd name="T12" fmla="*/ 1 w 165"/>
                <a:gd name="T13" fmla="*/ 1 h 78"/>
                <a:gd name="T14" fmla="*/ 2 w 165"/>
                <a:gd name="T15" fmla="*/ 1 h 78"/>
                <a:gd name="T16" fmla="*/ 3 w 165"/>
                <a:gd name="T17" fmla="*/ 2 h 78"/>
                <a:gd name="T18" fmla="*/ 3 w 165"/>
                <a:gd name="T19" fmla="*/ 2 h 78"/>
                <a:gd name="T20" fmla="*/ 3 w 165"/>
                <a:gd name="T21" fmla="*/ 1 h 78"/>
                <a:gd name="T22" fmla="*/ 5 w 165"/>
                <a:gd name="T23" fmla="*/ 1 h 78"/>
                <a:gd name="T24" fmla="*/ 5 w 165"/>
                <a:gd name="T25" fmla="*/ 1 h 78"/>
                <a:gd name="T26" fmla="*/ 6 w 165"/>
                <a:gd name="T27" fmla="*/ 1 h 78"/>
                <a:gd name="T28" fmla="*/ 5 w 165"/>
                <a:gd name="T29" fmla="*/ 1 h 78"/>
                <a:gd name="T30" fmla="*/ 3 w 165"/>
                <a:gd name="T31" fmla="*/ 1 h 78"/>
                <a:gd name="T32" fmla="*/ 3 w 165"/>
                <a:gd name="T33" fmla="*/ 0 h 7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5" h="78">
                  <a:moveTo>
                    <a:pt x="75" y="15"/>
                  </a:moveTo>
                  <a:lnTo>
                    <a:pt x="30" y="0"/>
                  </a:lnTo>
                  <a:lnTo>
                    <a:pt x="0" y="15"/>
                  </a:lnTo>
                  <a:lnTo>
                    <a:pt x="0" y="31"/>
                  </a:lnTo>
                  <a:lnTo>
                    <a:pt x="15" y="62"/>
                  </a:lnTo>
                  <a:lnTo>
                    <a:pt x="30" y="62"/>
                  </a:lnTo>
                  <a:lnTo>
                    <a:pt x="45" y="46"/>
                  </a:lnTo>
                  <a:lnTo>
                    <a:pt x="60" y="62"/>
                  </a:lnTo>
                  <a:lnTo>
                    <a:pt x="75" y="77"/>
                  </a:lnTo>
                  <a:lnTo>
                    <a:pt x="104" y="77"/>
                  </a:lnTo>
                  <a:lnTo>
                    <a:pt x="104" y="62"/>
                  </a:lnTo>
                  <a:lnTo>
                    <a:pt x="134" y="62"/>
                  </a:lnTo>
                  <a:lnTo>
                    <a:pt x="149" y="62"/>
                  </a:lnTo>
                  <a:lnTo>
                    <a:pt x="164" y="62"/>
                  </a:lnTo>
                  <a:lnTo>
                    <a:pt x="134" y="31"/>
                  </a:lnTo>
                  <a:lnTo>
                    <a:pt x="104" y="31"/>
                  </a:lnTo>
                  <a:lnTo>
                    <a:pt x="7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90" name="Freeform 515"/>
            <p:cNvSpPr>
              <a:spLocks/>
            </p:cNvSpPr>
            <p:nvPr/>
          </p:nvSpPr>
          <p:spPr bwMode="auto">
            <a:xfrm>
              <a:off x="7111" y="1301"/>
              <a:ext cx="32" cy="42"/>
            </a:xfrm>
            <a:custGeom>
              <a:avLst/>
              <a:gdLst>
                <a:gd name="T0" fmla="*/ 0 w 75"/>
                <a:gd name="T1" fmla="*/ 0 h 109"/>
                <a:gd name="T2" fmla="*/ 0 w 75"/>
                <a:gd name="T3" fmla="*/ 1 h 109"/>
                <a:gd name="T4" fmla="*/ 0 w 75"/>
                <a:gd name="T5" fmla="*/ 1 h 109"/>
                <a:gd name="T6" fmla="*/ 0 w 75"/>
                <a:gd name="T7" fmla="*/ 1 h 109"/>
                <a:gd name="T8" fmla="*/ 0 w 75"/>
                <a:gd name="T9" fmla="*/ 1 h 109"/>
                <a:gd name="T10" fmla="*/ 0 w 75"/>
                <a:gd name="T11" fmla="*/ 2 h 109"/>
                <a:gd name="T12" fmla="*/ 0 w 75"/>
                <a:gd name="T13" fmla="*/ 2 h 109"/>
                <a:gd name="T14" fmla="*/ 0 w 75"/>
                <a:gd name="T15" fmla="*/ 2 h 109"/>
                <a:gd name="T16" fmla="*/ 1 w 75"/>
                <a:gd name="T17" fmla="*/ 2 h 109"/>
                <a:gd name="T18" fmla="*/ 1 w 75"/>
                <a:gd name="T19" fmla="*/ 2 h 109"/>
                <a:gd name="T20" fmla="*/ 3 w 75"/>
                <a:gd name="T21" fmla="*/ 2 h 109"/>
                <a:gd name="T22" fmla="*/ 2 w 75"/>
                <a:gd name="T23" fmla="*/ 1 h 109"/>
                <a:gd name="T24" fmla="*/ 3 w 75"/>
                <a:gd name="T25" fmla="*/ 0 h 109"/>
                <a:gd name="T26" fmla="*/ 1 w 75"/>
                <a:gd name="T27" fmla="*/ 0 h 109"/>
                <a:gd name="T28" fmla="*/ 0 w 75"/>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5" h="109">
                  <a:moveTo>
                    <a:pt x="15" y="15"/>
                  </a:moveTo>
                  <a:lnTo>
                    <a:pt x="15" y="31"/>
                  </a:lnTo>
                  <a:lnTo>
                    <a:pt x="15" y="46"/>
                  </a:lnTo>
                  <a:lnTo>
                    <a:pt x="15" y="62"/>
                  </a:lnTo>
                  <a:lnTo>
                    <a:pt x="0" y="62"/>
                  </a:lnTo>
                  <a:lnTo>
                    <a:pt x="0" y="77"/>
                  </a:lnTo>
                  <a:lnTo>
                    <a:pt x="0" y="93"/>
                  </a:lnTo>
                  <a:lnTo>
                    <a:pt x="15" y="93"/>
                  </a:lnTo>
                  <a:lnTo>
                    <a:pt x="30" y="108"/>
                  </a:lnTo>
                  <a:lnTo>
                    <a:pt x="44" y="108"/>
                  </a:lnTo>
                  <a:lnTo>
                    <a:pt x="74" y="77"/>
                  </a:lnTo>
                  <a:lnTo>
                    <a:pt x="59" y="31"/>
                  </a:lnTo>
                  <a:lnTo>
                    <a:pt x="74" y="15"/>
                  </a:lnTo>
                  <a:lnTo>
                    <a:pt x="44" y="0"/>
                  </a:lnTo>
                  <a:lnTo>
                    <a:pt x="1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91" name="Freeform 516"/>
            <p:cNvSpPr>
              <a:spLocks/>
            </p:cNvSpPr>
            <p:nvPr/>
          </p:nvSpPr>
          <p:spPr bwMode="auto">
            <a:xfrm>
              <a:off x="7092" y="1365"/>
              <a:ext cx="83" cy="76"/>
            </a:xfrm>
            <a:custGeom>
              <a:avLst/>
              <a:gdLst>
                <a:gd name="T0" fmla="*/ 0 w 196"/>
                <a:gd name="T1" fmla="*/ 2 h 201"/>
                <a:gd name="T2" fmla="*/ 1 w 196"/>
                <a:gd name="T3" fmla="*/ 1 h 201"/>
                <a:gd name="T4" fmla="*/ 1 w 196"/>
                <a:gd name="T5" fmla="*/ 2 h 201"/>
                <a:gd name="T6" fmla="*/ 2 w 196"/>
                <a:gd name="T7" fmla="*/ 2 h 201"/>
                <a:gd name="T8" fmla="*/ 3 w 196"/>
                <a:gd name="T9" fmla="*/ 3 h 201"/>
                <a:gd name="T10" fmla="*/ 4 w 196"/>
                <a:gd name="T11" fmla="*/ 3 h 201"/>
                <a:gd name="T12" fmla="*/ 5 w 196"/>
                <a:gd name="T13" fmla="*/ 3 h 201"/>
                <a:gd name="T14" fmla="*/ 5 w 196"/>
                <a:gd name="T15" fmla="*/ 4 h 201"/>
                <a:gd name="T16" fmla="*/ 5 w 196"/>
                <a:gd name="T17" fmla="*/ 4 h 201"/>
                <a:gd name="T18" fmla="*/ 6 w 196"/>
                <a:gd name="T19" fmla="*/ 4 h 201"/>
                <a:gd name="T20" fmla="*/ 6 w 196"/>
                <a:gd name="T21" fmla="*/ 3 h 201"/>
                <a:gd name="T22" fmla="*/ 6 w 196"/>
                <a:gd name="T23" fmla="*/ 3 h 201"/>
                <a:gd name="T24" fmla="*/ 6 w 196"/>
                <a:gd name="T25" fmla="*/ 3 h 201"/>
                <a:gd name="T26" fmla="*/ 6 w 196"/>
                <a:gd name="T27" fmla="*/ 3 h 201"/>
                <a:gd name="T28" fmla="*/ 5 w 196"/>
                <a:gd name="T29" fmla="*/ 3 h 201"/>
                <a:gd name="T30" fmla="*/ 4 w 196"/>
                <a:gd name="T31" fmla="*/ 2 h 201"/>
                <a:gd name="T32" fmla="*/ 3 w 196"/>
                <a:gd name="T33" fmla="*/ 2 h 201"/>
                <a:gd name="T34" fmla="*/ 3 w 196"/>
                <a:gd name="T35" fmla="*/ 2 h 201"/>
                <a:gd name="T36" fmla="*/ 3 w 196"/>
                <a:gd name="T37" fmla="*/ 1 h 201"/>
                <a:gd name="T38" fmla="*/ 3 w 196"/>
                <a:gd name="T39" fmla="*/ 1 h 201"/>
                <a:gd name="T40" fmla="*/ 3 w 196"/>
                <a:gd name="T41" fmla="*/ 1 h 201"/>
                <a:gd name="T42" fmla="*/ 3 w 196"/>
                <a:gd name="T43" fmla="*/ 0 h 201"/>
                <a:gd name="T44" fmla="*/ 3 w 196"/>
                <a:gd name="T45" fmla="*/ 0 h 201"/>
                <a:gd name="T46" fmla="*/ 1 w 196"/>
                <a:gd name="T47" fmla="*/ 0 h 201"/>
                <a:gd name="T48" fmla="*/ 1 w 196"/>
                <a:gd name="T49" fmla="*/ 1 h 201"/>
                <a:gd name="T50" fmla="*/ 0 w 196"/>
                <a:gd name="T51" fmla="*/ 1 h 201"/>
                <a:gd name="T52" fmla="*/ 0 w 196"/>
                <a:gd name="T53" fmla="*/ 1 h 201"/>
                <a:gd name="T54" fmla="*/ 0 w 196"/>
                <a:gd name="T55" fmla="*/ 1 h 201"/>
                <a:gd name="T56" fmla="*/ 0 w 196"/>
                <a:gd name="T57" fmla="*/ 2 h 20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96" h="201">
                  <a:moveTo>
                    <a:pt x="15" y="77"/>
                  </a:moveTo>
                  <a:lnTo>
                    <a:pt x="30" y="62"/>
                  </a:lnTo>
                  <a:lnTo>
                    <a:pt x="45" y="77"/>
                  </a:lnTo>
                  <a:lnTo>
                    <a:pt x="60" y="92"/>
                  </a:lnTo>
                  <a:lnTo>
                    <a:pt x="105" y="138"/>
                  </a:lnTo>
                  <a:lnTo>
                    <a:pt x="120" y="138"/>
                  </a:lnTo>
                  <a:lnTo>
                    <a:pt x="150" y="154"/>
                  </a:lnTo>
                  <a:lnTo>
                    <a:pt x="150" y="185"/>
                  </a:lnTo>
                  <a:lnTo>
                    <a:pt x="150" y="200"/>
                  </a:lnTo>
                  <a:lnTo>
                    <a:pt x="165" y="200"/>
                  </a:lnTo>
                  <a:lnTo>
                    <a:pt x="180" y="169"/>
                  </a:lnTo>
                  <a:lnTo>
                    <a:pt x="165" y="169"/>
                  </a:lnTo>
                  <a:lnTo>
                    <a:pt x="180" y="154"/>
                  </a:lnTo>
                  <a:lnTo>
                    <a:pt x="195" y="154"/>
                  </a:lnTo>
                  <a:lnTo>
                    <a:pt x="150" y="123"/>
                  </a:lnTo>
                  <a:lnTo>
                    <a:pt x="120" y="108"/>
                  </a:lnTo>
                  <a:lnTo>
                    <a:pt x="105" y="77"/>
                  </a:lnTo>
                  <a:lnTo>
                    <a:pt x="90" y="77"/>
                  </a:lnTo>
                  <a:lnTo>
                    <a:pt x="90" y="46"/>
                  </a:lnTo>
                  <a:lnTo>
                    <a:pt x="105" y="46"/>
                  </a:lnTo>
                  <a:lnTo>
                    <a:pt x="105" y="31"/>
                  </a:lnTo>
                  <a:lnTo>
                    <a:pt x="105" y="15"/>
                  </a:lnTo>
                  <a:lnTo>
                    <a:pt x="90" y="0"/>
                  </a:lnTo>
                  <a:lnTo>
                    <a:pt x="45" y="15"/>
                  </a:lnTo>
                  <a:lnTo>
                    <a:pt x="30" y="31"/>
                  </a:lnTo>
                  <a:lnTo>
                    <a:pt x="15" y="31"/>
                  </a:lnTo>
                  <a:lnTo>
                    <a:pt x="0" y="31"/>
                  </a:lnTo>
                  <a:lnTo>
                    <a:pt x="0" y="46"/>
                  </a:lnTo>
                  <a:lnTo>
                    <a:pt x="15"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92" name="Freeform 517"/>
            <p:cNvSpPr>
              <a:spLocks/>
            </p:cNvSpPr>
            <p:nvPr/>
          </p:nvSpPr>
          <p:spPr bwMode="auto">
            <a:xfrm>
              <a:off x="7136" y="1441"/>
              <a:ext cx="21" cy="12"/>
            </a:xfrm>
            <a:custGeom>
              <a:avLst/>
              <a:gdLst>
                <a:gd name="T0" fmla="*/ 2 w 46"/>
                <a:gd name="T1" fmla="*/ 0 h 31"/>
                <a:gd name="T2" fmla="*/ 1 w 46"/>
                <a:gd name="T3" fmla="*/ 0 h 31"/>
                <a:gd name="T4" fmla="*/ 0 w 46"/>
                <a:gd name="T5" fmla="*/ 0 h 31"/>
                <a:gd name="T6" fmla="*/ 0 w 46"/>
                <a:gd name="T7" fmla="*/ 0 h 31"/>
                <a:gd name="T8" fmla="*/ 1 w 46"/>
                <a:gd name="T9" fmla="*/ 1 h 31"/>
                <a:gd name="T10" fmla="*/ 2 w 46"/>
                <a:gd name="T11" fmla="*/ 0 h 31"/>
                <a:gd name="T12" fmla="*/ 1 w 46"/>
                <a:gd name="T13" fmla="*/ 0 h 31"/>
                <a:gd name="T14" fmla="*/ 2 w 46"/>
                <a:gd name="T15" fmla="*/ 0 h 3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31">
                  <a:moveTo>
                    <a:pt x="45" y="0"/>
                  </a:moveTo>
                  <a:lnTo>
                    <a:pt x="30" y="0"/>
                  </a:lnTo>
                  <a:lnTo>
                    <a:pt x="0" y="0"/>
                  </a:lnTo>
                  <a:lnTo>
                    <a:pt x="0" y="15"/>
                  </a:lnTo>
                  <a:lnTo>
                    <a:pt x="30" y="30"/>
                  </a:lnTo>
                  <a:lnTo>
                    <a:pt x="45" y="15"/>
                  </a:lnTo>
                  <a:lnTo>
                    <a:pt x="30" y="15"/>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93" name="Freeform 518"/>
            <p:cNvSpPr>
              <a:spLocks/>
            </p:cNvSpPr>
            <p:nvPr/>
          </p:nvSpPr>
          <p:spPr bwMode="auto">
            <a:xfrm>
              <a:off x="7105" y="1417"/>
              <a:ext cx="7" cy="18"/>
            </a:xfrm>
            <a:custGeom>
              <a:avLst/>
              <a:gdLst>
                <a:gd name="T0" fmla="*/ 0 w 17"/>
                <a:gd name="T1" fmla="*/ 0 h 47"/>
                <a:gd name="T2" fmla="*/ 0 w 17"/>
                <a:gd name="T3" fmla="*/ 1 h 47"/>
                <a:gd name="T4" fmla="*/ 0 w 17"/>
                <a:gd name="T5" fmla="*/ 1 h 47"/>
                <a:gd name="T6" fmla="*/ 0 w 17"/>
                <a:gd name="T7" fmla="*/ 1 h 47"/>
                <a:gd name="T8" fmla="*/ 0 w 17"/>
                <a:gd name="T9" fmla="*/ 0 h 47"/>
                <a:gd name="T10" fmla="*/ 0 w 17"/>
                <a:gd name="T11" fmla="*/ 0 h 47"/>
                <a:gd name="T12" fmla="*/ 0 w 17"/>
                <a:gd name="T13" fmla="*/ 0 h 4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 h="47">
                  <a:moveTo>
                    <a:pt x="0" y="15"/>
                  </a:moveTo>
                  <a:lnTo>
                    <a:pt x="0" y="31"/>
                  </a:lnTo>
                  <a:lnTo>
                    <a:pt x="0" y="46"/>
                  </a:lnTo>
                  <a:lnTo>
                    <a:pt x="16" y="31"/>
                  </a:lnTo>
                  <a:lnTo>
                    <a:pt x="16" y="15"/>
                  </a:lnTo>
                  <a:lnTo>
                    <a:pt x="0" y="0"/>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94" name="Freeform 519"/>
            <p:cNvSpPr>
              <a:spLocks/>
            </p:cNvSpPr>
            <p:nvPr/>
          </p:nvSpPr>
          <p:spPr bwMode="auto">
            <a:xfrm>
              <a:off x="7085" y="1359"/>
              <a:ext cx="26" cy="18"/>
            </a:xfrm>
            <a:custGeom>
              <a:avLst/>
              <a:gdLst>
                <a:gd name="T0" fmla="*/ 2 w 60"/>
                <a:gd name="T1" fmla="*/ 0 h 47"/>
                <a:gd name="T2" fmla="*/ 1 w 60"/>
                <a:gd name="T3" fmla="*/ 0 h 47"/>
                <a:gd name="T4" fmla="*/ 0 w 60"/>
                <a:gd name="T5" fmla="*/ 1 h 47"/>
                <a:gd name="T6" fmla="*/ 0 w 60"/>
                <a:gd name="T7" fmla="*/ 1 h 47"/>
                <a:gd name="T8" fmla="*/ 0 w 60"/>
                <a:gd name="T9" fmla="*/ 1 h 47"/>
                <a:gd name="T10" fmla="*/ 1 w 60"/>
                <a:gd name="T11" fmla="*/ 1 h 47"/>
                <a:gd name="T12" fmla="*/ 1 w 60"/>
                <a:gd name="T13" fmla="*/ 1 h 47"/>
                <a:gd name="T14" fmla="*/ 2 w 60"/>
                <a:gd name="T15" fmla="*/ 1 h 47"/>
                <a:gd name="T16" fmla="*/ 2 w 60"/>
                <a:gd name="T17" fmla="*/ 0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47">
                  <a:moveTo>
                    <a:pt x="59" y="15"/>
                  </a:moveTo>
                  <a:lnTo>
                    <a:pt x="30" y="0"/>
                  </a:lnTo>
                  <a:lnTo>
                    <a:pt x="0" y="31"/>
                  </a:lnTo>
                  <a:lnTo>
                    <a:pt x="0" y="46"/>
                  </a:lnTo>
                  <a:lnTo>
                    <a:pt x="15" y="46"/>
                  </a:lnTo>
                  <a:lnTo>
                    <a:pt x="30" y="46"/>
                  </a:lnTo>
                  <a:lnTo>
                    <a:pt x="44" y="46"/>
                  </a:lnTo>
                  <a:lnTo>
                    <a:pt x="59" y="31"/>
                  </a:lnTo>
                  <a:lnTo>
                    <a:pt x="59"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95" name="Freeform 520"/>
            <p:cNvSpPr>
              <a:spLocks/>
            </p:cNvSpPr>
            <p:nvPr/>
          </p:nvSpPr>
          <p:spPr bwMode="auto">
            <a:xfrm>
              <a:off x="7111" y="1347"/>
              <a:ext cx="51" cy="25"/>
            </a:xfrm>
            <a:custGeom>
              <a:avLst/>
              <a:gdLst>
                <a:gd name="T0" fmla="*/ 2 w 120"/>
                <a:gd name="T1" fmla="*/ 0 h 63"/>
                <a:gd name="T2" fmla="*/ 2 w 120"/>
                <a:gd name="T3" fmla="*/ 1 h 63"/>
                <a:gd name="T4" fmla="*/ 0 w 120"/>
                <a:gd name="T5" fmla="*/ 1 h 63"/>
                <a:gd name="T6" fmla="*/ 0 w 120"/>
                <a:gd name="T7" fmla="*/ 1 h 63"/>
                <a:gd name="T8" fmla="*/ 0 w 120"/>
                <a:gd name="T9" fmla="*/ 2 h 63"/>
                <a:gd name="T10" fmla="*/ 1 w 120"/>
                <a:gd name="T11" fmla="*/ 1 h 63"/>
                <a:gd name="T12" fmla="*/ 2 w 120"/>
                <a:gd name="T13" fmla="*/ 2 h 63"/>
                <a:gd name="T14" fmla="*/ 3 w 120"/>
                <a:gd name="T15" fmla="*/ 2 h 63"/>
                <a:gd name="T16" fmla="*/ 4 w 120"/>
                <a:gd name="T17" fmla="*/ 1 h 63"/>
                <a:gd name="T18" fmla="*/ 3 w 120"/>
                <a:gd name="T19" fmla="*/ 0 h 63"/>
                <a:gd name="T20" fmla="*/ 3 w 120"/>
                <a:gd name="T21" fmla="*/ 0 h 63"/>
                <a:gd name="T22" fmla="*/ 3 w 120"/>
                <a:gd name="T23" fmla="*/ 0 h 63"/>
                <a:gd name="T24" fmla="*/ 2 w 120"/>
                <a:gd name="T25" fmla="*/ 0 h 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0" h="63">
                  <a:moveTo>
                    <a:pt x="60" y="16"/>
                  </a:moveTo>
                  <a:lnTo>
                    <a:pt x="60" y="31"/>
                  </a:lnTo>
                  <a:lnTo>
                    <a:pt x="15" y="31"/>
                  </a:lnTo>
                  <a:lnTo>
                    <a:pt x="0" y="47"/>
                  </a:lnTo>
                  <a:lnTo>
                    <a:pt x="0" y="62"/>
                  </a:lnTo>
                  <a:lnTo>
                    <a:pt x="45" y="47"/>
                  </a:lnTo>
                  <a:lnTo>
                    <a:pt x="60" y="62"/>
                  </a:lnTo>
                  <a:lnTo>
                    <a:pt x="104" y="62"/>
                  </a:lnTo>
                  <a:lnTo>
                    <a:pt x="119" y="31"/>
                  </a:lnTo>
                  <a:lnTo>
                    <a:pt x="104" y="16"/>
                  </a:lnTo>
                  <a:lnTo>
                    <a:pt x="89" y="0"/>
                  </a:lnTo>
                  <a:lnTo>
                    <a:pt x="74" y="16"/>
                  </a:lnTo>
                  <a:lnTo>
                    <a:pt x="6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96" name="Freeform 521"/>
            <p:cNvSpPr>
              <a:spLocks/>
            </p:cNvSpPr>
            <p:nvPr/>
          </p:nvSpPr>
          <p:spPr bwMode="auto">
            <a:xfrm>
              <a:off x="7156" y="1353"/>
              <a:ext cx="45" cy="24"/>
            </a:xfrm>
            <a:custGeom>
              <a:avLst/>
              <a:gdLst>
                <a:gd name="T0" fmla="*/ 3 w 105"/>
                <a:gd name="T1" fmla="*/ 0 h 62"/>
                <a:gd name="T2" fmla="*/ 3 w 105"/>
                <a:gd name="T3" fmla="*/ 0 h 62"/>
                <a:gd name="T4" fmla="*/ 1 w 105"/>
                <a:gd name="T5" fmla="*/ 0 h 62"/>
                <a:gd name="T6" fmla="*/ 1 w 105"/>
                <a:gd name="T7" fmla="*/ 0 h 62"/>
                <a:gd name="T8" fmla="*/ 0 w 105"/>
                <a:gd name="T9" fmla="*/ 0 h 62"/>
                <a:gd name="T10" fmla="*/ 0 w 105"/>
                <a:gd name="T11" fmla="*/ 1 h 62"/>
                <a:gd name="T12" fmla="*/ 1 w 105"/>
                <a:gd name="T13" fmla="*/ 1 h 62"/>
                <a:gd name="T14" fmla="*/ 1 w 105"/>
                <a:gd name="T15" fmla="*/ 1 h 62"/>
                <a:gd name="T16" fmla="*/ 3 w 105"/>
                <a:gd name="T17" fmla="*/ 1 h 62"/>
                <a:gd name="T18" fmla="*/ 3 w 105"/>
                <a:gd name="T19" fmla="*/ 1 h 62"/>
                <a:gd name="T20" fmla="*/ 3 w 105"/>
                <a:gd name="T21" fmla="*/ 0 h 62"/>
                <a:gd name="T22" fmla="*/ 3 w 105"/>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5" h="62">
                  <a:moveTo>
                    <a:pt x="89" y="0"/>
                  </a:moveTo>
                  <a:lnTo>
                    <a:pt x="74" y="0"/>
                  </a:lnTo>
                  <a:lnTo>
                    <a:pt x="45" y="0"/>
                  </a:lnTo>
                  <a:lnTo>
                    <a:pt x="45" y="15"/>
                  </a:lnTo>
                  <a:lnTo>
                    <a:pt x="15" y="15"/>
                  </a:lnTo>
                  <a:lnTo>
                    <a:pt x="0" y="46"/>
                  </a:lnTo>
                  <a:lnTo>
                    <a:pt x="30" y="61"/>
                  </a:lnTo>
                  <a:lnTo>
                    <a:pt x="45" y="46"/>
                  </a:lnTo>
                  <a:lnTo>
                    <a:pt x="74" y="61"/>
                  </a:lnTo>
                  <a:lnTo>
                    <a:pt x="89" y="31"/>
                  </a:lnTo>
                  <a:lnTo>
                    <a:pt x="104" y="15"/>
                  </a:lnTo>
                  <a:lnTo>
                    <a:pt x="8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97" name="Freeform 522"/>
            <p:cNvSpPr>
              <a:spLocks/>
            </p:cNvSpPr>
            <p:nvPr/>
          </p:nvSpPr>
          <p:spPr bwMode="auto">
            <a:xfrm>
              <a:off x="7180" y="1406"/>
              <a:ext cx="15" cy="23"/>
            </a:xfrm>
            <a:custGeom>
              <a:avLst/>
              <a:gdLst>
                <a:gd name="T0" fmla="*/ 0 w 30"/>
                <a:gd name="T1" fmla="*/ 0 h 62"/>
                <a:gd name="T2" fmla="*/ 0 w 30"/>
                <a:gd name="T3" fmla="*/ 1 h 62"/>
                <a:gd name="T4" fmla="*/ 2 w 30"/>
                <a:gd name="T5" fmla="*/ 1 h 62"/>
                <a:gd name="T6" fmla="*/ 2 w 30"/>
                <a:gd name="T7" fmla="*/ 1 h 62"/>
                <a:gd name="T8" fmla="*/ 1 w 30"/>
                <a:gd name="T9" fmla="*/ 0 h 62"/>
                <a:gd name="T10" fmla="*/ 0 w 30"/>
                <a:gd name="T11" fmla="*/ 0 h 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62">
                  <a:moveTo>
                    <a:pt x="0" y="15"/>
                  </a:moveTo>
                  <a:lnTo>
                    <a:pt x="0" y="46"/>
                  </a:lnTo>
                  <a:lnTo>
                    <a:pt x="29" y="61"/>
                  </a:lnTo>
                  <a:lnTo>
                    <a:pt x="29" y="46"/>
                  </a:lnTo>
                  <a:lnTo>
                    <a:pt x="15" y="0"/>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898" name="Oval 523"/>
            <p:cNvSpPr>
              <a:spLocks noChangeArrowheads="1"/>
            </p:cNvSpPr>
            <p:nvPr/>
          </p:nvSpPr>
          <p:spPr bwMode="auto">
            <a:xfrm>
              <a:off x="7130" y="1453"/>
              <a:ext cx="6"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899" name="Freeform 524"/>
            <p:cNvSpPr>
              <a:spLocks/>
            </p:cNvSpPr>
            <p:nvPr/>
          </p:nvSpPr>
          <p:spPr bwMode="auto">
            <a:xfrm>
              <a:off x="7099" y="1452"/>
              <a:ext cx="31" cy="53"/>
            </a:xfrm>
            <a:custGeom>
              <a:avLst/>
              <a:gdLst>
                <a:gd name="T0" fmla="*/ 0 w 75"/>
                <a:gd name="T1" fmla="*/ 0 h 140"/>
                <a:gd name="T2" fmla="*/ 0 w 75"/>
                <a:gd name="T3" fmla="*/ 1 h 140"/>
                <a:gd name="T4" fmla="*/ 0 w 75"/>
                <a:gd name="T5" fmla="*/ 1 h 140"/>
                <a:gd name="T6" fmla="*/ 0 w 75"/>
                <a:gd name="T7" fmla="*/ 2 h 140"/>
                <a:gd name="T8" fmla="*/ 1 w 75"/>
                <a:gd name="T9" fmla="*/ 2 h 140"/>
                <a:gd name="T10" fmla="*/ 1 w 75"/>
                <a:gd name="T11" fmla="*/ 3 h 140"/>
                <a:gd name="T12" fmla="*/ 1 w 75"/>
                <a:gd name="T13" fmla="*/ 3 h 140"/>
                <a:gd name="T14" fmla="*/ 1 w 75"/>
                <a:gd name="T15" fmla="*/ 2 h 140"/>
                <a:gd name="T16" fmla="*/ 2 w 75"/>
                <a:gd name="T17" fmla="*/ 2 h 140"/>
                <a:gd name="T18" fmla="*/ 2 w 75"/>
                <a:gd name="T19" fmla="*/ 2 h 140"/>
                <a:gd name="T20" fmla="*/ 1 w 75"/>
                <a:gd name="T21" fmla="*/ 2 h 140"/>
                <a:gd name="T22" fmla="*/ 2 w 75"/>
                <a:gd name="T23" fmla="*/ 0 h 140"/>
                <a:gd name="T24" fmla="*/ 1 w 75"/>
                <a:gd name="T25" fmla="*/ 0 h 140"/>
                <a:gd name="T26" fmla="*/ 0 w 75"/>
                <a:gd name="T27" fmla="*/ 0 h 1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5" h="140">
                  <a:moveTo>
                    <a:pt x="15" y="15"/>
                  </a:moveTo>
                  <a:lnTo>
                    <a:pt x="15" y="46"/>
                  </a:lnTo>
                  <a:lnTo>
                    <a:pt x="0" y="62"/>
                  </a:lnTo>
                  <a:lnTo>
                    <a:pt x="0" y="93"/>
                  </a:lnTo>
                  <a:lnTo>
                    <a:pt x="30" y="108"/>
                  </a:lnTo>
                  <a:lnTo>
                    <a:pt x="30" y="139"/>
                  </a:lnTo>
                  <a:lnTo>
                    <a:pt x="44" y="139"/>
                  </a:lnTo>
                  <a:lnTo>
                    <a:pt x="44" y="108"/>
                  </a:lnTo>
                  <a:lnTo>
                    <a:pt x="59" y="108"/>
                  </a:lnTo>
                  <a:lnTo>
                    <a:pt x="74" y="93"/>
                  </a:lnTo>
                  <a:lnTo>
                    <a:pt x="44" y="77"/>
                  </a:lnTo>
                  <a:lnTo>
                    <a:pt x="59" y="15"/>
                  </a:lnTo>
                  <a:lnTo>
                    <a:pt x="44" y="0"/>
                  </a:lnTo>
                  <a:lnTo>
                    <a:pt x="1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0" name="Freeform 525"/>
            <p:cNvSpPr>
              <a:spLocks/>
            </p:cNvSpPr>
            <p:nvPr/>
          </p:nvSpPr>
          <p:spPr bwMode="auto">
            <a:xfrm>
              <a:off x="7111" y="1487"/>
              <a:ext cx="116" cy="105"/>
            </a:xfrm>
            <a:custGeom>
              <a:avLst/>
              <a:gdLst>
                <a:gd name="T0" fmla="*/ 1 w 270"/>
                <a:gd name="T1" fmla="*/ 0 h 278"/>
                <a:gd name="T2" fmla="*/ 1 w 270"/>
                <a:gd name="T3" fmla="*/ 0 h 278"/>
                <a:gd name="T4" fmla="*/ 0 w 270"/>
                <a:gd name="T5" fmla="*/ 0 h 278"/>
                <a:gd name="T6" fmla="*/ 0 w 270"/>
                <a:gd name="T7" fmla="*/ 1 h 278"/>
                <a:gd name="T8" fmla="*/ 0 w 270"/>
                <a:gd name="T9" fmla="*/ 1 h 278"/>
                <a:gd name="T10" fmla="*/ 0 w 270"/>
                <a:gd name="T11" fmla="*/ 2 h 278"/>
                <a:gd name="T12" fmla="*/ 0 w 270"/>
                <a:gd name="T13" fmla="*/ 2 h 278"/>
                <a:gd name="T14" fmla="*/ 0 w 270"/>
                <a:gd name="T15" fmla="*/ 3 h 278"/>
                <a:gd name="T16" fmla="*/ 0 w 270"/>
                <a:gd name="T17" fmla="*/ 3 h 278"/>
                <a:gd name="T18" fmla="*/ 2 w 270"/>
                <a:gd name="T19" fmla="*/ 4 h 278"/>
                <a:gd name="T20" fmla="*/ 3 w 270"/>
                <a:gd name="T21" fmla="*/ 5 h 278"/>
                <a:gd name="T22" fmla="*/ 3 w 270"/>
                <a:gd name="T23" fmla="*/ 4 h 278"/>
                <a:gd name="T24" fmla="*/ 9 w 270"/>
                <a:gd name="T25" fmla="*/ 6 h 278"/>
                <a:gd name="T26" fmla="*/ 9 w 270"/>
                <a:gd name="T27" fmla="*/ 5 h 278"/>
                <a:gd name="T28" fmla="*/ 9 w 270"/>
                <a:gd name="T29" fmla="*/ 5 h 278"/>
                <a:gd name="T30" fmla="*/ 9 w 270"/>
                <a:gd name="T31" fmla="*/ 5 h 278"/>
                <a:gd name="T32" fmla="*/ 9 w 270"/>
                <a:gd name="T33" fmla="*/ 2 h 278"/>
                <a:gd name="T34" fmla="*/ 9 w 270"/>
                <a:gd name="T35" fmla="*/ 1 h 278"/>
                <a:gd name="T36" fmla="*/ 9 w 270"/>
                <a:gd name="T37" fmla="*/ 1 h 278"/>
                <a:gd name="T38" fmla="*/ 7 w 270"/>
                <a:gd name="T39" fmla="*/ 0 h 278"/>
                <a:gd name="T40" fmla="*/ 6 w 270"/>
                <a:gd name="T41" fmla="*/ 0 h 278"/>
                <a:gd name="T42" fmla="*/ 6 w 270"/>
                <a:gd name="T43" fmla="*/ 1 h 278"/>
                <a:gd name="T44" fmla="*/ 6 w 270"/>
                <a:gd name="T45" fmla="*/ 1 h 278"/>
                <a:gd name="T46" fmla="*/ 3 w 270"/>
                <a:gd name="T47" fmla="*/ 1 h 278"/>
                <a:gd name="T48" fmla="*/ 1 w 270"/>
                <a:gd name="T49" fmla="*/ 0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70" h="278">
                  <a:moveTo>
                    <a:pt x="45" y="0"/>
                  </a:moveTo>
                  <a:lnTo>
                    <a:pt x="30" y="15"/>
                  </a:lnTo>
                  <a:lnTo>
                    <a:pt x="15" y="15"/>
                  </a:lnTo>
                  <a:lnTo>
                    <a:pt x="15" y="46"/>
                  </a:lnTo>
                  <a:lnTo>
                    <a:pt x="0" y="46"/>
                  </a:lnTo>
                  <a:lnTo>
                    <a:pt x="0" y="92"/>
                  </a:lnTo>
                  <a:lnTo>
                    <a:pt x="0" y="108"/>
                  </a:lnTo>
                  <a:lnTo>
                    <a:pt x="0" y="139"/>
                  </a:lnTo>
                  <a:lnTo>
                    <a:pt x="15" y="169"/>
                  </a:lnTo>
                  <a:lnTo>
                    <a:pt x="60" y="200"/>
                  </a:lnTo>
                  <a:lnTo>
                    <a:pt x="90" y="215"/>
                  </a:lnTo>
                  <a:lnTo>
                    <a:pt x="105" y="200"/>
                  </a:lnTo>
                  <a:lnTo>
                    <a:pt x="254" y="277"/>
                  </a:lnTo>
                  <a:lnTo>
                    <a:pt x="254" y="262"/>
                  </a:lnTo>
                  <a:lnTo>
                    <a:pt x="269" y="262"/>
                  </a:lnTo>
                  <a:lnTo>
                    <a:pt x="269" y="231"/>
                  </a:lnTo>
                  <a:lnTo>
                    <a:pt x="269" y="92"/>
                  </a:lnTo>
                  <a:lnTo>
                    <a:pt x="254" y="62"/>
                  </a:lnTo>
                  <a:lnTo>
                    <a:pt x="269" y="31"/>
                  </a:lnTo>
                  <a:lnTo>
                    <a:pt x="209" y="0"/>
                  </a:lnTo>
                  <a:lnTo>
                    <a:pt x="179" y="15"/>
                  </a:lnTo>
                  <a:lnTo>
                    <a:pt x="194" y="46"/>
                  </a:lnTo>
                  <a:lnTo>
                    <a:pt x="164" y="62"/>
                  </a:lnTo>
                  <a:lnTo>
                    <a:pt x="105" y="31"/>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1" name="Freeform 526"/>
            <p:cNvSpPr>
              <a:spLocks/>
            </p:cNvSpPr>
            <p:nvPr/>
          </p:nvSpPr>
          <p:spPr bwMode="auto">
            <a:xfrm>
              <a:off x="7136" y="1371"/>
              <a:ext cx="71" cy="53"/>
            </a:xfrm>
            <a:custGeom>
              <a:avLst/>
              <a:gdLst>
                <a:gd name="T0" fmla="*/ 1 w 165"/>
                <a:gd name="T1" fmla="*/ 0 h 139"/>
                <a:gd name="T2" fmla="*/ 3 w 165"/>
                <a:gd name="T3" fmla="*/ 0 h 139"/>
                <a:gd name="T4" fmla="*/ 3 w 165"/>
                <a:gd name="T5" fmla="*/ 0 h 139"/>
                <a:gd name="T6" fmla="*/ 4 w 165"/>
                <a:gd name="T7" fmla="*/ 0 h 139"/>
                <a:gd name="T8" fmla="*/ 5 w 165"/>
                <a:gd name="T9" fmla="*/ 1 h 139"/>
                <a:gd name="T10" fmla="*/ 5 w 165"/>
                <a:gd name="T11" fmla="*/ 1 h 139"/>
                <a:gd name="T12" fmla="*/ 5 w 165"/>
                <a:gd name="T13" fmla="*/ 2 h 139"/>
                <a:gd name="T14" fmla="*/ 6 w 165"/>
                <a:gd name="T15" fmla="*/ 2 h 139"/>
                <a:gd name="T16" fmla="*/ 5 w 165"/>
                <a:gd name="T17" fmla="*/ 3 h 139"/>
                <a:gd name="T18" fmla="*/ 4 w 165"/>
                <a:gd name="T19" fmla="*/ 2 h 139"/>
                <a:gd name="T20" fmla="*/ 3 w 165"/>
                <a:gd name="T21" fmla="*/ 2 h 139"/>
                <a:gd name="T22" fmla="*/ 2 w 165"/>
                <a:gd name="T23" fmla="*/ 1 h 139"/>
                <a:gd name="T24" fmla="*/ 1 w 165"/>
                <a:gd name="T25" fmla="*/ 1 h 139"/>
                <a:gd name="T26" fmla="*/ 1 w 165"/>
                <a:gd name="T27" fmla="*/ 1 h 139"/>
                <a:gd name="T28" fmla="*/ 0 w 165"/>
                <a:gd name="T29" fmla="*/ 1 h 139"/>
                <a:gd name="T30" fmla="*/ 0 w 165"/>
                <a:gd name="T31" fmla="*/ 1 h 139"/>
                <a:gd name="T32" fmla="*/ 0 w 165"/>
                <a:gd name="T33" fmla="*/ 1 h 139"/>
                <a:gd name="T34" fmla="*/ 0 w 165"/>
                <a:gd name="T35" fmla="*/ 0 h 139"/>
                <a:gd name="T36" fmla="*/ 0 w 165"/>
                <a:gd name="T37" fmla="*/ 0 h 139"/>
                <a:gd name="T38" fmla="*/ 1 w 165"/>
                <a:gd name="T39" fmla="*/ 0 h 1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5" h="139">
                  <a:moveTo>
                    <a:pt x="45" y="0"/>
                  </a:moveTo>
                  <a:lnTo>
                    <a:pt x="75" y="15"/>
                  </a:lnTo>
                  <a:lnTo>
                    <a:pt x="89" y="0"/>
                  </a:lnTo>
                  <a:lnTo>
                    <a:pt x="119" y="15"/>
                  </a:lnTo>
                  <a:lnTo>
                    <a:pt x="149" y="31"/>
                  </a:lnTo>
                  <a:lnTo>
                    <a:pt x="149" y="46"/>
                  </a:lnTo>
                  <a:lnTo>
                    <a:pt x="149" y="77"/>
                  </a:lnTo>
                  <a:lnTo>
                    <a:pt x="164" y="107"/>
                  </a:lnTo>
                  <a:lnTo>
                    <a:pt x="134" y="138"/>
                  </a:lnTo>
                  <a:lnTo>
                    <a:pt x="119" y="92"/>
                  </a:lnTo>
                  <a:lnTo>
                    <a:pt x="104" y="107"/>
                  </a:lnTo>
                  <a:lnTo>
                    <a:pt x="60" y="61"/>
                  </a:lnTo>
                  <a:lnTo>
                    <a:pt x="45" y="61"/>
                  </a:lnTo>
                  <a:lnTo>
                    <a:pt x="30" y="46"/>
                  </a:lnTo>
                  <a:lnTo>
                    <a:pt x="15" y="31"/>
                  </a:lnTo>
                  <a:lnTo>
                    <a:pt x="15" y="46"/>
                  </a:lnTo>
                  <a:lnTo>
                    <a:pt x="0" y="31"/>
                  </a:lnTo>
                  <a:lnTo>
                    <a:pt x="0" y="15"/>
                  </a:lnTo>
                  <a:lnTo>
                    <a:pt x="0" y="0"/>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2" name="Freeform 527"/>
            <p:cNvSpPr>
              <a:spLocks/>
            </p:cNvSpPr>
            <p:nvPr/>
          </p:nvSpPr>
          <p:spPr bwMode="auto">
            <a:xfrm>
              <a:off x="7194" y="1406"/>
              <a:ext cx="38" cy="47"/>
            </a:xfrm>
            <a:custGeom>
              <a:avLst/>
              <a:gdLst>
                <a:gd name="T0" fmla="*/ 0 w 91"/>
                <a:gd name="T1" fmla="*/ 1 h 123"/>
                <a:gd name="T2" fmla="*/ 0 w 91"/>
                <a:gd name="T3" fmla="*/ 2 h 123"/>
                <a:gd name="T4" fmla="*/ 0 w 91"/>
                <a:gd name="T5" fmla="*/ 2 h 123"/>
                <a:gd name="T6" fmla="*/ 1 w 91"/>
                <a:gd name="T7" fmla="*/ 2 h 123"/>
                <a:gd name="T8" fmla="*/ 0 w 91"/>
                <a:gd name="T9" fmla="*/ 2 h 123"/>
                <a:gd name="T10" fmla="*/ 1 w 91"/>
                <a:gd name="T11" fmla="*/ 3 h 123"/>
                <a:gd name="T12" fmla="*/ 1 w 91"/>
                <a:gd name="T13" fmla="*/ 2 h 123"/>
                <a:gd name="T14" fmla="*/ 1 w 91"/>
                <a:gd name="T15" fmla="*/ 2 h 123"/>
                <a:gd name="T16" fmla="*/ 2 w 91"/>
                <a:gd name="T17" fmla="*/ 2 h 123"/>
                <a:gd name="T18" fmla="*/ 2 w 91"/>
                <a:gd name="T19" fmla="*/ 2 h 123"/>
                <a:gd name="T20" fmla="*/ 1 w 91"/>
                <a:gd name="T21" fmla="*/ 1 h 123"/>
                <a:gd name="T22" fmla="*/ 1 w 91"/>
                <a:gd name="T23" fmla="*/ 1 h 123"/>
                <a:gd name="T24" fmla="*/ 2 w 91"/>
                <a:gd name="T25" fmla="*/ 1 h 123"/>
                <a:gd name="T26" fmla="*/ 2 w 91"/>
                <a:gd name="T27" fmla="*/ 0 h 123"/>
                <a:gd name="T28" fmla="*/ 3 w 91"/>
                <a:gd name="T29" fmla="*/ 1 h 123"/>
                <a:gd name="T30" fmla="*/ 3 w 91"/>
                <a:gd name="T31" fmla="*/ 0 h 123"/>
                <a:gd name="T32" fmla="*/ 2 w 91"/>
                <a:gd name="T33" fmla="*/ 0 h 123"/>
                <a:gd name="T34" fmla="*/ 2 w 91"/>
                <a:gd name="T35" fmla="*/ 0 h 123"/>
                <a:gd name="T36" fmla="*/ 1 w 91"/>
                <a:gd name="T37" fmla="*/ 0 h 123"/>
                <a:gd name="T38" fmla="*/ 0 w 91"/>
                <a:gd name="T39" fmla="*/ 1 h 123"/>
                <a:gd name="T40" fmla="*/ 0 w 91"/>
                <a:gd name="T41" fmla="*/ 1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1" h="123">
                  <a:moveTo>
                    <a:pt x="0" y="61"/>
                  </a:moveTo>
                  <a:lnTo>
                    <a:pt x="0" y="76"/>
                  </a:lnTo>
                  <a:lnTo>
                    <a:pt x="15" y="92"/>
                  </a:lnTo>
                  <a:lnTo>
                    <a:pt x="30" y="92"/>
                  </a:lnTo>
                  <a:lnTo>
                    <a:pt x="15" y="92"/>
                  </a:lnTo>
                  <a:lnTo>
                    <a:pt x="30" y="122"/>
                  </a:lnTo>
                  <a:lnTo>
                    <a:pt x="45" y="107"/>
                  </a:lnTo>
                  <a:lnTo>
                    <a:pt x="45" y="92"/>
                  </a:lnTo>
                  <a:lnTo>
                    <a:pt x="60" y="107"/>
                  </a:lnTo>
                  <a:lnTo>
                    <a:pt x="60" y="76"/>
                  </a:lnTo>
                  <a:lnTo>
                    <a:pt x="45" y="61"/>
                  </a:lnTo>
                  <a:lnTo>
                    <a:pt x="30" y="31"/>
                  </a:lnTo>
                  <a:lnTo>
                    <a:pt x="60" y="46"/>
                  </a:lnTo>
                  <a:lnTo>
                    <a:pt x="60" y="15"/>
                  </a:lnTo>
                  <a:lnTo>
                    <a:pt x="90" y="31"/>
                  </a:lnTo>
                  <a:lnTo>
                    <a:pt x="90" y="15"/>
                  </a:lnTo>
                  <a:lnTo>
                    <a:pt x="75" y="15"/>
                  </a:lnTo>
                  <a:lnTo>
                    <a:pt x="60" y="0"/>
                  </a:lnTo>
                  <a:lnTo>
                    <a:pt x="30" y="15"/>
                  </a:lnTo>
                  <a:lnTo>
                    <a:pt x="0" y="46"/>
                  </a:lnTo>
                  <a:lnTo>
                    <a:pt x="0" y="6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3" name="Freeform 528"/>
            <p:cNvSpPr>
              <a:spLocks/>
            </p:cNvSpPr>
            <p:nvPr/>
          </p:nvSpPr>
          <p:spPr bwMode="auto">
            <a:xfrm>
              <a:off x="7188" y="1353"/>
              <a:ext cx="64" cy="41"/>
            </a:xfrm>
            <a:custGeom>
              <a:avLst/>
              <a:gdLst>
                <a:gd name="T0" fmla="*/ 1 w 150"/>
                <a:gd name="T1" fmla="*/ 0 h 108"/>
                <a:gd name="T2" fmla="*/ 0 w 150"/>
                <a:gd name="T3" fmla="*/ 1 h 108"/>
                <a:gd name="T4" fmla="*/ 0 w 150"/>
                <a:gd name="T5" fmla="*/ 1 h 108"/>
                <a:gd name="T6" fmla="*/ 1 w 150"/>
                <a:gd name="T7" fmla="*/ 2 h 108"/>
                <a:gd name="T8" fmla="*/ 1 w 150"/>
                <a:gd name="T9" fmla="*/ 2 h 108"/>
                <a:gd name="T10" fmla="*/ 1 w 150"/>
                <a:gd name="T11" fmla="*/ 2 h 108"/>
                <a:gd name="T12" fmla="*/ 3 w 150"/>
                <a:gd name="T13" fmla="*/ 2 h 108"/>
                <a:gd name="T14" fmla="*/ 3 w 150"/>
                <a:gd name="T15" fmla="*/ 2 h 108"/>
                <a:gd name="T16" fmla="*/ 4 w 150"/>
                <a:gd name="T17" fmla="*/ 2 h 108"/>
                <a:gd name="T18" fmla="*/ 4 w 150"/>
                <a:gd name="T19" fmla="*/ 2 h 108"/>
                <a:gd name="T20" fmla="*/ 5 w 150"/>
                <a:gd name="T21" fmla="*/ 1 h 108"/>
                <a:gd name="T22" fmla="*/ 4 w 150"/>
                <a:gd name="T23" fmla="*/ 1 h 108"/>
                <a:gd name="T24" fmla="*/ 4 w 150"/>
                <a:gd name="T25" fmla="*/ 1 h 108"/>
                <a:gd name="T26" fmla="*/ 3 w 150"/>
                <a:gd name="T27" fmla="*/ 0 h 108"/>
                <a:gd name="T28" fmla="*/ 3 w 150"/>
                <a:gd name="T29" fmla="*/ 0 h 108"/>
                <a:gd name="T30" fmla="*/ 1 w 150"/>
                <a:gd name="T31" fmla="*/ 0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0" h="108">
                  <a:moveTo>
                    <a:pt x="30" y="15"/>
                  </a:moveTo>
                  <a:lnTo>
                    <a:pt x="15" y="31"/>
                  </a:lnTo>
                  <a:lnTo>
                    <a:pt x="0" y="61"/>
                  </a:lnTo>
                  <a:lnTo>
                    <a:pt x="30" y="76"/>
                  </a:lnTo>
                  <a:lnTo>
                    <a:pt x="30" y="92"/>
                  </a:lnTo>
                  <a:lnTo>
                    <a:pt x="45" y="107"/>
                  </a:lnTo>
                  <a:lnTo>
                    <a:pt x="89" y="107"/>
                  </a:lnTo>
                  <a:lnTo>
                    <a:pt x="104" y="92"/>
                  </a:lnTo>
                  <a:lnTo>
                    <a:pt x="134" y="107"/>
                  </a:lnTo>
                  <a:lnTo>
                    <a:pt x="134" y="76"/>
                  </a:lnTo>
                  <a:lnTo>
                    <a:pt x="149" y="61"/>
                  </a:lnTo>
                  <a:lnTo>
                    <a:pt x="119" y="61"/>
                  </a:lnTo>
                  <a:lnTo>
                    <a:pt x="119" y="31"/>
                  </a:lnTo>
                  <a:lnTo>
                    <a:pt x="89" y="0"/>
                  </a:lnTo>
                  <a:lnTo>
                    <a:pt x="75" y="15"/>
                  </a:lnTo>
                  <a:lnTo>
                    <a:pt x="3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4" name="Freeform 529"/>
            <p:cNvSpPr>
              <a:spLocks/>
            </p:cNvSpPr>
            <p:nvPr/>
          </p:nvSpPr>
          <p:spPr bwMode="auto">
            <a:xfrm>
              <a:off x="7201" y="1389"/>
              <a:ext cx="45" cy="23"/>
            </a:xfrm>
            <a:custGeom>
              <a:avLst/>
              <a:gdLst>
                <a:gd name="T0" fmla="*/ 3 w 105"/>
                <a:gd name="T1" fmla="*/ 0 h 62"/>
                <a:gd name="T2" fmla="*/ 3 w 105"/>
                <a:gd name="T3" fmla="*/ 0 h 62"/>
                <a:gd name="T4" fmla="*/ 2 w 105"/>
                <a:gd name="T5" fmla="*/ 0 h 62"/>
                <a:gd name="T6" fmla="*/ 0 w 105"/>
                <a:gd name="T7" fmla="*/ 0 h 62"/>
                <a:gd name="T8" fmla="*/ 0 w 105"/>
                <a:gd name="T9" fmla="*/ 0 h 62"/>
                <a:gd name="T10" fmla="*/ 0 w 105"/>
                <a:gd name="T11" fmla="*/ 0 h 62"/>
                <a:gd name="T12" fmla="*/ 0 w 105"/>
                <a:gd name="T13" fmla="*/ 1 h 62"/>
                <a:gd name="T14" fmla="*/ 1 w 105"/>
                <a:gd name="T15" fmla="*/ 1 h 62"/>
                <a:gd name="T16" fmla="*/ 2 w 105"/>
                <a:gd name="T17" fmla="*/ 1 h 62"/>
                <a:gd name="T18" fmla="*/ 3 w 105"/>
                <a:gd name="T19" fmla="*/ 1 h 62"/>
                <a:gd name="T20" fmla="*/ 3 w 105"/>
                <a:gd name="T21" fmla="*/ 1 h 62"/>
                <a:gd name="T22" fmla="*/ 3 w 105"/>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5" h="62">
                  <a:moveTo>
                    <a:pt x="104" y="15"/>
                  </a:moveTo>
                  <a:lnTo>
                    <a:pt x="74" y="0"/>
                  </a:lnTo>
                  <a:lnTo>
                    <a:pt x="59" y="15"/>
                  </a:lnTo>
                  <a:lnTo>
                    <a:pt x="15" y="15"/>
                  </a:lnTo>
                  <a:lnTo>
                    <a:pt x="0" y="0"/>
                  </a:lnTo>
                  <a:lnTo>
                    <a:pt x="0" y="31"/>
                  </a:lnTo>
                  <a:lnTo>
                    <a:pt x="15" y="61"/>
                  </a:lnTo>
                  <a:lnTo>
                    <a:pt x="45" y="46"/>
                  </a:lnTo>
                  <a:lnTo>
                    <a:pt x="59" y="61"/>
                  </a:lnTo>
                  <a:lnTo>
                    <a:pt x="74" y="61"/>
                  </a:lnTo>
                  <a:lnTo>
                    <a:pt x="89" y="46"/>
                  </a:lnTo>
                  <a:lnTo>
                    <a:pt x="104"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5" name="Freeform 530"/>
            <p:cNvSpPr>
              <a:spLocks/>
            </p:cNvSpPr>
            <p:nvPr/>
          </p:nvSpPr>
          <p:spPr bwMode="auto">
            <a:xfrm>
              <a:off x="7219" y="1493"/>
              <a:ext cx="91" cy="81"/>
            </a:xfrm>
            <a:custGeom>
              <a:avLst/>
              <a:gdLst>
                <a:gd name="T0" fmla="*/ 0 w 211"/>
                <a:gd name="T1" fmla="*/ 0 h 216"/>
                <a:gd name="T2" fmla="*/ 0 w 211"/>
                <a:gd name="T3" fmla="*/ 1 h 216"/>
                <a:gd name="T4" fmla="*/ 0 w 211"/>
                <a:gd name="T5" fmla="*/ 2 h 216"/>
                <a:gd name="T6" fmla="*/ 0 w 211"/>
                <a:gd name="T7" fmla="*/ 4 h 216"/>
                <a:gd name="T8" fmla="*/ 6 w 211"/>
                <a:gd name="T9" fmla="*/ 4 h 216"/>
                <a:gd name="T10" fmla="*/ 6 w 211"/>
                <a:gd name="T11" fmla="*/ 4 h 216"/>
                <a:gd name="T12" fmla="*/ 7 w 211"/>
                <a:gd name="T13" fmla="*/ 4 h 216"/>
                <a:gd name="T14" fmla="*/ 5 w 211"/>
                <a:gd name="T15" fmla="*/ 1 h 216"/>
                <a:gd name="T16" fmla="*/ 5 w 211"/>
                <a:gd name="T17" fmla="*/ 1 h 216"/>
                <a:gd name="T18" fmla="*/ 6 w 211"/>
                <a:gd name="T19" fmla="*/ 2 h 216"/>
                <a:gd name="T20" fmla="*/ 6 w 211"/>
                <a:gd name="T21" fmla="*/ 1 h 216"/>
                <a:gd name="T22" fmla="*/ 6 w 211"/>
                <a:gd name="T23" fmla="*/ 0 h 216"/>
                <a:gd name="T24" fmla="*/ 5 w 211"/>
                <a:gd name="T25" fmla="*/ 0 h 216"/>
                <a:gd name="T26" fmla="*/ 4 w 211"/>
                <a:gd name="T27" fmla="*/ 0 h 216"/>
                <a:gd name="T28" fmla="*/ 3 w 211"/>
                <a:gd name="T29" fmla="*/ 0 h 216"/>
                <a:gd name="T30" fmla="*/ 0 w 211"/>
                <a:gd name="T31" fmla="*/ 0 h 2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1" h="216">
                  <a:moveTo>
                    <a:pt x="15" y="15"/>
                  </a:moveTo>
                  <a:lnTo>
                    <a:pt x="0" y="46"/>
                  </a:lnTo>
                  <a:lnTo>
                    <a:pt x="15" y="77"/>
                  </a:lnTo>
                  <a:lnTo>
                    <a:pt x="15" y="215"/>
                  </a:lnTo>
                  <a:lnTo>
                    <a:pt x="165" y="200"/>
                  </a:lnTo>
                  <a:lnTo>
                    <a:pt x="180" y="215"/>
                  </a:lnTo>
                  <a:lnTo>
                    <a:pt x="210" y="184"/>
                  </a:lnTo>
                  <a:lnTo>
                    <a:pt x="135" y="61"/>
                  </a:lnTo>
                  <a:lnTo>
                    <a:pt x="135" y="46"/>
                  </a:lnTo>
                  <a:lnTo>
                    <a:pt x="165" y="92"/>
                  </a:lnTo>
                  <a:lnTo>
                    <a:pt x="180" y="61"/>
                  </a:lnTo>
                  <a:lnTo>
                    <a:pt x="165" y="15"/>
                  </a:lnTo>
                  <a:lnTo>
                    <a:pt x="150" y="15"/>
                  </a:lnTo>
                  <a:lnTo>
                    <a:pt x="120" y="0"/>
                  </a:lnTo>
                  <a:lnTo>
                    <a:pt x="90" y="15"/>
                  </a:lnTo>
                  <a:lnTo>
                    <a:pt x="1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6" name="Line 531"/>
            <p:cNvSpPr>
              <a:spLocks noChangeShapeType="1"/>
            </p:cNvSpPr>
            <p:nvPr/>
          </p:nvSpPr>
          <p:spPr bwMode="auto">
            <a:xfrm>
              <a:off x="7290" y="1499"/>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7" name="Line 532"/>
            <p:cNvSpPr>
              <a:spLocks noChangeShapeType="1"/>
            </p:cNvSpPr>
            <p:nvPr/>
          </p:nvSpPr>
          <p:spPr bwMode="auto">
            <a:xfrm>
              <a:off x="7290" y="1505"/>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8" name="Line 533"/>
            <p:cNvSpPr>
              <a:spLocks noChangeShapeType="1"/>
            </p:cNvSpPr>
            <p:nvPr/>
          </p:nvSpPr>
          <p:spPr bwMode="auto">
            <a:xfrm flipV="1">
              <a:off x="7304" y="1505"/>
              <a:ext cx="0"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09" name="Line 534"/>
            <p:cNvSpPr>
              <a:spLocks noChangeShapeType="1"/>
            </p:cNvSpPr>
            <p:nvPr/>
          </p:nvSpPr>
          <p:spPr bwMode="auto">
            <a:xfrm flipV="1">
              <a:off x="7304" y="1499"/>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0" name="Line 535"/>
            <p:cNvSpPr>
              <a:spLocks noChangeShapeType="1"/>
            </p:cNvSpPr>
            <p:nvPr/>
          </p:nvSpPr>
          <p:spPr bwMode="auto">
            <a:xfrm flipV="1">
              <a:off x="7304" y="1493"/>
              <a:ext cx="0"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1" name="Line 536"/>
            <p:cNvSpPr>
              <a:spLocks noChangeShapeType="1"/>
            </p:cNvSpPr>
            <p:nvPr/>
          </p:nvSpPr>
          <p:spPr bwMode="auto">
            <a:xfrm flipV="1">
              <a:off x="7304" y="1476"/>
              <a:ext cx="6"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2" name="Freeform 537"/>
            <p:cNvSpPr>
              <a:spLocks/>
            </p:cNvSpPr>
            <p:nvPr/>
          </p:nvSpPr>
          <p:spPr bwMode="auto">
            <a:xfrm>
              <a:off x="7278" y="1459"/>
              <a:ext cx="12" cy="11"/>
            </a:xfrm>
            <a:custGeom>
              <a:avLst/>
              <a:gdLst>
                <a:gd name="T0" fmla="*/ 1 w 30"/>
                <a:gd name="T1" fmla="*/ 0 h 31"/>
                <a:gd name="T2" fmla="*/ 0 w 30"/>
                <a:gd name="T3" fmla="*/ 0 h 31"/>
                <a:gd name="T4" fmla="*/ 0 w 30"/>
                <a:gd name="T5" fmla="*/ 0 h 31"/>
                <a:gd name="T6" fmla="*/ 1 w 30"/>
                <a:gd name="T7" fmla="*/ 0 h 31"/>
                <a:gd name="T8" fmla="*/ 1 w 30"/>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1">
                  <a:moveTo>
                    <a:pt x="29" y="0"/>
                  </a:moveTo>
                  <a:lnTo>
                    <a:pt x="0" y="15"/>
                  </a:lnTo>
                  <a:lnTo>
                    <a:pt x="0" y="30"/>
                  </a:lnTo>
                  <a:lnTo>
                    <a:pt x="29" y="15"/>
                  </a:lnTo>
                  <a:lnTo>
                    <a:pt x="2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3" name="Freeform 538"/>
            <p:cNvSpPr>
              <a:spLocks/>
            </p:cNvSpPr>
            <p:nvPr/>
          </p:nvSpPr>
          <p:spPr bwMode="auto">
            <a:xfrm>
              <a:off x="7304" y="1476"/>
              <a:ext cx="0" cy="17"/>
            </a:xfrm>
            <a:custGeom>
              <a:avLst/>
              <a:gdLst>
                <a:gd name="T0" fmla="*/ 0 w 1"/>
                <a:gd name="T1" fmla="*/ 0 h 47"/>
                <a:gd name="T2" fmla="*/ 0 w 1"/>
                <a:gd name="T3" fmla="*/ 1 h 47"/>
                <a:gd name="T4" fmla="*/ 0 w 1"/>
                <a:gd name="T5" fmla="*/ 0 h 47"/>
                <a:gd name="T6" fmla="*/ 0 w 1"/>
                <a:gd name="T7" fmla="*/ 0 h 4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47">
                  <a:moveTo>
                    <a:pt x="0" y="0"/>
                  </a:moveTo>
                  <a:lnTo>
                    <a:pt x="0" y="46"/>
                  </a:lnTo>
                  <a:lnTo>
                    <a:pt x="0"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4" name="Line 539"/>
            <p:cNvSpPr>
              <a:spLocks noChangeShapeType="1"/>
            </p:cNvSpPr>
            <p:nvPr/>
          </p:nvSpPr>
          <p:spPr bwMode="auto">
            <a:xfrm>
              <a:off x="7304" y="1493"/>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5" name="Line 540"/>
            <p:cNvSpPr>
              <a:spLocks noChangeShapeType="1"/>
            </p:cNvSpPr>
            <p:nvPr/>
          </p:nvSpPr>
          <p:spPr bwMode="auto">
            <a:xfrm>
              <a:off x="7304" y="1487"/>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6" name="Line 541"/>
            <p:cNvSpPr>
              <a:spLocks noChangeShapeType="1"/>
            </p:cNvSpPr>
            <p:nvPr/>
          </p:nvSpPr>
          <p:spPr bwMode="auto">
            <a:xfrm>
              <a:off x="7304" y="1481"/>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7" name="Line 542"/>
            <p:cNvSpPr>
              <a:spLocks noChangeShapeType="1"/>
            </p:cNvSpPr>
            <p:nvPr/>
          </p:nvSpPr>
          <p:spPr bwMode="auto">
            <a:xfrm>
              <a:off x="7304" y="1476"/>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8" name="Line 543"/>
            <p:cNvSpPr>
              <a:spLocks noChangeShapeType="1"/>
            </p:cNvSpPr>
            <p:nvPr/>
          </p:nvSpPr>
          <p:spPr bwMode="auto">
            <a:xfrm>
              <a:off x="7304" y="1476"/>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19" name="Line 544"/>
            <p:cNvSpPr>
              <a:spLocks noChangeShapeType="1"/>
            </p:cNvSpPr>
            <p:nvPr/>
          </p:nvSpPr>
          <p:spPr bwMode="auto">
            <a:xfrm>
              <a:off x="7304" y="1481"/>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0" name="Line 545"/>
            <p:cNvSpPr>
              <a:spLocks noChangeShapeType="1"/>
            </p:cNvSpPr>
            <p:nvPr/>
          </p:nvSpPr>
          <p:spPr bwMode="auto">
            <a:xfrm>
              <a:off x="7304" y="1487"/>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1" name="Line 546"/>
            <p:cNvSpPr>
              <a:spLocks noChangeShapeType="1"/>
            </p:cNvSpPr>
            <p:nvPr/>
          </p:nvSpPr>
          <p:spPr bwMode="auto">
            <a:xfrm flipH="1">
              <a:off x="7297" y="1487"/>
              <a:ext cx="6"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2" name="Line 547"/>
            <p:cNvSpPr>
              <a:spLocks noChangeShapeType="1"/>
            </p:cNvSpPr>
            <p:nvPr/>
          </p:nvSpPr>
          <p:spPr bwMode="auto">
            <a:xfrm>
              <a:off x="7297" y="1493"/>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3" name="Line 548"/>
            <p:cNvSpPr>
              <a:spLocks noChangeShapeType="1"/>
            </p:cNvSpPr>
            <p:nvPr/>
          </p:nvSpPr>
          <p:spPr bwMode="auto">
            <a:xfrm>
              <a:off x="7304" y="1493"/>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4" name="Freeform 549"/>
            <p:cNvSpPr>
              <a:spLocks/>
            </p:cNvSpPr>
            <p:nvPr/>
          </p:nvSpPr>
          <p:spPr bwMode="auto">
            <a:xfrm>
              <a:off x="7290" y="1476"/>
              <a:ext cx="14" cy="41"/>
            </a:xfrm>
            <a:custGeom>
              <a:avLst/>
              <a:gdLst>
                <a:gd name="T0" fmla="*/ 0 w 32"/>
                <a:gd name="T1" fmla="*/ 1 h 108"/>
                <a:gd name="T2" fmla="*/ 0 w 32"/>
                <a:gd name="T3" fmla="*/ 2 h 108"/>
                <a:gd name="T4" fmla="*/ 1 w 32"/>
                <a:gd name="T5" fmla="*/ 1 h 108"/>
                <a:gd name="T6" fmla="*/ 1 w 32"/>
                <a:gd name="T7" fmla="*/ 1 h 108"/>
                <a:gd name="T8" fmla="*/ 1 w 32"/>
                <a:gd name="T9" fmla="*/ 0 h 108"/>
                <a:gd name="T10" fmla="*/ 0 w 32"/>
                <a:gd name="T11" fmla="*/ 1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108">
                  <a:moveTo>
                    <a:pt x="0" y="61"/>
                  </a:moveTo>
                  <a:lnTo>
                    <a:pt x="16" y="107"/>
                  </a:lnTo>
                  <a:lnTo>
                    <a:pt x="31" y="46"/>
                  </a:lnTo>
                  <a:lnTo>
                    <a:pt x="31" y="31"/>
                  </a:lnTo>
                  <a:lnTo>
                    <a:pt x="31" y="0"/>
                  </a:lnTo>
                  <a:lnTo>
                    <a:pt x="0" y="6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5" name="Freeform 550"/>
            <p:cNvSpPr>
              <a:spLocks/>
            </p:cNvSpPr>
            <p:nvPr/>
          </p:nvSpPr>
          <p:spPr bwMode="auto">
            <a:xfrm>
              <a:off x="7304" y="1464"/>
              <a:ext cx="6" cy="12"/>
            </a:xfrm>
            <a:custGeom>
              <a:avLst/>
              <a:gdLst>
                <a:gd name="T0" fmla="*/ 0 w 17"/>
                <a:gd name="T1" fmla="*/ 1 h 32"/>
                <a:gd name="T2" fmla="*/ 0 w 17"/>
                <a:gd name="T3" fmla="*/ 0 h 32"/>
                <a:gd name="T4" fmla="*/ 0 w 17"/>
                <a:gd name="T5" fmla="*/ 0 h 32"/>
                <a:gd name="T6" fmla="*/ 0 w 17"/>
                <a:gd name="T7" fmla="*/ 1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0" y="31"/>
                  </a:moveTo>
                  <a:lnTo>
                    <a:pt x="16" y="16"/>
                  </a:lnTo>
                  <a:lnTo>
                    <a:pt x="0" y="0"/>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6" name="Freeform 551"/>
            <p:cNvSpPr>
              <a:spLocks/>
            </p:cNvSpPr>
            <p:nvPr/>
          </p:nvSpPr>
          <p:spPr bwMode="auto">
            <a:xfrm>
              <a:off x="7149" y="1650"/>
              <a:ext cx="97" cy="70"/>
            </a:xfrm>
            <a:custGeom>
              <a:avLst/>
              <a:gdLst>
                <a:gd name="T0" fmla="*/ 8 w 224"/>
                <a:gd name="T1" fmla="*/ 3 h 185"/>
                <a:gd name="T2" fmla="*/ 7 w 224"/>
                <a:gd name="T3" fmla="*/ 1 h 185"/>
                <a:gd name="T4" fmla="*/ 6 w 224"/>
                <a:gd name="T5" fmla="*/ 1 h 185"/>
                <a:gd name="T6" fmla="*/ 6 w 224"/>
                <a:gd name="T7" fmla="*/ 0 h 185"/>
                <a:gd name="T8" fmla="*/ 5 w 224"/>
                <a:gd name="T9" fmla="*/ 0 h 185"/>
                <a:gd name="T10" fmla="*/ 5 w 224"/>
                <a:gd name="T11" fmla="*/ 0 h 185"/>
                <a:gd name="T12" fmla="*/ 3 w 224"/>
                <a:gd name="T13" fmla="*/ 1 h 185"/>
                <a:gd name="T14" fmla="*/ 0 w 224"/>
                <a:gd name="T15" fmla="*/ 2 h 185"/>
                <a:gd name="T16" fmla="*/ 0 w 224"/>
                <a:gd name="T17" fmla="*/ 2 h 185"/>
                <a:gd name="T18" fmla="*/ 0 w 224"/>
                <a:gd name="T19" fmla="*/ 3 h 185"/>
                <a:gd name="T20" fmla="*/ 1 w 224"/>
                <a:gd name="T21" fmla="*/ 4 h 185"/>
                <a:gd name="T22" fmla="*/ 1 w 224"/>
                <a:gd name="T23" fmla="*/ 3 h 185"/>
                <a:gd name="T24" fmla="*/ 2 w 224"/>
                <a:gd name="T25" fmla="*/ 3 h 185"/>
                <a:gd name="T26" fmla="*/ 3 w 224"/>
                <a:gd name="T27" fmla="*/ 3 h 185"/>
                <a:gd name="T28" fmla="*/ 3 w 224"/>
                <a:gd name="T29" fmla="*/ 3 h 185"/>
                <a:gd name="T30" fmla="*/ 5 w 224"/>
                <a:gd name="T31" fmla="*/ 3 h 185"/>
                <a:gd name="T32" fmla="*/ 5 w 224"/>
                <a:gd name="T33" fmla="*/ 3 h 185"/>
                <a:gd name="T34" fmla="*/ 7 w 224"/>
                <a:gd name="T35" fmla="*/ 3 h 185"/>
                <a:gd name="T36" fmla="*/ 8 w 224"/>
                <a:gd name="T37" fmla="*/ 3 h 1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4" h="185">
                  <a:moveTo>
                    <a:pt x="223" y="123"/>
                  </a:moveTo>
                  <a:lnTo>
                    <a:pt x="193" y="61"/>
                  </a:lnTo>
                  <a:lnTo>
                    <a:pt x="164" y="61"/>
                  </a:lnTo>
                  <a:lnTo>
                    <a:pt x="164" y="15"/>
                  </a:lnTo>
                  <a:lnTo>
                    <a:pt x="149" y="0"/>
                  </a:lnTo>
                  <a:lnTo>
                    <a:pt x="134" y="15"/>
                  </a:lnTo>
                  <a:lnTo>
                    <a:pt x="104" y="46"/>
                  </a:lnTo>
                  <a:lnTo>
                    <a:pt x="15" y="77"/>
                  </a:lnTo>
                  <a:lnTo>
                    <a:pt x="0" y="107"/>
                  </a:lnTo>
                  <a:lnTo>
                    <a:pt x="15" y="153"/>
                  </a:lnTo>
                  <a:lnTo>
                    <a:pt x="30" y="184"/>
                  </a:lnTo>
                  <a:lnTo>
                    <a:pt x="45" y="153"/>
                  </a:lnTo>
                  <a:lnTo>
                    <a:pt x="59" y="153"/>
                  </a:lnTo>
                  <a:lnTo>
                    <a:pt x="74" y="123"/>
                  </a:lnTo>
                  <a:lnTo>
                    <a:pt x="89" y="123"/>
                  </a:lnTo>
                  <a:lnTo>
                    <a:pt x="134" y="138"/>
                  </a:lnTo>
                  <a:lnTo>
                    <a:pt x="149" y="123"/>
                  </a:lnTo>
                  <a:lnTo>
                    <a:pt x="193" y="123"/>
                  </a:lnTo>
                  <a:lnTo>
                    <a:pt x="223" y="123"/>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7" name="Freeform 552"/>
            <p:cNvSpPr>
              <a:spLocks/>
            </p:cNvSpPr>
            <p:nvPr/>
          </p:nvSpPr>
          <p:spPr bwMode="auto">
            <a:xfrm>
              <a:off x="7264" y="1737"/>
              <a:ext cx="7" cy="18"/>
            </a:xfrm>
            <a:custGeom>
              <a:avLst/>
              <a:gdLst>
                <a:gd name="T0" fmla="*/ 0 w 17"/>
                <a:gd name="T1" fmla="*/ 0 h 47"/>
                <a:gd name="T2" fmla="*/ 0 w 17"/>
                <a:gd name="T3" fmla="*/ 1 h 47"/>
                <a:gd name="T4" fmla="*/ 0 w 17"/>
                <a:gd name="T5" fmla="*/ 1 h 47"/>
                <a:gd name="T6" fmla="*/ 0 w 17"/>
                <a:gd name="T7" fmla="*/ 0 h 47"/>
                <a:gd name="T8" fmla="*/ 0 w 17"/>
                <a:gd name="T9" fmla="*/ 0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47">
                  <a:moveTo>
                    <a:pt x="0" y="0"/>
                  </a:moveTo>
                  <a:lnTo>
                    <a:pt x="0" y="46"/>
                  </a:lnTo>
                  <a:lnTo>
                    <a:pt x="16" y="31"/>
                  </a:lnTo>
                  <a:lnTo>
                    <a:pt x="16" y="15"/>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8" name="Freeform 553"/>
            <p:cNvSpPr>
              <a:spLocks/>
            </p:cNvSpPr>
            <p:nvPr/>
          </p:nvSpPr>
          <p:spPr bwMode="auto">
            <a:xfrm>
              <a:off x="7124" y="1708"/>
              <a:ext cx="51" cy="58"/>
            </a:xfrm>
            <a:custGeom>
              <a:avLst/>
              <a:gdLst>
                <a:gd name="T0" fmla="*/ 4 w 120"/>
                <a:gd name="T1" fmla="*/ 0 h 154"/>
                <a:gd name="T2" fmla="*/ 3 w 120"/>
                <a:gd name="T3" fmla="*/ 0 h 154"/>
                <a:gd name="T4" fmla="*/ 3 w 120"/>
                <a:gd name="T5" fmla="*/ 1 h 154"/>
                <a:gd name="T6" fmla="*/ 1 w 120"/>
                <a:gd name="T7" fmla="*/ 1 h 154"/>
                <a:gd name="T8" fmla="*/ 2 w 120"/>
                <a:gd name="T9" fmla="*/ 1 h 154"/>
                <a:gd name="T10" fmla="*/ 1 w 120"/>
                <a:gd name="T11" fmla="*/ 1 h 154"/>
                <a:gd name="T12" fmla="*/ 1 w 120"/>
                <a:gd name="T13" fmla="*/ 2 h 154"/>
                <a:gd name="T14" fmla="*/ 0 w 120"/>
                <a:gd name="T15" fmla="*/ 2 h 154"/>
                <a:gd name="T16" fmla="*/ 0 w 120"/>
                <a:gd name="T17" fmla="*/ 2 h 154"/>
                <a:gd name="T18" fmla="*/ 0 w 120"/>
                <a:gd name="T19" fmla="*/ 3 h 154"/>
                <a:gd name="T20" fmla="*/ 0 w 120"/>
                <a:gd name="T21" fmla="*/ 3 h 154"/>
                <a:gd name="T22" fmla="*/ 1 w 120"/>
                <a:gd name="T23" fmla="*/ 3 h 154"/>
                <a:gd name="T24" fmla="*/ 2 w 120"/>
                <a:gd name="T25" fmla="*/ 3 h 154"/>
                <a:gd name="T26" fmla="*/ 3 w 120"/>
                <a:gd name="T27" fmla="*/ 3 h 154"/>
                <a:gd name="T28" fmla="*/ 3 w 120"/>
                <a:gd name="T29" fmla="*/ 2 h 154"/>
                <a:gd name="T30" fmla="*/ 4 w 120"/>
                <a:gd name="T31" fmla="*/ 2 h 154"/>
                <a:gd name="T32" fmla="*/ 4 w 120"/>
                <a:gd name="T33" fmla="*/ 1 h 154"/>
                <a:gd name="T34" fmla="*/ 4 w 120"/>
                <a:gd name="T35" fmla="*/ 0 h 1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0" h="154">
                  <a:moveTo>
                    <a:pt x="119" y="0"/>
                  </a:moveTo>
                  <a:lnTo>
                    <a:pt x="104" y="0"/>
                  </a:lnTo>
                  <a:lnTo>
                    <a:pt x="89" y="31"/>
                  </a:lnTo>
                  <a:lnTo>
                    <a:pt x="30" y="31"/>
                  </a:lnTo>
                  <a:lnTo>
                    <a:pt x="60" y="46"/>
                  </a:lnTo>
                  <a:lnTo>
                    <a:pt x="45" y="61"/>
                  </a:lnTo>
                  <a:lnTo>
                    <a:pt x="45" y="92"/>
                  </a:lnTo>
                  <a:lnTo>
                    <a:pt x="15" y="107"/>
                  </a:lnTo>
                  <a:lnTo>
                    <a:pt x="15" y="122"/>
                  </a:lnTo>
                  <a:lnTo>
                    <a:pt x="0" y="138"/>
                  </a:lnTo>
                  <a:lnTo>
                    <a:pt x="15" y="153"/>
                  </a:lnTo>
                  <a:lnTo>
                    <a:pt x="30" y="153"/>
                  </a:lnTo>
                  <a:lnTo>
                    <a:pt x="60" y="153"/>
                  </a:lnTo>
                  <a:lnTo>
                    <a:pt x="74" y="138"/>
                  </a:lnTo>
                  <a:lnTo>
                    <a:pt x="89" y="92"/>
                  </a:lnTo>
                  <a:lnTo>
                    <a:pt x="119" y="77"/>
                  </a:lnTo>
                  <a:lnTo>
                    <a:pt x="119" y="31"/>
                  </a:lnTo>
                  <a:lnTo>
                    <a:pt x="11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29" name="Freeform 554"/>
            <p:cNvSpPr>
              <a:spLocks/>
            </p:cNvSpPr>
            <p:nvPr/>
          </p:nvSpPr>
          <p:spPr bwMode="auto">
            <a:xfrm>
              <a:off x="7105" y="1639"/>
              <a:ext cx="57" cy="81"/>
            </a:xfrm>
            <a:custGeom>
              <a:avLst/>
              <a:gdLst>
                <a:gd name="T0" fmla="*/ 0 w 134"/>
                <a:gd name="T1" fmla="*/ 4 h 216"/>
                <a:gd name="T2" fmla="*/ 1 w 134"/>
                <a:gd name="T3" fmla="*/ 4 h 216"/>
                <a:gd name="T4" fmla="*/ 3 w 134"/>
                <a:gd name="T5" fmla="*/ 4 h 216"/>
                <a:gd name="T6" fmla="*/ 4 w 134"/>
                <a:gd name="T7" fmla="*/ 4 h 216"/>
                <a:gd name="T8" fmla="*/ 4 w 134"/>
                <a:gd name="T9" fmla="*/ 4 h 216"/>
                <a:gd name="T10" fmla="*/ 3 w 134"/>
                <a:gd name="T11" fmla="*/ 3 h 216"/>
                <a:gd name="T12" fmla="*/ 4 w 134"/>
                <a:gd name="T13" fmla="*/ 2 h 216"/>
                <a:gd name="T14" fmla="*/ 3 w 134"/>
                <a:gd name="T15" fmla="*/ 2 h 216"/>
                <a:gd name="T16" fmla="*/ 4 w 134"/>
                <a:gd name="T17" fmla="*/ 1 h 216"/>
                <a:gd name="T18" fmla="*/ 3 w 134"/>
                <a:gd name="T19" fmla="*/ 0 h 216"/>
                <a:gd name="T20" fmla="*/ 3 w 134"/>
                <a:gd name="T21" fmla="*/ 1 h 216"/>
                <a:gd name="T22" fmla="*/ 3 w 134"/>
                <a:gd name="T23" fmla="*/ 2 h 216"/>
                <a:gd name="T24" fmla="*/ 1 w 134"/>
                <a:gd name="T25" fmla="*/ 2 h 216"/>
                <a:gd name="T26" fmla="*/ 1 w 134"/>
                <a:gd name="T27" fmla="*/ 2 h 216"/>
                <a:gd name="T28" fmla="*/ 0 w 134"/>
                <a:gd name="T29" fmla="*/ 3 h 216"/>
                <a:gd name="T30" fmla="*/ 0 w 134"/>
                <a:gd name="T31" fmla="*/ 3 h 216"/>
                <a:gd name="T32" fmla="*/ 0 w 134"/>
                <a:gd name="T33" fmla="*/ 4 h 216"/>
                <a:gd name="T34" fmla="*/ 0 w 134"/>
                <a:gd name="T35" fmla="*/ 4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4" h="216">
                  <a:moveTo>
                    <a:pt x="15" y="215"/>
                  </a:moveTo>
                  <a:lnTo>
                    <a:pt x="44" y="215"/>
                  </a:lnTo>
                  <a:lnTo>
                    <a:pt x="74" y="215"/>
                  </a:lnTo>
                  <a:lnTo>
                    <a:pt x="133" y="215"/>
                  </a:lnTo>
                  <a:lnTo>
                    <a:pt x="118" y="184"/>
                  </a:lnTo>
                  <a:lnTo>
                    <a:pt x="103" y="138"/>
                  </a:lnTo>
                  <a:lnTo>
                    <a:pt x="118" y="108"/>
                  </a:lnTo>
                  <a:lnTo>
                    <a:pt x="89" y="77"/>
                  </a:lnTo>
                  <a:lnTo>
                    <a:pt x="118" y="61"/>
                  </a:lnTo>
                  <a:lnTo>
                    <a:pt x="103" y="0"/>
                  </a:lnTo>
                  <a:lnTo>
                    <a:pt x="103" y="31"/>
                  </a:lnTo>
                  <a:lnTo>
                    <a:pt x="74" y="77"/>
                  </a:lnTo>
                  <a:lnTo>
                    <a:pt x="44" y="123"/>
                  </a:lnTo>
                  <a:lnTo>
                    <a:pt x="30" y="123"/>
                  </a:lnTo>
                  <a:lnTo>
                    <a:pt x="0" y="138"/>
                  </a:lnTo>
                  <a:lnTo>
                    <a:pt x="0" y="169"/>
                  </a:lnTo>
                  <a:lnTo>
                    <a:pt x="15" y="184"/>
                  </a:lnTo>
                  <a:lnTo>
                    <a:pt x="15" y="2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0" name="Freeform 555"/>
            <p:cNvSpPr>
              <a:spLocks/>
            </p:cNvSpPr>
            <p:nvPr/>
          </p:nvSpPr>
          <p:spPr bwMode="auto">
            <a:xfrm>
              <a:off x="7201" y="1563"/>
              <a:ext cx="134" cy="157"/>
            </a:xfrm>
            <a:custGeom>
              <a:avLst/>
              <a:gdLst>
                <a:gd name="T0" fmla="*/ 9 w 314"/>
                <a:gd name="T1" fmla="*/ 0 h 416"/>
                <a:gd name="T2" fmla="*/ 7 w 314"/>
                <a:gd name="T3" fmla="*/ 1 h 416"/>
                <a:gd name="T4" fmla="*/ 7 w 314"/>
                <a:gd name="T5" fmla="*/ 0 h 416"/>
                <a:gd name="T6" fmla="*/ 2 w 314"/>
                <a:gd name="T7" fmla="*/ 1 h 416"/>
                <a:gd name="T8" fmla="*/ 2 w 314"/>
                <a:gd name="T9" fmla="*/ 1 h 416"/>
                <a:gd name="T10" fmla="*/ 1 w 314"/>
                <a:gd name="T11" fmla="*/ 1 h 416"/>
                <a:gd name="T12" fmla="*/ 1 w 314"/>
                <a:gd name="T13" fmla="*/ 2 h 416"/>
                <a:gd name="T14" fmla="*/ 1 w 314"/>
                <a:gd name="T15" fmla="*/ 3 h 416"/>
                <a:gd name="T16" fmla="*/ 0 w 314"/>
                <a:gd name="T17" fmla="*/ 3 h 416"/>
                <a:gd name="T18" fmla="*/ 0 w 314"/>
                <a:gd name="T19" fmla="*/ 3 h 416"/>
                <a:gd name="T20" fmla="*/ 0 w 314"/>
                <a:gd name="T21" fmla="*/ 4 h 416"/>
                <a:gd name="T22" fmla="*/ 0 w 314"/>
                <a:gd name="T23" fmla="*/ 5 h 416"/>
                <a:gd name="T24" fmla="*/ 1 w 314"/>
                <a:gd name="T25" fmla="*/ 5 h 416"/>
                <a:gd name="T26" fmla="*/ 1 w 314"/>
                <a:gd name="T27" fmla="*/ 5 h 416"/>
                <a:gd name="T28" fmla="*/ 1 w 314"/>
                <a:gd name="T29" fmla="*/ 6 h 416"/>
                <a:gd name="T30" fmla="*/ 3 w 314"/>
                <a:gd name="T31" fmla="*/ 6 h 416"/>
                <a:gd name="T32" fmla="*/ 3 w 314"/>
                <a:gd name="T33" fmla="*/ 7 h 416"/>
                <a:gd name="T34" fmla="*/ 4 w 314"/>
                <a:gd name="T35" fmla="*/ 8 h 416"/>
                <a:gd name="T36" fmla="*/ 5 w 314"/>
                <a:gd name="T37" fmla="*/ 8 h 416"/>
                <a:gd name="T38" fmla="*/ 6 w 314"/>
                <a:gd name="T39" fmla="*/ 8 h 416"/>
                <a:gd name="T40" fmla="*/ 6 w 314"/>
                <a:gd name="T41" fmla="*/ 8 h 416"/>
                <a:gd name="T42" fmla="*/ 6 w 314"/>
                <a:gd name="T43" fmla="*/ 8 h 416"/>
                <a:gd name="T44" fmla="*/ 6 w 314"/>
                <a:gd name="T45" fmla="*/ 8 h 416"/>
                <a:gd name="T46" fmla="*/ 7 w 314"/>
                <a:gd name="T47" fmla="*/ 8 h 416"/>
                <a:gd name="T48" fmla="*/ 9 w 314"/>
                <a:gd name="T49" fmla="*/ 8 h 416"/>
                <a:gd name="T50" fmla="*/ 8 w 314"/>
                <a:gd name="T51" fmla="*/ 6 h 416"/>
                <a:gd name="T52" fmla="*/ 7 w 314"/>
                <a:gd name="T53" fmla="*/ 6 h 416"/>
                <a:gd name="T54" fmla="*/ 8 w 314"/>
                <a:gd name="T55" fmla="*/ 6 h 416"/>
                <a:gd name="T56" fmla="*/ 8 w 314"/>
                <a:gd name="T57" fmla="*/ 5 h 416"/>
                <a:gd name="T58" fmla="*/ 8 w 314"/>
                <a:gd name="T59" fmla="*/ 5 h 416"/>
                <a:gd name="T60" fmla="*/ 9 w 314"/>
                <a:gd name="T61" fmla="*/ 4 h 416"/>
                <a:gd name="T62" fmla="*/ 9 w 314"/>
                <a:gd name="T63" fmla="*/ 3 h 416"/>
                <a:gd name="T64" fmla="*/ 9 w 314"/>
                <a:gd name="T65" fmla="*/ 2 h 416"/>
                <a:gd name="T66" fmla="*/ 10 w 314"/>
                <a:gd name="T67" fmla="*/ 2 h 416"/>
                <a:gd name="T68" fmla="*/ 9 w 314"/>
                <a:gd name="T69" fmla="*/ 2 h 416"/>
                <a:gd name="T70" fmla="*/ 9 w 314"/>
                <a:gd name="T71" fmla="*/ 1 h 416"/>
                <a:gd name="T72" fmla="*/ 9 w 314"/>
                <a:gd name="T73" fmla="*/ 0 h 41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14" h="416">
                  <a:moveTo>
                    <a:pt x="253" y="0"/>
                  </a:moveTo>
                  <a:lnTo>
                    <a:pt x="224" y="31"/>
                  </a:lnTo>
                  <a:lnTo>
                    <a:pt x="209" y="15"/>
                  </a:lnTo>
                  <a:lnTo>
                    <a:pt x="60" y="31"/>
                  </a:lnTo>
                  <a:lnTo>
                    <a:pt x="60" y="61"/>
                  </a:lnTo>
                  <a:lnTo>
                    <a:pt x="45" y="61"/>
                  </a:lnTo>
                  <a:lnTo>
                    <a:pt x="45" y="77"/>
                  </a:lnTo>
                  <a:lnTo>
                    <a:pt x="45" y="154"/>
                  </a:lnTo>
                  <a:lnTo>
                    <a:pt x="15" y="138"/>
                  </a:lnTo>
                  <a:lnTo>
                    <a:pt x="15" y="169"/>
                  </a:lnTo>
                  <a:lnTo>
                    <a:pt x="15" y="184"/>
                  </a:lnTo>
                  <a:lnTo>
                    <a:pt x="0" y="215"/>
                  </a:lnTo>
                  <a:lnTo>
                    <a:pt x="30" y="231"/>
                  </a:lnTo>
                  <a:lnTo>
                    <a:pt x="45" y="246"/>
                  </a:lnTo>
                  <a:lnTo>
                    <a:pt x="45" y="292"/>
                  </a:lnTo>
                  <a:lnTo>
                    <a:pt x="75" y="292"/>
                  </a:lnTo>
                  <a:lnTo>
                    <a:pt x="104" y="354"/>
                  </a:lnTo>
                  <a:lnTo>
                    <a:pt x="119" y="369"/>
                  </a:lnTo>
                  <a:lnTo>
                    <a:pt x="149" y="369"/>
                  </a:lnTo>
                  <a:lnTo>
                    <a:pt x="164" y="384"/>
                  </a:lnTo>
                  <a:lnTo>
                    <a:pt x="179" y="415"/>
                  </a:lnTo>
                  <a:lnTo>
                    <a:pt x="179" y="400"/>
                  </a:lnTo>
                  <a:lnTo>
                    <a:pt x="179" y="384"/>
                  </a:lnTo>
                  <a:lnTo>
                    <a:pt x="224" y="369"/>
                  </a:lnTo>
                  <a:lnTo>
                    <a:pt x="268" y="369"/>
                  </a:lnTo>
                  <a:lnTo>
                    <a:pt x="238" y="307"/>
                  </a:lnTo>
                  <a:lnTo>
                    <a:pt x="209" y="292"/>
                  </a:lnTo>
                  <a:lnTo>
                    <a:pt x="238" y="277"/>
                  </a:lnTo>
                  <a:lnTo>
                    <a:pt x="238" y="246"/>
                  </a:lnTo>
                  <a:lnTo>
                    <a:pt x="238" y="215"/>
                  </a:lnTo>
                  <a:lnTo>
                    <a:pt x="268" y="200"/>
                  </a:lnTo>
                  <a:lnTo>
                    <a:pt x="268" y="138"/>
                  </a:lnTo>
                  <a:lnTo>
                    <a:pt x="283" y="123"/>
                  </a:lnTo>
                  <a:lnTo>
                    <a:pt x="313" y="108"/>
                  </a:lnTo>
                  <a:lnTo>
                    <a:pt x="283" y="92"/>
                  </a:lnTo>
                  <a:lnTo>
                    <a:pt x="268" y="31"/>
                  </a:lnTo>
                  <a:lnTo>
                    <a:pt x="253"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1" name="Freeform 556"/>
            <p:cNvSpPr>
              <a:spLocks/>
            </p:cNvSpPr>
            <p:nvPr/>
          </p:nvSpPr>
          <p:spPr bwMode="auto">
            <a:xfrm>
              <a:off x="7367" y="1824"/>
              <a:ext cx="59" cy="99"/>
            </a:xfrm>
            <a:custGeom>
              <a:avLst/>
              <a:gdLst>
                <a:gd name="T0" fmla="*/ 4 w 135"/>
                <a:gd name="T1" fmla="*/ 0 h 263"/>
                <a:gd name="T2" fmla="*/ 3 w 135"/>
                <a:gd name="T3" fmla="*/ 0 h 263"/>
                <a:gd name="T4" fmla="*/ 3 w 135"/>
                <a:gd name="T5" fmla="*/ 1 h 263"/>
                <a:gd name="T6" fmla="*/ 3 w 135"/>
                <a:gd name="T7" fmla="*/ 1 h 263"/>
                <a:gd name="T8" fmla="*/ 1 w 135"/>
                <a:gd name="T9" fmla="*/ 2 h 263"/>
                <a:gd name="T10" fmla="*/ 0 w 135"/>
                <a:gd name="T11" fmla="*/ 2 h 263"/>
                <a:gd name="T12" fmla="*/ 0 w 135"/>
                <a:gd name="T13" fmla="*/ 3 h 263"/>
                <a:gd name="T14" fmla="*/ 0 w 135"/>
                <a:gd name="T15" fmla="*/ 4 h 263"/>
                <a:gd name="T16" fmla="*/ 0 w 135"/>
                <a:gd name="T17" fmla="*/ 4 h 263"/>
                <a:gd name="T18" fmla="*/ 0 w 135"/>
                <a:gd name="T19" fmla="*/ 5 h 263"/>
                <a:gd name="T20" fmla="*/ 0 w 135"/>
                <a:gd name="T21" fmla="*/ 5 h 263"/>
                <a:gd name="T22" fmla="*/ 2 w 135"/>
                <a:gd name="T23" fmla="*/ 5 h 263"/>
                <a:gd name="T24" fmla="*/ 3 w 135"/>
                <a:gd name="T25" fmla="*/ 3 h 263"/>
                <a:gd name="T26" fmla="*/ 4 w 135"/>
                <a:gd name="T27" fmla="*/ 2 h 263"/>
                <a:gd name="T28" fmla="*/ 5 w 135"/>
                <a:gd name="T29" fmla="*/ 1 h 263"/>
                <a:gd name="T30" fmla="*/ 4 w 135"/>
                <a:gd name="T31" fmla="*/ 0 h 2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5" h="263">
                  <a:moveTo>
                    <a:pt x="104" y="0"/>
                  </a:moveTo>
                  <a:lnTo>
                    <a:pt x="89" y="15"/>
                  </a:lnTo>
                  <a:lnTo>
                    <a:pt x="89" y="31"/>
                  </a:lnTo>
                  <a:lnTo>
                    <a:pt x="74" y="62"/>
                  </a:lnTo>
                  <a:lnTo>
                    <a:pt x="30" y="77"/>
                  </a:lnTo>
                  <a:lnTo>
                    <a:pt x="15" y="108"/>
                  </a:lnTo>
                  <a:lnTo>
                    <a:pt x="15" y="170"/>
                  </a:lnTo>
                  <a:lnTo>
                    <a:pt x="15" y="185"/>
                  </a:lnTo>
                  <a:lnTo>
                    <a:pt x="0" y="185"/>
                  </a:lnTo>
                  <a:lnTo>
                    <a:pt x="0" y="247"/>
                  </a:lnTo>
                  <a:lnTo>
                    <a:pt x="15" y="262"/>
                  </a:lnTo>
                  <a:lnTo>
                    <a:pt x="60" y="262"/>
                  </a:lnTo>
                  <a:lnTo>
                    <a:pt x="89" y="170"/>
                  </a:lnTo>
                  <a:lnTo>
                    <a:pt x="119" y="77"/>
                  </a:lnTo>
                  <a:lnTo>
                    <a:pt x="134" y="62"/>
                  </a:lnTo>
                  <a:lnTo>
                    <a:pt x="104"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2" name="Freeform 557"/>
            <p:cNvSpPr>
              <a:spLocks/>
            </p:cNvSpPr>
            <p:nvPr/>
          </p:nvSpPr>
          <p:spPr bwMode="auto">
            <a:xfrm>
              <a:off x="7124" y="1853"/>
              <a:ext cx="103" cy="94"/>
            </a:xfrm>
            <a:custGeom>
              <a:avLst/>
              <a:gdLst>
                <a:gd name="T0" fmla="*/ 0 w 239"/>
                <a:gd name="T1" fmla="*/ 0 h 247"/>
                <a:gd name="T2" fmla="*/ 0 w 239"/>
                <a:gd name="T3" fmla="*/ 1 h 247"/>
                <a:gd name="T4" fmla="*/ 1 w 239"/>
                <a:gd name="T5" fmla="*/ 1 h 247"/>
                <a:gd name="T6" fmla="*/ 1 w 239"/>
                <a:gd name="T7" fmla="*/ 3 h 247"/>
                <a:gd name="T8" fmla="*/ 2 w 239"/>
                <a:gd name="T9" fmla="*/ 4 h 247"/>
                <a:gd name="T10" fmla="*/ 3 w 239"/>
                <a:gd name="T11" fmla="*/ 5 h 247"/>
                <a:gd name="T12" fmla="*/ 3 w 239"/>
                <a:gd name="T13" fmla="*/ 5 h 247"/>
                <a:gd name="T14" fmla="*/ 3 w 239"/>
                <a:gd name="T15" fmla="*/ 5 h 247"/>
                <a:gd name="T16" fmla="*/ 5 w 239"/>
                <a:gd name="T17" fmla="*/ 5 h 247"/>
                <a:gd name="T18" fmla="*/ 5 w 239"/>
                <a:gd name="T19" fmla="*/ 3 h 247"/>
                <a:gd name="T20" fmla="*/ 5 w 239"/>
                <a:gd name="T21" fmla="*/ 2 h 247"/>
                <a:gd name="T22" fmla="*/ 6 w 239"/>
                <a:gd name="T23" fmla="*/ 2 h 247"/>
                <a:gd name="T24" fmla="*/ 6 w 239"/>
                <a:gd name="T25" fmla="*/ 1 h 247"/>
                <a:gd name="T26" fmla="*/ 7 w 239"/>
                <a:gd name="T27" fmla="*/ 1 h 247"/>
                <a:gd name="T28" fmla="*/ 8 w 239"/>
                <a:gd name="T29" fmla="*/ 1 h 247"/>
                <a:gd name="T30" fmla="*/ 8 w 239"/>
                <a:gd name="T31" fmla="*/ 0 h 247"/>
                <a:gd name="T32" fmla="*/ 7 w 239"/>
                <a:gd name="T33" fmla="*/ 0 h 247"/>
                <a:gd name="T34" fmla="*/ 6 w 239"/>
                <a:gd name="T35" fmla="*/ 1 h 247"/>
                <a:gd name="T36" fmla="*/ 4 w 239"/>
                <a:gd name="T37" fmla="*/ 0 h 247"/>
                <a:gd name="T38" fmla="*/ 1 w 239"/>
                <a:gd name="T39" fmla="*/ 0 h 247"/>
                <a:gd name="T40" fmla="*/ 1 w 239"/>
                <a:gd name="T41" fmla="*/ 0 h 247"/>
                <a:gd name="T42" fmla="*/ 0 w 239"/>
                <a:gd name="T43" fmla="*/ 0 h 2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39" h="247">
                  <a:moveTo>
                    <a:pt x="15" y="0"/>
                  </a:moveTo>
                  <a:lnTo>
                    <a:pt x="0" y="31"/>
                  </a:lnTo>
                  <a:lnTo>
                    <a:pt x="30" y="46"/>
                  </a:lnTo>
                  <a:lnTo>
                    <a:pt x="45" y="123"/>
                  </a:lnTo>
                  <a:lnTo>
                    <a:pt x="60" y="185"/>
                  </a:lnTo>
                  <a:lnTo>
                    <a:pt x="89" y="246"/>
                  </a:lnTo>
                  <a:lnTo>
                    <a:pt x="104" y="231"/>
                  </a:lnTo>
                  <a:lnTo>
                    <a:pt x="104" y="246"/>
                  </a:lnTo>
                  <a:lnTo>
                    <a:pt x="149" y="231"/>
                  </a:lnTo>
                  <a:lnTo>
                    <a:pt x="149" y="169"/>
                  </a:lnTo>
                  <a:lnTo>
                    <a:pt x="149" y="108"/>
                  </a:lnTo>
                  <a:lnTo>
                    <a:pt x="164" y="108"/>
                  </a:lnTo>
                  <a:lnTo>
                    <a:pt x="164" y="46"/>
                  </a:lnTo>
                  <a:lnTo>
                    <a:pt x="193" y="31"/>
                  </a:lnTo>
                  <a:lnTo>
                    <a:pt x="238" y="31"/>
                  </a:lnTo>
                  <a:lnTo>
                    <a:pt x="238" y="15"/>
                  </a:lnTo>
                  <a:lnTo>
                    <a:pt x="208" y="15"/>
                  </a:lnTo>
                  <a:lnTo>
                    <a:pt x="179" y="31"/>
                  </a:lnTo>
                  <a:lnTo>
                    <a:pt x="119" y="15"/>
                  </a:lnTo>
                  <a:lnTo>
                    <a:pt x="45" y="15"/>
                  </a:lnTo>
                  <a:lnTo>
                    <a:pt x="30" y="0"/>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3" name="Freeform 558"/>
            <p:cNvSpPr>
              <a:spLocks/>
            </p:cNvSpPr>
            <p:nvPr/>
          </p:nvSpPr>
          <p:spPr bwMode="auto">
            <a:xfrm>
              <a:off x="7162" y="1900"/>
              <a:ext cx="122" cy="93"/>
            </a:xfrm>
            <a:custGeom>
              <a:avLst/>
              <a:gdLst>
                <a:gd name="T0" fmla="*/ 0 w 284"/>
                <a:gd name="T1" fmla="*/ 3 h 246"/>
                <a:gd name="T2" fmla="*/ 0 w 284"/>
                <a:gd name="T3" fmla="*/ 3 h 246"/>
                <a:gd name="T4" fmla="*/ 0 w 284"/>
                <a:gd name="T5" fmla="*/ 4 h 246"/>
                <a:gd name="T6" fmla="*/ 0 w 284"/>
                <a:gd name="T7" fmla="*/ 5 h 246"/>
                <a:gd name="T8" fmla="*/ 1 w 284"/>
                <a:gd name="T9" fmla="*/ 5 h 246"/>
                <a:gd name="T10" fmla="*/ 3 w 284"/>
                <a:gd name="T11" fmla="*/ 5 h 246"/>
                <a:gd name="T12" fmla="*/ 3 w 284"/>
                <a:gd name="T13" fmla="*/ 5 h 246"/>
                <a:gd name="T14" fmla="*/ 4 w 284"/>
                <a:gd name="T15" fmla="*/ 5 h 246"/>
                <a:gd name="T16" fmla="*/ 5 w 284"/>
                <a:gd name="T17" fmla="*/ 5 h 246"/>
                <a:gd name="T18" fmla="*/ 5 w 284"/>
                <a:gd name="T19" fmla="*/ 5 h 246"/>
                <a:gd name="T20" fmla="*/ 6 w 284"/>
                <a:gd name="T21" fmla="*/ 5 h 246"/>
                <a:gd name="T22" fmla="*/ 8 w 284"/>
                <a:gd name="T23" fmla="*/ 4 h 246"/>
                <a:gd name="T24" fmla="*/ 9 w 284"/>
                <a:gd name="T25" fmla="*/ 3 h 246"/>
                <a:gd name="T26" fmla="*/ 9 w 284"/>
                <a:gd name="T27" fmla="*/ 3 h 246"/>
                <a:gd name="T28" fmla="*/ 9 w 284"/>
                <a:gd name="T29" fmla="*/ 2 h 246"/>
                <a:gd name="T30" fmla="*/ 9 w 284"/>
                <a:gd name="T31" fmla="*/ 2 h 246"/>
                <a:gd name="T32" fmla="*/ 9 w 284"/>
                <a:gd name="T33" fmla="*/ 2 h 246"/>
                <a:gd name="T34" fmla="*/ 8 w 284"/>
                <a:gd name="T35" fmla="*/ 2 h 246"/>
                <a:gd name="T36" fmla="*/ 9 w 284"/>
                <a:gd name="T37" fmla="*/ 1 h 246"/>
                <a:gd name="T38" fmla="*/ 9 w 284"/>
                <a:gd name="T39" fmla="*/ 1 h 246"/>
                <a:gd name="T40" fmla="*/ 9 w 284"/>
                <a:gd name="T41" fmla="*/ 0 h 246"/>
                <a:gd name="T42" fmla="*/ 9 w 284"/>
                <a:gd name="T43" fmla="*/ 0 h 246"/>
                <a:gd name="T44" fmla="*/ 8 w 284"/>
                <a:gd name="T45" fmla="*/ 0 h 246"/>
                <a:gd name="T46" fmla="*/ 8 w 284"/>
                <a:gd name="T47" fmla="*/ 0 h 246"/>
                <a:gd name="T48" fmla="*/ 6 w 284"/>
                <a:gd name="T49" fmla="*/ 0 h 246"/>
                <a:gd name="T50" fmla="*/ 6 w 284"/>
                <a:gd name="T51" fmla="*/ 1 h 246"/>
                <a:gd name="T52" fmla="*/ 5 w 284"/>
                <a:gd name="T53" fmla="*/ 1 h 246"/>
                <a:gd name="T54" fmla="*/ 3 w 284"/>
                <a:gd name="T55" fmla="*/ 1 h 246"/>
                <a:gd name="T56" fmla="*/ 3 w 284"/>
                <a:gd name="T57" fmla="*/ 2 h 246"/>
                <a:gd name="T58" fmla="*/ 3 w 284"/>
                <a:gd name="T59" fmla="*/ 1 h 246"/>
                <a:gd name="T60" fmla="*/ 2 w 284"/>
                <a:gd name="T61" fmla="*/ 1 h 246"/>
                <a:gd name="T62" fmla="*/ 2 w 284"/>
                <a:gd name="T63" fmla="*/ 2 h 246"/>
                <a:gd name="T64" fmla="*/ 0 w 284"/>
                <a:gd name="T65" fmla="*/ 3 h 246"/>
                <a:gd name="T66" fmla="*/ 0 w 284"/>
                <a:gd name="T67" fmla="*/ 2 h 246"/>
                <a:gd name="T68" fmla="*/ 0 w 284"/>
                <a:gd name="T69" fmla="*/ 3 h 2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84" h="246">
                  <a:moveTo>
                    <a:pt x="0" y="123"/>
                  </a:moveTo>
                  <a:lnTo>
                    <a:pt x="0" y="153"/>
                  </a:lnTo>
                  <a:lnTo>
                    <a:pt x="15" y="199"/>
                  </a:lnTo>
                  <a:lnTo>
                    <a:pt x="15" y="230"/>
                  </a:lnTo>
                  <a:lnTo>
                    <a:pt x="30" y="245"/>
                  </a:lnTo>
                  <a:lnTo>
                    <a:pt x="89" y="230"/>
                  </a:lnTo>
                  <a:lnTo>
                    <a:pt x="104" y="245"/>
                  </a:lnTo>
                  <a:lnTo>
                    <a:pt x="119" y="230"/>
                  </a:lnTo>
                  <a:lnTo>
                    <a:pt x="134" y="230"/>
                  </a:lnTo>
                  <a:lnTo>
                    <a:pt x="149" y="230"/>
                  </a:lnTo>
                  <a:lnTo>
                    <a:pt x="164" y="230"/>
                  </a:lnTo>
                  <a:lnTo>
                    <a:pt x="223" y="184"/>
                  </a:lnTo>
                  <a:lnTo>
                    <a:pt x="253" y="138"/>
                  </a:lnTo>
                  <a:lnTo>
                    <a:pt x="268" y="123"/>
                  </a:lnTo>
                  <a:lnTo>
                    <a:pt x="283" y="92"/>
                  </a:lnTo>
                  <a:lnTo>
                    <a:pt x="268" y="92"/>
                  </a:lnTo>
                  <a:lnTo>
                    <a:pt x="253" y="92"/>
                  </a:lnTo>
                  <a:lnTo>
                    <a:pt x="238" y="77"/>
                  </a:lnTo>
                  <a:lnTo>
                    <a:pt x="253" y="61"/>
                  </a:lnTo>
                  <a:lnTo>
                    <a:pt x="268" y="61"/>
                  </a:lnTo>
                  <a:lnTo>
                    <a:pt x="268" y="15"/>
                  </a:lnTo>
                  <a:lnTo>
                    <a:pt x="268" y="0"/>
                  </a:lnTo>
                  <a:lnTo>
                    <a:pt x="238" y="0"/>
                  </a:lnTo>
                  <a:lnTo>
                    <a:pt x="223" y="0"/>
                  </a:lnTo>
                  <a:lnTo>
                    <a:pt x="179" y="15"/>
                  </a:lnTo>
                  <a:lnTo>
                    <a:pt x="179" y="46"/>
                  </a:lnTo>
                  <a:lnTo>
                    <a:pt x="149" y="61"/>
                  </a:lnTo>
                  <a:lnTo>
                    <a:pt x="104" y="46"/>
                  </a:lnTo>
                  <a:lnTo>
                    <a:pt x="74" y="77"/>
                  </a:lnTo>
                  <a:lnTo>
                    <a:pt x="74" y="61"/>
                  </a:lnTo>
                  <a:lnTo>
                    <a:pt x="60" y="46"/>
                  </a:lnTo>
                  <a:lnTo>
                    <a:pt x="60" y="107"/>
                  </a:lnTo>
                  <a:lnTo>
                    <a:pt x="15" y="123"/>
                  </a:lnTo>
                  <a:lnTo>
                    <a:pt x="15" y="107"/>
                  </a:lnTo>
                  <a:lnTo>
                    <a:pt x="0" y="123"/>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4" name="Freeform 559"/>
            <p:cNvSpPr>
              <a:spLocks/>
            </p:cNvSpPr>
            <p:nvPr/>
          </p:nvSpPr>
          <p:spPr bwMode="auto">
            <a:xfrm>
              <a:off x="7239" y="1947"/>
              <a:ext cx="20" cy="12"/>
            </a:xfrm>
            <a:custGeom>
              <a:avLst/>
              <a:gdLst>
                <a:gd name="T0" fmla="*/ 1 w 46"/>
                <a:gd name="T1" fmla="*/ 0 h 31"/>
                <a:gd name="T2" fmla="*/ 0 w 46"/>
                <a:gd name="T3" fmla="*/ 0 h 31"/>
                <a:gd name="T4" fmla="*/ 0 w 46"/>
                <a:gd name="T5" fmla="*/ 0 h 31"/>
                <a:gd name="T6" fmla="*/ 0 w 46"/>
                <a:gd name="T7" fmla="*/ 1 h 31"/>
                <a:gd name="T8" fmla="*/ 0 w 46"/>
                <a:gd name="T9" fmla="*/ 1 h 31"/>
                <a:gd name="T10" fmla="*/ 1 w 46"/>
                <a:gd name="T11" fmla="*/ 1 h 31"/>
                <a:gd name="T12" fmla="*/ 2 w 46"/>
                <a:gd name="T13" fmla="*/ 0 h 31"/>
                <a:gd name="T14" fmla="*/ 1 w 46"/>
                <a:gd name="T15" fmla="*/ 0 h 3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31">
                  <a:moveTo>
                    <a:pt x="30" y="0"/>
                  </a:moveTo>
                  <a:lnTo>
                    <a:pt x="15" y="0"/>
                  </a:lnTo>
                  <a:lnTo>
                    <a:pt x="0" y="15"/>
                  </a:lnTo>
                  <a:lnTo>
                    <a:pt x="0" y="30"/>
                  </a:lnTo>
                  <a:lnTo>
                    <a:pt x="15" y="30"/>
                  </a:lnTo>
                  <a:lnTo>
                    <a:pt x="30" y="30"/>
                  </a:lnTo>
                  <a:lnTo>
                    <a:pt x="45" y="15"/>
                  </a:lnTo>
                  <a:lnTo>
                    <a:pt x="3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5" name="Freeform 560"/>
            <p:cNvSpPr>
              <a:spLocks/>
            </p:cNvSpPr>
            <p:nvPr/>
          </p:nvSpPr>
          <p:spPr bwMode="auto">
            <a:xfrm>
              <a:off x="7264" y="1923"/>
              <a:ext cx="14" cy="12"/>
            </a:xfrm>
            <a:custGeom>
              <a:avLst/>
              <a:gdLst>
                <a:gd name="T0" fmla="*/ 1 w 32"/>
                <a:gd name="T1" fmla="*/ 1 h 32"/>
                <a:gd name="T2" fmla="*/ 1 w 32"/>
                <a:gd name="T3" fmla="*/ 0 h 32"/>
                <a:gd name="T4" fmla="*/ 0 w 32"/>
                <a:gd name="T5" fmla="*/ 0 h 32"/>
                <a:gd name="T6" fmla="*/ 0 w 32"/>
                <a:gd name="T7" fmla="*/ 0 h 32"/>
                <a:gd name="T8" fmla="*/ 0 w 32"/>
                <a:gd name="T9" fmla="*/ 1 h 32"/>
                <a:gd name="T10" fmla="*/ 1 w 32"/>
                <a:gd name="T11" fmla="*/ 1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32">
                  <a:moveTo>
                    <a:pt x="31" y="31"/>
                  </a:moveTo>
                  <a:lnTo>
                    <a:pt x="31" y="0"/>
                  </a:lnTo>
                  <a:lnTo>
                    <a:pt x="16" y="0"/>
                  </a:lnTo>
                  <a:lnTo>
                    <a:pt x="0" y="16"/>
                  </a:lnTo>
                  <a:lnTo>
                    <a:pt x="16" y="31"/>
                  </a:lnTo>
                  <a:lnTo>
                    <a:pt x="31"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6" name="Freeform 561"/>
            <p:cNvSpPr>
              <a:spLocks/>
            </p:cNvSpPr>
            <p:nvPr/>
          </p:nvSpPr>
          <p:spPr bwMode="auto">
            <a:xfrm>
              <a:off x="7188" y="1865"/>
              <a:ext cx="71" cy="65"/>
            </a:xfrm>
            <a:custGeom>
              <a:avLst/>
              <a:gdLst>
                <a:gd name="T0" fmla="*/ 6 w 165"/>
                <a:gd name="T1" fmla="*/ 2 h 170"/>
                <a:gd name="T2" fmla="*/ 5 w 165"/>
                <a:gd name="T3" fmla="*/ 1 h 170"/>
                <a:gd name="T4" fmla="*/ 5 w 165"/>
                <a:gd name="T5" fmla="*/ 1 h 170"/>
                <a:gd name="T6" fmla="*/ 4 w 165"/>
                <a:gd name="T7" fmla="*/ 1 h 170"/>
                <a:gd name="T8" fmla="*/ 4 w 165"/>
                <a:gd name="T9" fmla="*/ 1 h 170"/>
                <a:gd name="T10" fmla="*/ 3 w 165"/>
                <a:gd name="T11" fmla="*/ 0 h 170"/>
                <a:gd name="T12" fmla="*/ 1 w 165"/>
                <a:gd name="T13" fmla="*/ 0 h 170"/>
                <a:gd name="T14" fmla="*/ 0 w 165"/>
                <a:gd name="T15" fmla="*/ 0 h 170"/>
                <a:gd name="T16" fmla="*/ 0 w 165"/>
                <a:gd name="T17" fmla="*/ 2 h 170"/>
                <a:gd name="T18" fmla="*/ 0 w 165"/>
                <a:gd name="T19" fmla="*/ 2 h 170"/>
                <a:gd name="T20" fmla="*/ 0 w 165"/>
                <a:gd name="T21" fmla="*/ 3 h 170"/>
                <a:gd name="T22" fmla="*/ 0 w 165"/>
                <a:gd name="T23" fmla="*/ 3 h 170"/>
                <a:gd name="T24" fmla="*/ 0 w 165"/>
                <a:gd name="T25" fmla="*/ 4 h 170"/>
                <a:gd name="T26" fmla="*/ 1 w 165"/>
                <a:gd name="T27" fmla="*/ 3 h 170"/>
                <a:gd name="T28" fmla="*/ 3 w 165"/>
                <a:gd name="T29" fmla="*/ 3 h 170"/>
                <a:gd name="T30" fmla="*/ 4 w 165"/>
                <a:gd name="T31" fmla="*/ 3 h 170"/>
                <a:gd name="T32" fmla="*/ 4 w 165"/>
                <a:gd name="T33" fmla="*/ 2 h 170"/>
                <a:gd name="T34" fmla="*/ 6 w 165"/>
                <a:gd name="T35" fmla="*/ 2 h 1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5" h="170">
                  <a:moveTo>
                    <a:pt x="164" y="92"/>
                  </a:moveTo>
                  <a:lnTo>
                    <a:pt x="134" y="61"/>
                  </a:lnTo>
                  <a:lnTo>
                    <a:pt x="134" y="46"/>
                  </a:lnTo>
                  <a:lnTo>
                    <a:pt x="119" y="46"/>
                  </a:lnTo>
                  <a:lnTo>
                    <a:pt x="119" y="31"/>
                  </a:lnTo>
                  <a:lnTo>
                    <a:pt x="89" y="0"/>
                  </a:lnTo>
                  <a:lnTo>
                    <a:pt x="45" y="0"/>
                  </a:lnTo>
                  <a:lnTo>
                    <a:pt x="15" y="15"/>
                  </a:lnTo>
                  <a:lnTo>
                    <a:pt x="15" y="77"/>
                  </a:lnTo>
                  <a:lnTo>
                    <a:pt x="0" y="77"/>
                  </a:lnTo>
                  <a:lnTo>
                    <a:pt x="0" y="138"/>
                  </a:lnTo>
                  <a:lnTo>
                    <a:pt x="15" y="154"/>
                  </a:lnTo>
                  <a:lnTo>
                    <a:pt x="15" y="169"/>
                  </a:lnTo>
                  <a:lnTo>
                    <a:pt x="45" y="138"/>
                  </a:lnTo>
                  <a:lnTo>
                    <a:pt x="89" y="154"/>
                  </a:lnTo>
                  <a:lnTo>
                    <a:pt x="119" y="138"/>
                  </a:lnTo>
                  <a:lnTo>
                    <a:pt x="119" y="108"/>
                  </a:lnTo>
                  <a:lnTo>
                    <a:pt x="164" y="9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7" name="Freeform 562"/>
            <p:cNvSpPr>
              <a:spLocks/>
            </p:cNvSpPr>
            <p:nvPr/>
          </p:nvSpPr>
          <p:spPr bwMode="auto">
            <a:xfrm>
              <a:off x="7270" y="1812"/>
              <a:ext cx="72" cy="123"/>
            </a:xfrm>
            <a:custGeom>
              <a:avLst/>
              <a:gdLst>
                <a:gd name="T0" fmla="*/ 6 w 166"/>
                <a:gd name="T1" fmla="*/ 0 h 324"/>
                <a:gd name="T2" fmla="*/ 4 w 166"/>
                <a:gd name="T3" fmla="*/ 0 h 324"/>
                <a:gd name="T4" fmla="*/ 3 w 166"/>
                <a:gd name="T5" fmla="*/ 0 h 324"/>
                <a:gd name="T6" fmla="*/ 3 w 166"/>
                <a:gd name="T7" fmla="*/ 1 h 324"/>
                <a:gd name="T8" fmla="*/ 3 w 166"/>
                <a:gd name="T9" fmla="*/ 1 h 324"/>
                <a:gd name="T10" fmla="*/ 3 w 166"/>
                <a:gd name="T11" fmla="*/ 1 h 324"/>
                <a:gd name="T12" fmla="*/ 3 w 166"/>
                <a:gd name="T13" fmla="*/ 1 h 324"/>
                <a:gd name="T14" fmla="*/ 3 w 166"/>
                <a:gd name="T15" fmla="*/ 2 h 324"/>
                <a:gd name="T16" fmla="*/ 3 w 166"/>
                <a:gd name="T17" fmla="*/ 3 h 324"/>
                <a:gd name="T18" fmla="*/ 3 w 166"/>
                <a:gd name="T19" fmla="*/ 3 h 324"/>
                <a:gd name="T20" fmla="*/ 2 w 166"/>
                <a:gd name="T21" fmla="*/ 2 h 324"/>
                <a:gd name="T22" fmla="*/ 2 w 166"/>
                <a:gd name="T23" fmla="*/ 2 h 324"/>
                <a:gd name="T24" fmla="*/ 2 w 166"/>
                <a:gd name="T25" fmla="*/ 1 h 324"/>
                <a:gd name="T26" fmla="*/ 0 w 166"/>
                <a:gd name="T27" fmla="*/ 2 h 324"/>
                <a:gd name="T28" fmla="*/ 1 w 166"/>
                <a:gd name="T29" fmla="*/ 3 h 324"/>
                <a:gd name="T30" fmla="*/ 1 w 166"/>
                <a:gd name="T31" fmla="*/ 4 h 324"/>
                <a:gd name="T32" fmla="*/ 1 w 166"/>
                <a:gd name="T33" fmla="*/ 4 h 324"/>
                <a:gd name="T34" fmla="*/ 0 w 166"/>
                <a:gd name="T35" fmla="*/ 5 h 324"/>
                <a:gd name="T36" fmla="*/ 0 w 166"/>
                <a:gd name="T37" fmla="*/ 5 h 324"/>
                <a:gd name="T38" fmla="*/ 0 w 166"/>
                <a:gd name="T39" fmla="*/ 6 h 324"/>
                <a:gd name="T40" fmla="*/ 0 w 166"/>
                <a:gd name="T41" fmla="*/ 7 h 324"/>
                <a:gd name="T42" fmla="*/ 1 w 166"/>
                <a:gd name="T43" fmla="*/ 7 h 324"/>
                <a:gd name="T44" fmla="*/ 1 w 166"/>
                <a:gd name="T45" fmla="*/ 6 h 324"/>
                <a:gd name="T46" fmla="*/ 3 w 166"/>
                <a:gd name="T47" fmla="*/ 6 h 324"/>
                <a:gd name="T48" fmla="*/ 3 w 166"/>
                <a:gd name="T49" fmla="*/ 5 h 324"/>
                <a:gd name="T50" fmla="*/ 3 w 166"/>
                <a:gd name="T51" fmla="*/ 5 h 324"/>
                <a:gd name="T52" fmla="*/ 2 w 166"/>
                <a:gd name="T53" fmla="*/ 4 h 324"/>
                <a:gd name="T54" fmla="*/ 5 w 166"/>
                <a:gd name="T55" fmla="*/ 3 h 324"/>
                <a:gd name="T56" fmla="*/ 5 w 166"/>
                <a:gd name="T57" fmla="*/ 3 h 324"/>
                <a:gd name="T58" fmla="*/ 6 w 166"/>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66" h="324">
                  <a:moveTo>
                    <a:pt x="165" y="0"/>
                  </a:moveTo>
                  <a:lnTo>
                    <a:pt x="105" y="15"/>
                  </a:lnTo>
                  <a:lnTo>
                    <a:pt x="75" y="15"/>
                  </a:lnTo>
                  <a:lnTo>
                    <a:pt x="75" y="31"/>
                  </a:lnTo>
                  <a:lnTo>
                    <a:pt x="75" y="46"/>
                  </a:lnTo>
                  <a:lnTo>
                    <a:pt x="75" y="62"/>
                  </a:lnTo>
                  <a:lnTo>
                    <a:pt x="90" y="62"/>
                  </a:lnTo>
                  <a:lnTo>
                    <a:pt x="90" y="108"/>
                  </a:lnTo>
                  <a:lnTo>
                    <a:pt x="75" y="123"/>
                  </a:lnTo>
                  <a:lnTo>
                    <a:pt x="75" y="138"/>
                  </a:lnTo>
                  <a:lnTo>
                    <a:pt x="60" y="108"/>
                  </a:lnTo>
                  <a:lnTo>
                    <a:pt x="60" y="77"/>
                  </a:lnTo>
                  <a:lnTo>
                    <a:pt x="45" y="62"/>
                  </a:lnTo>
                  <a:lnTo>
                    <a:pt x="0" y="92"/>
                  </a:lnTo>
                  <a:lnTo>
                    <a:pt x="30" y="123"/>
                  </a:lnTo>
                  <a:lnTo>
                    <a:pt x="30" y="185"/>
                  </a:lnTo>
                  <a:lnTo>
                    <a:pt x="30" y="200"/>
                  </a:lnTo>
                  <a:lnTo>
                    <a:pt x="15" y="231"/>
                  </a:lnTo>
                  <a:lnTo>
                    <a:pt x="15" y="246"/>
                  </a:lnTo>
                  <a:lnTo>
                    <a:pt x="15" y="292"/>
                  </a:lnTo>
                  <a:lnTo>
                    <a:pt x="15" y="323"/>
                  </a:lnTo>
                  <a:lnTo>
                    <a:pt x="30" y="323"/>
                  </a:lnTo>
                  <a:lnTo>
                    <a:pt x="30" y="292"/>
                  </a:lnTo>
                  <a:lnTo>
                    <a:pt x="75" y="277"/>
                  </a:lnTo>
                  <a:lnTo>
                    <a:pt x="75" y="261"/>
                  </a:lnTo>
                  <a:lnTo>
                    <a:pt x="75" y="231"/>
                  </a:lnTo>
                  <a:lnTo>
                    <a:pt x="60" y="185"/>
                  </a:lnTo>
                  <a:lnTo>
                    <a:pt x="135" y="123"/>
                  </a:lnTo>
                  <a:lnTo>
                    <a:pt x="150" y="123"/>
                  </a:lnTo>
                  <a:lnTo>
                    <a:pt x="16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8" name="Freeform 563"/>
            <p:cNvSpPr>
              <a:spLocks/>
            </p:cNvSpPr>
            <p:nvPr/>
          </p:nvSpPr>
          <p:spPr bwMode="auto">
            <a:xfrm>
              <a:off x="7226" y="1841"/>
              <a:ext cx="58" cy="60"/>
            </a:xfrm>
            <a:custGeom>
              <a:avLst/>
              <a:gdLst>
                <a:gd name="T0" fmla="*/ 3 w 134"/>
                <a:gd name="T1" fmla="*/ 0 h 155"/>
                <a:gd name="T2" fmla="*/ 3 w 134"/>
                <a:gd name="T3" fmla="*/ 0 h 155"/>
                <a:gd name="T4" fmla="*/ 3 w 134"/>
                <a:gd name="T5" fmla="*/ 1 h 155"/>
                <a:gd name="T6" fmla="*/ 2 w 134"/>
                <a:gd name="T7" fmla="*/ 1 h 155"/>
                <a:gd name="T8" fmla="*/ 1 w 134"/>
                <a:gd name="T9" fmla="*/ 1 h 155"/>
                <a:gd name="T10" fmla="*/ 0 w 134"/>
                <a:gd name="T11" fmla="*/ 1 h 155"/>
                <a:gd name="T12" fmla="*/ 1 w 134"/>
                <a:gd name="T13" fmla="*/ 2 h 155"/>
                <a:gd name="T14" fmla="*/ 1 w 134"/>
                <a:gd name="T15" fmla="*/ 2 h 155"/>
                <a:gd name="T16" fmla="*/ 1 w 134"/>
                <a:gd name="T17" fmla="*/ 2 h 155"/>
                <a:gd name="T18" fmla="*/ 1 w 134"/>
                <a:gd name="T19" fmla="*/ 3 h 155"/>
                <a:gd name="T20" fmla="*/ 3 w 134"/>
                <a:gd name="T21" fmla="*/ 3 h 155"/>
                <a:gd name="T22" fmla="*/ 3 w 134"/>
                <a:gd name="T23" fmla="*/ 3 h 155"/>
                <a:gd name="T24" fmla="*/ 4 w 134"/>
                <a:gd name="T25" fmla="*/ 3 h 155"/>
                <a:gd name="T26" fmla="*/ 5 w 134"/>
                <a:gd name="T27" fmla="*/ 3 h 155"/>
                <a:gd name="T28" fmla="*/ 5 w 134"/>
                <a:gd name="T29" fmla="*/ 2 h 155"/>
                <a:gd name="T30" fmla="*/ 5 w 134"/>
                <a:gd name="T31" fmla="*/ 1 h 155"/>
                <a:gd name="T32" fmla="*/ 3 w 134"/>
                <a:gd name="T33" fmla="*/ 0 h 1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4" h="155">
                  <a:moveTo>
                    <a:pt x="103" y="15"/>
                  </a:moveTo>
                  <a:lnTo>
                    <a:pt x="74" y="0"/>
                  </a:lnTo>
                  <a:lnTo>
                    <a:pt x="74" y="31"/>
                  </a:lnTo>
                  <a:lnTo>
                    <a:pt x="59" y="31"/>
                  </a:lnTo>
                  <a:lnTo>
                    <a:pt x="30" y="62"/>
                  </a:lnTo>
                  <a:lnTo>
                    <a:pt x="0" y="62"/>
                  </a:lnTo>
                  <a:lnTo>
                    <a:pt x="30" y="92"/>
                  </a:lnTo>
                  <a:lnTo>
                    <a:pt x="30" y="108"/>
                  </a:lnTo>
                  <a:lnTo>
                    <a:pt x="44" y="108"/>
                  </a:lnTo>
                  <a:lnTo>
                    <a:pt x="44" y="123"/>
                  </a:lnTo>
                  <a:lnTo>
                    <a:pt x="74" y="154"/>
                  </a:lnTo>
                  <a:lnTo>
                    <a:pt x="89" y="154"/>
                  </a:lnTo>
                  <a:lnTo>
                    <a:pt x="118" y="154"/>
                  </a:lnTo>
                  <a:lnTo>
                    <a:pt x="133" y="123"/>
                  </a:lnTo>
                  <a:lnTo>
                    <a:pt x="133" y="108"/>
                  </a:lnTo>
                  <a:lnTo>
                    <a:pt x="133" y="46"/>
                  </a:lnTo>
                  <a:lnTo>
                    <a:pt x="103"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39" name="Oval 564"/>
            <p:cNvSpPr>
              <a:spLocks noChangeArrowheads="1"/>
            </p:cNvSpPr>
            <p:nvPr/>
          </p:nvSpPr>
          <p:spPr bwMode="auto">
            <a:xfrm>
              <a:off x="7438" y="1865"/>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940" name="Oval 565"/>
            <p:cNvSpPr>
              <a:spLocks noChangeArrowheads="1"/>
            </p:cNvSpPr>
            <p:nvPr/>
          </p:nvSpPr>
          <p:spPr bwMode="auto">
            <a:xfrm>
              <a:off x="7431" y="1877"/>
              <a:ext cx="7"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941" name="Freeform 566"/>
            <p:cNvSpPr>
              <a:spLocks/>
            </p:cNvSpPr>
            <p:nvPr/>
          </p:nvSpPr>
          <p:spPr bwMode="auto">
            <a:xfrm>
              <a:off x="7431" y="1876"/>
              <a:ext cx="8" cy="7"/>
            </a:xfrm>
            <a:custGeom>
              <a:avLst/>
              <a:gdLst>
                <a:gd name="T0" fmla="*/ 1 w 17"/>
                <a:gd name="T1" fmla="*/ 0 h 17"/>
                <a:gd name="T2" fmla="*/ 0 w 17"/>
                <a:gd name="T3" fmla="*/ 0 h 17"/>
                <a:gd name="T4" fmla="*/ 1 w 17"/>
                <a:gd name="T5" fmla="*/ 0 h 17"/>
                <a:gd name="T6" fmla="*/ 1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16" y="0"/>
                  </a:moveTo>
                  <a:lnTo>
                    <a:pt x="0" y="0"/>
                  </a:lnTo>
                  <a:lnTo>
                    <a:pt x="16" y="16"/>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42" name="Line 567"/>
            <p:cNvSpPr>
              <a:spLocks noChangeShapeType="1"/>
            </p:cNvSpPr>
            <p:nvPr/>
          </p:nvSpPr>
          <p:spPr bwMode="auto">
            <a:xfrm>
              <a:off x="7444" y="1865"/>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43" name="Line 568"/>
            <p:cNvSpPr>
              <a:spLocks noChangeShapeType="1"/>
            </p:cNvSpPr>
            <p:nvPr/>
          </p:nvSpPr>
          <p:spPr bwMode="auto">
            <a:xfrm>
              <a:off x="7297" y="1511"/>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44" name="Line 569"/>
            <p:cNvSpPr>
              <a:spLocks noChangeShapeType="1"/>
            </p:cNvSpPr>
            <p:nvPr/>
          </p:nvSpPr>
          <p:spPr bwMode="auto">
            <a:xfrm>
              <a:off x="7297" y="1511"/>
              <a:ext cx="0"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45" name="Line 570"/>
            <p:cNvSpPr>
              <a:spLocks noChangeShapeType="1"/>
            </p:cNvSpPr>
            <p:nvPr/>
          </p:nvSpPr>
          <p:spPr bwMode="auto">
            <a:xfrm>
              <a:off x="7304" y="1511"/>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46" name="Freeform 571"/>
            <p:cNvSpPr>
              <a:spLocks/>
            </p:cNvSpPr>
            <p:nvPr/>
          </p:nvSpPr>
          <p:spPr bwMode="auto">
            <a:xfrm>
              <a:off x="7361" y="1644"/>
              <a:ext cx="13" cy="12"/>
            </a:xfrm>
            <a:custGeom>
              <a:avLst/>
              <a:gdLst>
                <a:gd name="T0" fmla="*/ 0 w 31"/>
                <a:gd name="T1" fmla="*/ 0 h 31"/>
                <a:gd name="T2" fmla="*/ 0 w 31"/>
                <a:gd name="T3" fmla="*/ 0 h 31"/>
                <a:gd name="T4" fmla="*/ 0 w 31"/>
                <a:gd name="T5" fmla="*/ 0 h 31"/>
                <a:gd name="T6" fmla="*/ 0 w 31"/>
                <a:gd name="T7" fmla="*/ 1 h 31"/>
                <a:gd name="T8" fmla="*/ 1 w 31"/>
                <a:gd name="T9" fmla="*/ 0 h 31"/>
                <a:gd name="T10" fmla="*/ 0 w 31"/>
                <a:gd name="T11" fmla="*/ 0 h 31"/>
                <a:gd name="T12" fmla="*/ 0 w 31"/>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31">
                  <a:moveTo>
                    <a:pt x="15" y="0"/>
                  </a:moveTo>
                  <a:lnTo>
                    <a:pt x="0" y="0"/>
                  </a:lnTo>
                  <a:lnTo>
                    <a:pt x="0" y="15"/>
                  </a:lnTo>
                  <a:lnTo>
                    <a:pt x="0" y="30"/>
                  </a:lnTo>
                  <a:lnTo>
                    <a:pt x="30" y="15"/>
                  </a:lnTo>
                  <a:lnTo>
                    <a:pt x="15" y="15"/>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47" name="Freeform 572"/>
            <p:cNvSpPr>
              <a:spLocks/>
            </p:cNvSpPr>
            <p:nvPr/>
          </p:nvSpPr>
          <p:spPr bwMode="auto">
            <a:xfrm>
              <a:off x="7290" y="1603"/>
              <a:ext cx="116" cy="106"/>
            </a:xfrm>
            <a:custGeom>
              <a:avLst/>
              <a:gdLst>
                <a:gd name="T0" fmla="*/ 6 w 270"/>
                <a:gd name="T1" fmla="*/ 2 h 278"/>
                <a:gd name="T2" fmla="*/ 6 w 270"/>
                <a:gd name="T3" fmla="*/ 2 h 278"/>
                <a:gd name="T4" fmla="*/ 5 w 270"/>
                <a:gd name="T5" fmla="*/ 1 h 278"/>
                <a:gd name="T6" fmla="*/ 4 w 270"/>
                <a:gd name="T7" fmla="*/ 1 h 278"/>
                <a:gd name="T8" fmla="*/ 3 w 270"/>
                <a:gd name="T9" fmla="*/ 0 h 278"/>
                <a:gd name="T10" fmla="*/ 3 w 270"/>
                <a:gd name="T11" fmla="*/ 0 h 278"/>
                <a:gd name="T12" fmla="*/ 2 w 270"/>
                <a:gd name="T13" fmla="*/ 1 h 278"/>
                <a:gd name="T14" fmla="*/ 2 w 270"/>
                <a:gd name="T15" fmla="*/ 2 h 278"/>
                <a:gd name="T16" fmla="*/ 1 w 270"/>
                <a:gd name="T17" fmla="*/ 2 h 278"/>
                <a:gd name="T18" fmla="*/ 1 w 270"/>
                <a:gd name="T19" fmla="*/ 3 h 278"/>
                <a:gd name="T20" fmla="*/ 1 w 270"/>
                <a:gd name="T21" fmla="*/ 3 h 278"/>
                <a:gd name="T22" fmla="*/ 0 w 270"/>
                <a:gd name="T23" fmla="*/ 4 h 278"/>
                <a:gd name="T24" fmla="*/ 1 w 270"/>
                <a:gd name="T25" fmla="*/ 4 h 278"/>
                <a:gd name="T26" fmla="*/ 2 w 270"/>
                <a:gd name="T27" fmla="*/ 5 h 278"/>
                <a:gd name="T28" fmla="*/ 3 w 270"/>
                <a:gd name="T29" fmla="*/ 5 h 278"/>
                <a:gd name="T30" fmla="*/ 4 w 270"/>
                <a:gd name="T31" fmla="*/ 6 h 278"/>
                <a:gd name="T32" fmla="*/ 5 w 270"/>
                <a:gd name="T33" fmla="*/ 5 h 278"/>
                <a:gd name="T34" fmla="*/ 5 w 270"/>
                <a:gd name="T35" fmla="*/ 5 h 278"/>
                <a:gd name="T36" fmla="*/ 6 w 270"/>
                <a:gd name="T37" fmla="*/ 5 h 278"/>
                <a:gd name="T38" fmla="*/ 6 w 270"/>
                <a:gd name="T39" fmla="*/ 5 h 278"/>
                <a:gd name="T40" fmla="*/ 8 w 270"/>
                <a:gd name="T41" fmla="*/ 5 h 278"/>
                <a:gd name="T42" fmla="*/ 9 w 270"/>
                <a:gd name="T43" fmla="*/ 4 h 278"/>
                <a:gd name="T44" fmla="*/ 8 w 270"/>
                <a:gd name="T45" fmla="*/ 4 h 278"/>
                <a:gd name="T46" fmla="*/ 6 w 270"/>
                <a:gd name="T47" fmla="*/ 3 h 278"/>
                <a:gd name="T48" fmla="*/ 6 w 270"/>
                <a:gd name="T49" fmla="*/ 3 h 278"/>
                <a:gd name="T50" fmla="*/ 6 w 270"/>
                <a:gd name="T51" fmla="*/ 3 h 278"/>
                <a:gd name="T52" fmla="*/ 6 w 270"/>
                <a:gd name="T53" fmla="*/ 2 h 27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70" h="278">
                  <a:moveTo>
                    <a:pt x="164" y="108"/>
                  </a:moveTo>
                  <a:lnTo>
                    <a:pt x="179" y="108"/>
                  </a:lnTo>
                  <a:lnTo>
                    <a:pt x="149" y="62"/>
                  </a:lnTo>
                  <a:lnTo>
                    <a:pt x="120" y="62"/>
                  </a:lnTo>
                  <a:lnTo>
                    <a:pt x="105" y="0"/>
                  </a:lnTo>
                  <a:lnTo>
                    <a:pt x="75" y="15"/>
                  </a:lnTo>
                  <a:lnTo>
                    <a:pt x="60" y="31"/>
                  </a:lnTo>
                  <a:lnTo>
                    <a:pt x="60" y="92"/>
                  </a:lnTo>
                  <a:lnTo>
                    <a:pt x="30" y="108"/>
                  </a:lnTo>
                  <a:lnTo>
                    <a:pt x="30" y="139"/>
                  </a:lnTo>
                  <a:lnTo>
                    <a:pt x="30" y="169"/>
                  </a:lnTo>
                  <a:lnTo>
                    <a:pt x="0" y="185"/>
                  </a:lnTo>
                  <a:lnTo>
                    <a:pt x="30" y="200"/>
                  </a:lnTo>
                  <a:lnTo>
                    <a:pt x="60" y="262"/>
                  </a:lnTo>
                  <a:lnTo>
                    <a:pt x="90" y="262"/>
                  </a:lnTo>
                  <a:lnTo>
                    <a:pt x="120" y="277"/>
                  </a:lnTo>
                  <a:lnTo>
                    <a:pt x="135" y="262"/>
                  </a:lnTo>
                  <a:lnTo>
                    <a:pt x="149" y="262"/>
                  </a:lnTo>
                  <a:lnTo>
                    <a:pt x="164" y="262"/>
                  </a:lnTo>
                  <a:lnTo>
                    <a:pt x="179" y="246"/>
                  </a:lnTo>
                  <a:lnTo>
                    <a:pt x="224" y="246"/>
                  </a:lnTo>
                  <a:lnTo>
                    <a:pt x="269" y="185"/>
                  </a:lnTo>
                  <a:lnTo>
                    <a:pt x="239" y="200"/>
                  </a:lnTo>
                  <a:lnTo>
                    <a:pt x="194" y="169"/>
                  </a:lnTo>
                  <a:lnTo>
                    <a:pt x="164" y="139"/>
                  </a:lnTo>
                  <a:lnTo>
                    <a:pt x="164" y="123"/>
                  </a:lnTo>
                  <a:lnTo>
                    <a:pt x="164" y="108"/>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48" name="Freeform 573"/>
            <p:cNvSpPr>
              <a:spLocks/>
            </p:cNvSpPr>
            <p:nvPr/>
          </p:nvSpPr>
          <p:spPr bwMode="auto">
            <a:xfrm>
              <a:off x="7264" y="1737"/>
              <a:ext cx="78" cy="82"/>
            </a:xfrm>
            <a:custGeom>
              <a:avLst/>
              <a:gdLst>
                <a:gd name="T0" fmla="*/ 6 w 181"/>
                <a:gd name="T1" fmla="*/ 2 h 216"/>
                <a:gd name="T2" fmla="*/ 5 w 181"/>
                <a:gd name="T3" fmla="*/ 1 h 216"/>
                <a:gd name="T4" fmla="*/ 5 w 181"/>
                <a:gd name="T5" fmla="*/ 1 h 216"/>
                <a:gd name="T6" fmla="*/ 3 w 181"/>
                <a:gd name="T7" fmla="*/ 0 h 216"/>
                <a:gd name="T8" fmla="*/ 3 w 181"/>
                <a:gd name="T9" fmla="*/ 0 h 216"/>
                <a:gd name="T10" fmla="*/ 3 w 181"/>
                <a:gd name="T11" fmla="*/ 1 h 216"/>
                <a:gd name="T12" fmla="*/ 1 w 181"/>
                <a:gd name="T13" fmla="*/ 1 h 216"/>
                <a:gd name="T14" fmla="*/ 1 w 181"/>
                <a:gd name="T15" fmla="*/ 0 h 216"/>
                <a:gd name="T16" fmla="*/ 0 w 181"/>
                <a:gd name="T17" fmla="*/ 0 h 216"/>
                <a:gd name="T18" fmla="*/ 0 w 181"/>
                <a:gd name="T19" fmla="*/ 1 h 216"/>
                <a:gd name="T20" fmla="*/ 1 w 181"/>
                <a:gd name="T21" fmla="*/ 1 h 216"/>
                <a:gd name="T22" fmla="*/ 0 w 181"/>
                <a:gd name="T23" fmla="*/ 1 h 216"/>
                <a:gd name="T24" fmla="*/ 0 w 181"/>
                <a:gd name="T25" fmla="*/ 1 h 216"/>
                <a:gd name="T26" fmla="*/ 0 w 181"/>
                <a:gd name="T27" fmla="*/ 2 h 216"/>
                <a:gd name="T28" fmla="*/ 0 w 181"/>
                <a:gd name="T29" fmla="*/ 2 h 216"/>
                <a:gd name="T30" fmla="*/ 1 w 181"/>
                <a:gd name="T31" fmla="*/ 3 h 216"/>
                <a:gd name="T32" fmla="*/ 1 w 181"/>
                <a:gd name="T33" fmla="*/ 3 h 216"/>
                <a:gd name="T34" fmla="*/ 2 w 181"/>
                <a:gd name="T35" fmla="*/ 3 h 216"/>
                <a:gd name="T36" fmla="*/ 3 w 181"/>
                <a:gd name="T37" fmla="*/ 4 h 216"/>
                <a:gd name="T38" fmla="*/ 3 w 181"/>
                <a:gd name="T39" fmla="*/ 4 h 216"/>
                <a:gd name="T40" fmla="*/ 3 w 181"/>
                <a:gd name="T41" fmla="*/ 5 h 216"/>
                <a:gd name="T42" fmla="*/ 4 w 181"/>
                <a:gd name="T43" fmla="*/ 5 h 216"/>
                <a:gd name="T44" fmla="*/ 6 w 181"/>
                <a:gd name="T45" fmla="*/ 4 h 216"/>
                <a:gd name="T46" fmla="*/ 6 w 181"/>
                <a:gd name="T47" fmla="*/ 3 h 216"/>
                <a:gd name="T48" fmla="*/ 6 w 181"/>
                <a:gd name="T49" fmla="*/ 3 h 216"/>
                <a:gd name="T50" fmla="*/ 6 w 181"/>
                <a:gd name="T51" fmla="*/ 3 h 216"/>
                <a:gd name="T52" fmla="*/ 6 w 181"/>
                <a:gd name="T53" fmla="*/ 2 h 216"/>
                <a:gd name="T54" fmla="*/ 6 w 181"/>
                <a:gd name="T55" fmla="*/ 2 h 2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81" h="216">
                  <a:moveTo>
                    <a:pt x="180" y="77"/>
                  </a:moveTo>
                  <a:lnTo>
                    <a:pt x="150" y="61"/>
                  </a:lnTo>
                  <a:lnTo>
                    <a:pt x="135" y="46"/>
                  </a:lnTo>
                  <a:lnTo>
                    <a:pt x="90" y="0"/>
                  </a:lnTo>
                  <a:lnTo>
                    <a:pt x="75" y="15"/>
                  </a:lnTo>
                  <a:lnTo>
                    <a:pt x="75" y="31"/>
                  </a:lnTo>
                  <a:lnTo>
                    <a:pt x="45" y="46"/>
                  </a:lnTo>
                  <a:lnTo>
                    <a:pt x="45" y="15"/>
                  </a:lnTo>
                  <a:lnTo>
                    <a:pt x="15" y="15"/>
                  </a:lnTo>
                  <a:lnTo>
                    <a:pt x="15" y="31"/>
                  </a:lnTo>
                  <a:lnTo>
                    <a:pt x="30" y="46"/>
                  </a:lnTo>
                  <a:lnTo>
                    <a:pt x="15" y="61"/>
                  </a:lnTo>
                  <a:lnTo>
                    <a:pt x="0" y="61"/>
                  </a:lnTo>
                  <a:lnTo>
                    <a:pt x="15" y="108"/>
                  </a:lnTo>
                  <a:lnTo>
                    <a:pt x="0" y="108"/>
                  </a:lnTo>
                  <a:lnTo>
                    <a:pt x="30" y="123"/>
                  </a:lnTo>
                  <a:lnTo>
                    <a:pt x="30" y="138"/>
                  </a:lnTo>
                  <a:lnTo>
                    <a:pt x="60" y="169"/>
                  </a:lnTo>
                  <a:lnTo>
                    <a:pt x="75" y="184"/>
                  </a:lnTo>
                  <a:lnTo>
                    <a:pt x="90" y="184"/>
                  </a:lnTo>
                  <a:lnTo>
                    <a:pt x="90" y="215"/>
                  </a:lnTo>
                  <a:lnTo>
                    <a:pt x="120" y="215"/>
                  </a:lnTo>
                  <a:lnTo>
                    <a:pt x="180" y="200"/>
                  </a:lnTo>
                  <a:lnTo>
                    <a:pt x="180" y="169"/>
                  </a:lnTo>
                  <a:lnTo>
                    <a:pt x="165" y="154"/>
                  </a:lnTo>
                  <a:lnTo>
                    <a:pt x="180" y="123"/>
                  </a:lnTo>
                  <a:lnTo>
                    <a:pt x="165" y="108"/>
                  </a:lnTo>
                  <a:lnTo>
                    <a:pt x="180"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49" name="Freeform 574"/>
            <p:cNvSpPr>
              <a:spLocks/>
            </p:cNvSpPr>
            <p:nvPr/>
          </p:nvSpPr>
          <p:spPr bwMode="auto">
            <a:xfrm>
              <a:off x="7354" y="1644"/>
              <a:ext cx="77" cy="99"/>
            </a:xfrm>
            <a:custGeom>
              <a:avLst/>
              <a:gdLst>
                <a:gd name="T0" fmla="*/ 6 w 180"/>
                <a:gd name="T1" fmla="*/ 0 h 262"/>
                <a:gd name="T2" fmla="*/ 6 w 180"/>
                <a:gd name="T3" fmla="*/ 0 h 262"/>
                <a:gd name="T4" fmla="*/ 5 w 180"/>
                <a:gd name="T5" fmla="*/ 0 h 262"/>
                <a:gd name="T6" fmla="*/ 4 w 180"/>
                <a:gd name="T7" fmla="*/ 0 h 262"/>
                <a:gd name="T8" fmla="*/ 4 w 180"/>
                <a:gd name="T9" fmla="*/ 0 h 262"/>
                <a:gd name="T10" fmla="*/ 3 w 180"/>
                <a:gd name="T11" fmla="*/ 1 h 262"/>
                <a:gd name="T12" fmla="*/ 2 w 180"/>
                <a:gd name="T13" fmla="*/ 1 h 262"/>
                <a:gd name="T14" fmla="*/ 1 w 180"/>
                <a:gd name="T15" fmla="*/ 0 h 262"/>
                <a:gd name="T16" fmla="*/ 0 w 180"/>
                <a:gd name="T17" fmla="*/ 1 h 262"/>
                <a:gd name="T18" fmla="*/ 1 w 180"/>
                <a:gd name="T19" fmla="*/ 1 h 262"/>
                <a:gd name="T20" fmla="*/ 3 w 180"/>
                <a:gd name="T21" fmla="*/ 2 h 262"/>
                <a:gd name="T22" fmla="*/ 4 w 180"/>
                <a:gd name="T23" fmla="*/ 2 h 262"/>
                <a:gd name="T24" fmla="*/ 3 w 180"/>
                <a:gd name="T25" fmla="*/ 3 h 262"/>
                <a:gd name="T26" fmla="*/ 1 w 180"/>
                <a:gd name="T27" fmla="*/ 3 h 262"/>
                <a:gd name="T28" fmla="*/ 0 w 180"/>
                <a:gd name="T29" fmla="*/ 3 h 262"/>
                <a:gd name="T30" fmla="*/ 0 w 180"/>
                <a:gd name="T31" fmla="*/ 3 h 262"/>
                <a:gd name="T32" fmla="*/ 0 w 180"/>
                <a:gd name="T33" fmla="*/ 3 h 262"/>
                <a:gd name="T34" fmla="*/ 0 w 180"/>
                <a:gd name="T35" fmla="*/ 5 h 262"/>
                <a:gd name="T36" fmla="*/ 0 w 180"/>
                <a:gd name="T37" fmla="*/ 5 h 262"/>
                <a:gd name="T38" fmla="*/ 0 w 180"/>
                <a:gd name="T39" fmla="*/ 5 h 262"/>
                <a:gd name="T40" fmla="*/ 1 w 180"/>
                <a:gd name="T41" fmla="*/ 5 h 262"/>
                <a:gd name="T42" fmla="*/ 2 w 180"/>
                <a:gd name="T43" fmla="*/ 5 h 262"/>
                <a:gd name="T44" fmla="*/ 4 w 180"/>
                <a:gd name="T45" fmla="*/ 3 h 262"/>
                <a:gd name="T46" fmla="*/ 4 w 180"/>
                <a:gd name="T47" fmla="*/ 3 h 262"/>
                <a:gd name="T48" fmla="*/ 5 w 180"/>
                <a:gd name="T49" fmla="*/ 2 h 262"/>
                <a:gd name="T50" fmla="*/ 5 w 180"/>
                <a:gd name="T51" fmla="*/ 2 h 262"/>
                <a:gd name="T52" fmla="*/ 6 w 180"/>
                <a:gd name="T53" fmla="*/ 1 h 262"/>
                <a:gd name="T54" fmla="*/ 6 w 180"/>
                <a:gd name="T55" fmla="*/ 0 h 2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80" h="262">
                  <a:moveTo>
                    <a:pt x="179" y="0"/>
                  </a:moveTo>
                  <a:lnTo>
                    <a:pt x="164" y="0"/>
                  </a:lnTo>
                  <a:lnTo>
                    <a:pt x="149" y="15"/>
                  </a:lnTo>
                  <a:lnTo>
                    <a:pt x="134" y="15"/>
                  </a:lnTo>
                  <a:lnTo>
                    <a:pt x="119" y="15"/>
                  </a:lnTo>
                  <a:lnTo>
                    <a:pt x="75" y="31"/>
                  </a:lnTo>
                  <a:lnTo>
                    <a:pt x="60" y="31"/>
                  </a:lnTo>
                  <a:lnTo>
                    <a:pt x="45" y="15"/>
                  </a:lnTo>
                  <a:lnTo>
                    <a:pt x="15" y="31"/>
                  </a:lnTo>
                  <a:lnTo>
                    <a:pt x="45" y="61"/>
                  </a:lnTo>
                  <a:lnTo>
                    <a:pt x="90" y="92"/>
                  </a:lnTo>
                  <a:lnTo>
                    <a:pt x="119" y="77"/>
                  </a:lnTo>
                  <a:lnTo>
                    <a:pt x="75" y="138"/>
                  </a:lnTo>
                  <a:lnTo>
                    <a:pt x="30" y="138"/>
                  </a:lnTo>
                  <a:lnTo>
                    <a:pt x="15" y="154"/>
                  </a:lnTo>
                  <a:lnTo>
                    <a:pt x="0" y="154"/>
                  </a:lnTo>
                  <a:lnTo>
                    <a:pt x="0" y="169"/>
                  </a:lnTo>
                  <a:lnTo>
                    <a:pt x="0" y="261"/>
                  </a:lnTo>
                  <a:lnTo>
                    <a:pt x="15" y="261"/>
                  </a:lnTo>
                  <a:lnTo>
                    <a:pt x="15" y="246"/>
                  </a:lnTo>
                  <a:lnTo>
                    <a:pt x="45" y="230"/>
                  </a:lnTo>
                  <a:lnTo>
                    <a:pt x="60" y="215"/>
                  </a:lnTo>
                  <a:lnTo>
                    <a:pt x="119" y="154"/>
                  </a:lnTo>
                  <a:lnTo>
                    <a:pt x="119" y="138"/>
                  </a:lnTo>
                  <a:lnTo>
                    <a:pt x="149" y="92"/>
                  </a:lnTo>
                  <a:lnTo>
                    <a:pt x="149" y="77"/>
                  </a:lnTo>
                  <a:lnTo>
                    <a:pt x="179" y="61"/>
                  </a:lnTo>
                  <a:lnTo>
                    <a:pt x="17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50" name="Freeform 575"/>
            <p:cNvSpPr>
              <a:spLocks/>
            </p:cNvSpPr>
            <p:nvPr/>
          </p:nvSpPr>
          <p:spPr bwMode="auto">
            <a:xfrm>
              <a:off x="7297" y="1702"/>
              <a:ext cx="65" cy="64"/>
            </a:xfrm>
            <a:custGeom>
              <a:avLst/>
              <a:gdLst>
                <a:gd name="T0" fmla="*/ 5 w 150"/>
                <a:gd name="T1" fmla="*/ 2 h 170"/>
                <a:gd name="T2" fmla="*/ 5 w 150"/>
                <a:gd name="T3" fmla="*/ 2 h 170"/>
                <a:gd name="T4" fmla="*/ 5 w 150"/>
                <a:gd name="T5" fmla="*/ 0 h 170"/>
                <a:gd name="T6" fmla="*/ 5 w 150"/>
                <a:gd name="T7" fmla="*/ 0 h 170"/>
                <a:gd name="T8" fmla="*/ 4 w 150"/>
                <a:gd name="T9" fmla="*/ 0 h 170"/>
                <a:gd name="T10" fmla="*/ 4 w 150"/>
                <a:gd name="T11" fmla="*/ 0 h 170"/>
                <a:gd name="T12" fmla="*/ 3 w 150"/>
                <a:gd name="T13" fmla="*/ 0 h 170"/>
                <a:gd name="T14" fmla="*/ 2 w 150"/>
                <a:gd name="T15" fmla="*/ 0 h 170"/>
                <a:gd name="T16" fmla="*/ 0 w 150"/>
                <a:gd name="T17" fmla="*/ 0 h 170"/>
                <a:gd name="T18" fmla="*/ 0 w 150"/>
                <a:gd name="T19" fmla="*/ 0 h 170"/>
                <a:gd name="T20" fmla="*/ 0 w 150"/>
                <a:gd name="T21" fmla="*/ 1 h 170"/>
                <a:gd name="T22" fmla="*/ 0 w 150"/>
                <a:gd name="T23" fmla="*/ 2 h 170"/>
                <a:gd name="T24" fmla="*/ 0 w 150"/>
                <a:gd name="T25" fmla="*/ 2 h 170"/>
                <a:gd name="T26" fmla="*/ 2 w 150"/>
                <a:gd name="T27" fmla="*/ 3 h 170"/>
                <a:gd name="T28" fmla="*/ 3 w 150"/>
                <a:gd name="T29" fmla="*/ 3 h 170"/>
                <a:gd name="T30" fmla="*/ 4 w 150"/>
                <a:gd name="T31" fmla="*/ 3 h 170"/>
                <a:gd name="T32" fmla="*/ 4 w 150"/>
                <a:gd name="T33" fmla="*/ 3 h 170"/>
                <a:gd name="T34" fmla="*/ 5 w 150"/>
                <a:gd name="T35" fmla="*/ 3 h 170"/>
                <a:gd name="T36" fmla="*/ 5 w 150"/>
                <a:gd name="T37" fmla="*/ 2 h 1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0" h="170">
                  <a:moveTo>
                    <a:pt x="149" y="108"/>
                  </a:moveTo>
                  <a:lnTo>
                    <a:pt x="134" y="108"/>
                  </a:lnTo>
                  <a:lnTo>
                    <a:pt x="134" y="15"/>
                  </a:lnTo>
                  <a:lnTo>
                    <a:pt x="134" y="0"/>
                  </a:lnTo>
                  <a:lnTo>
                    <a:pt x="119" y="0"/>
                  </a:lnTo>
                  <a:lnTo>
                    <a:pt x="104" y="15"/>
                  </a:lnTo>
                  <a:lnTo>
                    <a:pt x="75" y="0"/>
                  </a:lnTo>
                  <a:lnTo>
                    <a:pt x="45" y="0"/>
                  </a:lnTo>
                  <a:lnTo>
                    <a:pt x="0" y="0"/>
                  </a:lnTo>
                  <a:lnTo>
                    <a:pt x="15" y="15"/>
                  </a:lnTo>
                  <a:lnTo>
                    <a:pt x="15" y="61"/>
                  </a:lnTo>
                  <a:lnTo>
                    <a:pt x="15" y="77"/>
                  </a:lnTo>
                  <a:lnTo>
                    <a:pt x="15" y="92"/>
                  </a:lnTo>
                  <a:lnTo>
                    <a:pt x="60" y="138"/>
                  </a:lnTo>
                  <a:lnTo>
                    <a:pt x="75" y="154"/>
                  </a:lnTo>
                  <a:lnTo>
                    <a:pt x="104" y="169"/>
                  </a:lnTo>
                  <a:lnTo>
                    <a:pt x="119" y="138"/>
                  </a:lnTo>
                  <a:lnTo>
                    <a:pt x="134" y="138"/>
                  </a:lnTo>
                  <a:lnTo>
                    <a:pt x="149" y="108"/>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51" name="Oval 576"/>
            <p:cNvSpPr>
              <a:spLocks noChangeArrowheads="1"/>
            </p:cNvSpPr>
            <p:nvPr/>
          </p:nvSpPr>
          <p:spPr bwMode="auto">
            <a:xfrm>
              <a:off x="7380" y="1807"/>
              <a:ext cx="0"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952" name="Oval 577"/>
            <p:cNvSpPr>
              <a:spLocks noChangeArrowheads="1"/>
            </p:cNvSpPr>
            <p:nvPr/>
          </p:nvSpPr>
          <p:spPr bwMode="auto">
            <a:xfrm>
              <a:off x="7438" y="1760"/>
              <a:ext cx="1"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953" name="Freeform 578"/>
            <p:cNvSpPr>
              <a:spLocks/>
            </p:cNvSpPr>
            <p:nvPr/>
          </p:nvSpPr>
          <p:spPr bwMode="auto">
            <a:xfrm>
              <a:off x="7367" y="1603"/>
              <a:ext cx="33" cy="36"/>
            </a:xfrm>
            <a:custGeom>
              <a:avLst/>
              <a:gdLst>
                <a:gd name="T0" fmla="*/ 1 w 76"/>
                <a:gd name="T1" fmla="*/ 2 h 93"/>
                <a:gd name="T2" fmla="*/ 0 w 76"/>
                <a:gd name="T3" fmla="*/ 1 h 93"/>
                <a:gd name="T4" fmla="*/ 0 w 76"/>
                <a:gd name="T5" fmla="*/ 1 h 93"/>
                <a:gd name="T6" fmla="*/ 0 w 76"/>
                <a:gd name="T7" fmla="*/ 0 h 93"/>
                <a:gd name="T8" fmla="*/ 0 w 76"/>
                <a:gd name="T9" fmla="*/ 0 h 93"/>
                <a:gd name="T10" fmla="*/ 3 w 76"/>
                <a:gd name="T11" fmla="*/ 0 h 93"/>
                <a:gd name="T12" fmla="*/ 2 w 76"/>
                <a:gd name="T13" fmla="*/ 2 h 93"/>
                <a:gd name="T14" fmla="*/ 1 w 76"/>
                <a:gd name="T15" fmla="*/ 2 h 9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6" h="93">
                  <a:moveTo>
                    <a:pt x="30" y="77"/>
                  </a:moveTo>
                  <a:lnTo>
                    <a:pt x="15" y="61"/>
                  </a:lnTo>
                  <a:lnTo>
                    <a:pt x="0" y="31"/>
                  </a:lnTo>
                  <a:lnTo>
                    <a:pt x="0" y="15"/>
                  </a:lnTo>
                  <a:lnTo>
                    <a:pt x="15" y="0"/>
                  </a:lnTo>
                  <a:lnTo>
                    <a:pt x="75" y="15"/>
                  </a:lnTo>
                  <a:lnTo>
                    <a:pt x="45" y="92"/>
                  </a:lnTo>
                  <a:lnTo>
                    <a:pt x="30"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54" name="Line 579"/>
            <p:cNvSpPr>
              <a:spLocks noChangeShapeType="1"/>
            </p:cNvSpPr>
            <p:nvPr/>
          </p:nvSpPr>
          <p:spPr bwMode="auto">
            <a:xfrm>
              <a:off x="7367" y="1603"/>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55" name="Line 580"/>
            <p:cNvSpPr>
              <a:spLocks noChangeShapeType="1"/>
            </p:cNvSpPr>
            <p:nvPr/>
          </p:nvSpPr>
          <p:spPr bwMode="auto">
            <a:xfrm flipV="1">
              <a:off x="7374" y="1597"/>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56" name="Line 581"/>
            <p:cNvSpPr>
              <a:spLocks noChangeShapeType="1"/>
            </p:cNvSpPr>
            <p:nvPr/>
          </p:nvSpPr>
          <p:spPr bwMode="auto">
            <a:xfrm>
              <a:off x="7380" y="1598"/>
              <a:ext cx="0"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57" name="Freeform 582"/>
            <p:cNvSpPr>
              <a:spLocks/>
            </p:cNvSpPr>
            <p:nvPr/>
          </p:nvSpPr>
          <p:spPr bwMode="auto">
            <a:xfrm>
              <a:off x="7418" y="1523"/>
              <a:ext cx="8" cy="11"/>
            </a:xfrm>
            <a:custGeom>
              <a:avLst/>
              <a:gdLst>
                <a:gd name="T0" fmla="*/ 1 w 17"/>
                <a:gd name="T1" fmla="*/ 0 h 31"/>
                <a:gd name="T2" fmla="*/ 0 w 17"/>
                <a:gd name="T3" fmla="*/ 0 h 31"/>
                <a:gd name="T4" fmla="*/ 1 w 17"/>
                <a:gd name="T5" fmla="*/ 0 h 31"/>
                <a:gd name="T6" fmla="*/ 1 w 17"/>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1">
                  <a:moveTo>
                    <a:pt x="16" y="0"/>
                  </a:moveTo>
                  <a:lnTo>
                    <a:pt x="0" y="15"/>
                  </a:lnTo>
                  <a:lnTo>
                    <a:pt x="16" y="30"/>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58" name="Freeform 583"/>
            <p:cNvSpPr>
              <a:spLocks/>
            </p:cNvSpPr>
            <p:nvPr/>
          </p:nvSpPr>
          <p:spPr bwMode="auto">
            <a:xfrm>
              <a:off x="7374" y="1511"/>
              <a:ext cx="32" cy="6"/>
            </a:xfrm>
            <a:custGeom>
              <a:avLst/>
              <a:gdLst>
                <a:gd name="T0" fmla="*/ 3 w 75"/>
                <a:gd name="T1" fmla="*/ 0 h 17"/>
                <a:gd name="T2" fmla="*/ 2 w 75"/>
                <a:gd name="T3" fmla="*/ 0 h 17"/>
                <a:gd name="T4" fmla="*/ 1 w 75"/>
                <a:gd name="T5" fmla="*/ 0 h 17"/>
                <a:gd name="T6" fmla="*/ 1 w 75"/>
                <a:gd name="T7" fmla="*/ 0 h 17"/>
                <a:gd name="T8" fmla="*/ 0 w 75"/>
                <a:gd name="T9" fmla="*/ 0 h 17"/>
                <a:gd name="T10" fmla="*/ 1 w 75"/>
                <a:gd name="T11" fmla="*/ 0 h 17"/>
                <a:gd name="T12" fmla="*/ 3 w 75"/>
                <a:gd name="T13" fmla="*/ 0 h 1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5" h="17">
                  <a:moveTo>
                    <a:pt x="74" y="16"/>
                  </a:moveTo>
                  <a:lnTo>
                    <a:pt x="59" y="16"/>
                  </a:lnTo>
                  <a:lnTo>
                    <a:pt x="44" y="16"/>
                  </a:lnTo>
                  <a:lnTo>
                    <a:pt x="30" y="0"/>
                  </a:lnTo>
                  <a:lnTo>
                    <a:pt x="0" y="0"/>
                  </a:lnTo>
                  <a:lnTo>
                    <a:pt x="44" y="0"/>
                  </a:lnTo>
                  <a:lnTo>
                    <a:pt x="74"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59" name="Line 584"/>
            <p:cNvSpPr>
              <a:spLocks noChangeShapeType="1"/>
            </p:cNvSpPr>
            <p:nvPr/>
          </p:nvSpPr>
          <p:spPr bwMode="auto">
            <a:xfrm>
              <a:off x="7386" y="1603"/>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0" name="Line 585"/>
            <p:cNvSpPr>
              <a:spLocks noChangeShapeType="1"/>
            </p:cNvSpPr>
            <p:nvPr/>
          </p:nvSpPr>
          <p:spPr bwMode="auto">
            <a:xfrm>
              <a:off x="7400" y="1603"/>
              <a:ext cx="0" cy="7"/>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1" name="Line 586"/>
            <p:cNvSpPr>
              <a:spLocks noChangeShapeType="1"/>
            </p:cNvSpPr>
            <p:nvPr/>
          </p:nvSpPr>
          <p:spPr bwMode="auto">
            <a:xfrm>
              <a:off x="7406" y="1603"/>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2" name="Line 587"/>
            <p:cNvSpPr>
              <a:spLocks noChangeShapeType="1"/>
            </p:cNvSpPr>
            <p:nvPr/>
          </p:nvSpPr>
          <p:spPr bwMode="auto">
            <a:xfrm flipV="1">
              <a:off x="7412" y="1597"/>
              <a:ext cx="6"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3" name="Freeform 588"/>
            <p:cNvSpPr>
              <a:spLocks/>
            </p:cNvSpPr>
            <p:nvPr/>
          </p:nvSpPr>
          <p:spPr bwMode="auto">
            <a:xfrm>
              <a:off x="7386" y="1592"/>
              <a:ext cx="65" cy="47"/>
            </a:xfrm>
            <a:custGeom>
              <a:avLst/>
              <a:gdLst>
                <a:gd name="T0" fmla="*/ 1 w 151"/>
                <a:gd name="T1" fmla="*/ 1 h 123"/>
                <a:gd name="T2" fmla="*/ 0 w 151"/>
                <a:gd name="T3" fmla="*/ 3 h 123"/>
                <a:gd name="T4" fmla="*/ 1 w 151"/>
                <a:gd name="T5" fmla="*/ 2 h 123"/>
                <a:gd name="T6" fmla="*/ 4 w 151"/>
                <a:gd name="T7" fmla="*/ 1 h 123"/>
                <a:gd name="T8" fmla="*/ 5 w 151"/>
                <a:gd name="T9" fmla="*/ 1 h 123"/>
                <a:gd name="T10" fmla="*/ 5 w 151"/>
                <a:gd name="T11" fmla="*/ 1 h 123"/>
                <a:gd name="T12" fmla="*/ 5 w 151"/>
                <a:gd name="T13" fmla="*/ 0 h 123"/>
                <a:gd name="T14" fmla="*/ 2 w 151"/>
                <a:gd name="T15" fmla="*/ 1 h 123"/>
                <a:gd name="T16" fmla="*/ 1 w 151"/>
                <a:gd name="T17" fmla="*/ 1 h 1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1" h="123">
                  <a:moveTo>
                    <a:pt x="30" y="46"/>
                  </a:moveTo>
                  <a:lnTo>
                    <a:pt x="0" y="122"/>
                  </a:lnTo>
                  <a:lnTo>
                    <a:pt x="30" y="107"/>
                  </a:lnTo>
                  <a:lnTo>
                    <a:pt x="120" y="61"/>
                  </a:lnTo>
                  <a:lnTo>
                    <a:pt x="135" y="46"/>
                  </a:lnTo>
                  <a:lnTo>
                    <a:pt x="150" y="31"/>
                  </a:lnTo>
                  <a:lnTo>
                    <a:pt x="135" y="0"/>
                  </a:lnTo>
                  <a:lnTo>
                    <a:pt x="60" y="31"/>
                  </a:lnTo>
                  <a:lnTo>
                    <a:pt x="30"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4" name="Line 589"/>
            <p:cNvSpPr>
              <a:spLocks noChangeShapeType="1"/>
            </p:cNvSpPr>
            <p:nvPr/>
          </p:nvSpPr>
          <p:spPr bwMode="auto">
            <a:xfrm>
              <a:off x="7418" y="1598"/>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5" name="Freeform 590"/>
            <p:cNvSpPr>
              <a:spLocks/>
            </p:cNvSpPr>
            <p:nvPr/>
          </p:nvSpPr>
          <p:spPr bwMode="auto">
            <a:xfrm>
              <a:off x="7136" y="1278"/>
              <a:ext cx="71" cy="76"/>
            </a:xfrm>
            <a:custGeom>
              <a:avLst/>
              <a:gdLst>
                <a:gd name="T0" fmla="*/ 0 w 165"/>
                <a:gd name="T1" fmla="*/ 2 h 202"/>
                <a:gd name="T2" fmla="*/ 0 w 165"/>
                <a:gd name="T3" fmla="*/ 2 h 202"/>
                <a:gd name="T4" fmla="*/ 0 w 165"/>
                <a:gd name="T5" fmla="*/ 3 h 202"/>
                <a:gd name="T6" fmla="*/ 2 w 165"/>
                <a:gd name="T7" fmla="*/ 3 h 202"/>
                <a:gd name="T8" fmla="*/ 3 w 165"/>
                <a:gd name="T9" fmla="*/ 3 h 202"/>
                <a:gd name="T10" fmla="*/ 4 w 165"/>
                <a:gd name="T11" fmla="*/ 3 h 202"/>
                <a:gd name="T12" fmla="*/ 5 w 165"/>
                <a:gd name="T13" fmla="*/ 4 h 202"/>
                <a:gd name="T14" fmla="*/ 6 w 165"/>
                <a:gd name="T15" fmla="*/ 3 h 202"/>
                <a:gd name="T16" fmla="*/ 5 w 165"/>
                <a:gd name="T17" fmla="*/ 2 h 202"/>
                <a:gd name="T18" fmla="*/ 5 w 165"/>
                <a:gd name="T19" fmla="*/ 2 h 202"/>
                <a:gd name="T20" fmla="*/ 3 w 165"/>
                <a:gd name="T21" fmla="*/ 0 h 202"/>
                <a:gd name="T22" fmla="*/ 3 w 165"/>
                <a:gd name="T23" fmla="*/ 1 h 202"/>
                <a:gd name="T24" fmla="*/ 3 w 165"/>
                <a:gd name="T25" fmla="*/ 1 h 202"/>
                <a:gd name="T26" fmla="*/ 2 w 165"/>
                <a:gd name="T27" fmla="*/ 1 h 202"/>
                <a:gd name="T28" fmla="*/ 0 w 165"/>
                <a:gd name="T29" fmla="*/ 2 h 2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5" h="202">
                  <a:moveTo>
                    <a:pt x="15" y="77"/>
                  </a:moveTo>
                  <a:lnTo>
                    <a:pt x="0" y="93"/>
                  </a:lnTo>
                  <a:lnTo>
                    <a:pt x="15" y="139"/>
                  </a:lnTo>
                  <a:lnTo>
                    <a:pt x="60" y="155"/>
                  </a:lnTo>
                  <a:lnTo>
                    <a:pt x="89" y="170"/>
                  </a:lnTo>
                  <a:lnTo>
                    <a:pt x="119" y="170"/>
                  </a:lnTo>
                  <a:lnTo>
                    <a:pt x="149" y="201"/>
                  </a:lnTo>
                  <a:lnTo>
                    <a:pt x="164" y="139"/>
                  </a:lnTo>
                  <a:lnTo>
                    <a:pt x="149" y="108"/>
                  </a:lnTo>
                  <a:lnTo>
                    <a:pt x="149" y="77"/>
                  </a:lnTo>
                  <a:lnTo>
                    <a:pt x="104" y="0"/>
                  </a:lnTo>
                  <a:lnTo>
                    <a:pt x="104" y="46"/>
                  </a:lnTo>
                  <a:lnTo>
                    <a:pt x="75" y="62"/>
                  </a:lnTo>
                  <a:lnTo>
                    <a:pt x="60" y="46"/>
                  </a:lnTo>
                  <a:lnTo>
                    <a:pt x="15" y="7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6" name="Freeform 591"/>
            <p:cNvSpPr>
              <a:spLocks/>
            </p:cNvSpPr>
            <p:nvPr/>
          </p:nvSpPr>
          <p:spPr bwMode="auto">
            <a:xfrm>
              <a:off x="7214" y="1464"/>
              <a:ext cx="18" cy="0"/>
            </a:xfrm>
            <a:custGeom>
              <a:avLst/>
              <a:gdLst>
                <a:gd name="T0" fmla="*/ 1 w 46"/>
                <a:gd name="T1" fmla="*/ 0 h 1"/>
                <a:gd name="T2" fmla="*/ 1 w 46"/>
                <a:gd name="T3" fmla="*/ 0 h 1"/>
                <a:gd name="T4" fmla="*/ 0 w 46"/>
                <a:gd name="T5" fmla="*/ 0 h 1"/>
                <a:gd name="T6" fmla="*/ 1 w 46"/>
                <a:gd name="T7" fmla="*/ 0 h 1"/>
                <a:gd name="T8" fmla="*/ 1 w 46"/>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1">
                  <a:moveTo>
                    <a:pt x="45" y="0"/>
                  </a:moveTo>
                  <a:lnTo>
                    <a:pt x="30" y="0"/>
                  </a:lnTo>
                  <a:lnTo>
                    <a:pt x="0" y="0"/>
                  </a:lnTo>
                  <a:lnTo>
                    <a:pt x="30" y="0"/>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7" name="Freeform 592"/>
            <p:cNvSpPr>
              <a:spLocks/>
            </p:cNvSpPr>
            <p:nvPr/>
          </p:nvSpPr>
          <p:spPr bwMode="auto">
            <a:xfrm>
              <a:off x="7304" y="1441"/>
              <a:ext cx="50" cy="47"/>
            </a:xfrm>
            <a:custGeom>
              <a:avLst/>
              <a:gdLst>
                <a:gd name="T0" fmla="*/ 0 w 120"/>
                <a:gd name="T1" fmla="*/ 1 h 124"/>
                <a:gd name="T2" fmla="*/ 0 w 120"/>
                <a:gd name="T3" fmla="*/ 2 h 124"/>
                <a:gd name="T4" fmla="*/ 0 w 120"/>
                <a:gd name="T5" fmla="*/ 2 h 124"/>
                <a:gd name="T6" fmla="*/ 0 w 120"/>
                <a:gd name="T7" fmla="*/ 3 h 124"/>
                <a:gd name="T8" fmla="*/ 1 w 120"/>
                <a:gd name="T9" fmla="*/ 3 h 124"/>
                <a:gd name="T10" fmla="*/ 1 w 120"/>
                <a:gd name="T11" fmla="*/ 2 h 124"/>
                <a:gd name="T12" fmla="*/ 3 w 120"/>
                <a:gd name="T13" fmla="*/ 1 h 124"/>
                <a:gd name="T14" fmla="*/ 3 w 120"/>
                <a:gd name="T15" fmla="*/ 1 h 124"/>
                <a:gd name="T16" fmla="*/ 4 w 120"/>
                <a:gd name="T17" fmla="*/ 0 h 124"/>
                <a:gd name="T18" fmla="*/ 3 w 120"/>
                <a:gd name="T19" fmla="*/ 0 h 124"/>
                <a:gd name="T20" fmla="*/ 1 w 120"/>
                <a:gd name="T21" fmla="*/ 1 h 124"/>
                <a:gd name="T22" fmla="*/ 0 w 120"/>
                <a:gd name="T23" fmla="*/ 1 h 124"/>
                <a:gd name="T24" fmla="*/ 0 w 120"/>
                <a:gd name="T25" fmla="*/ 1 h 124"/>
                <a:gd name="T26" fmla="*/ 0 w 120"/>
                <a:gd name="T27" fmla="*/ 1 h 1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0" h="124">
                  <a:moveTo>
                    <a:pt x="0" y="62"/>
                  </a:moveTo>
                  <a:lnTo>
                    <a:pt x="15" y="77"/>
                  </a:lnTo>
                  <a:lnTo>
                    <a:pt x="0" y="92"/>
                  </a:lnTo>
                  <a:lnTo>
                    <a:pt x="0" y="123"/>
                  </a:lnTo>
                  <a:lnTo>
                    <a:pt x="30" y="123"/>
                  </a:lnTo>
                  <a:lnTo>
                    <a:pt x="45" y="92"/>
                  </a:lnTo>
                  <a:lnTo>
                    <a:pt x="89" y="62"/>
                  </a:lnTo>
                  <a:lnTo>
                    <a:pt x="104" y="31"/>
                  </a:lnTo>
                  <a:lnTo>
                    <a:pt x="119" y="15"/>
                  </a:lnTo>
                  <a:lnTo>
                    <a:pt x="104" y="0"/>
                  </a:lnTo>
                  <a:lnTo>
                    <a:pt x="30" y="31"/>
                  </a:lnTo>
                  <a:lnTo>
                    <a:pt x="15" y="46"/>
                  </a:lnTo>
                  <a:lnTo>
                    <a:pt x="0" y="46"/>
                  </a:lnTo>
                  <a:lnTo>
                    <a:pt x="0" y="62"/>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8" name="Freeform 593"/>
            <p:cNvSpPr>
              <a:spLocks/>
            </p:cNvSpPr>
            <p:nvPr/>
          </p:nvSpPr>
          <p:spPr bwMode="auto">
            <a:xfrm>
              <a:off x="7297" y="1476"/>
              <a:ext cx="33" cy="41"/>
            </a:xfrm>
            <a:custGeom>
              <a:avLst/>
              <a:gdLst>
                <a:gd name="T0" fmla="*/ 3 w 76"/>
                <a:gd name="T1" fmla="*/ 0 h 108"/>
                <a:gd name="T2" fmla="*/ 2 w 76"/>
                <a:gd name="T3" fmla="*/ 0 h 108"/>
                <a:gd name="T4" fmla="*/ 2 w 76"/>
                <a:gd name="T5" fmla="*/ 1 h 108"/>
                <a:gd name="T6" fmla="*/ 0 w 76"/>
                <a:gd name="T7" fmla="*/ 1 h 108"/>
                <a:gd name="T8" fmla="*/ 0 w 76"/>
                <a:gd name="T9" fmla="*/ 1 h 108"/>
                <a:gd name="T10" fmla="*/ 0 w 76"/>
                <a:gd name="T11" fmla="*/ 2 h 108"/>
                <a:gd name="T12" fmla="*/ 2 w 76"/>
                <a:gd name="T13" fmla="*/ 2 h 108"/>
                <a:gd name="T14" fmla="*/ 3 w 76"/>
                <a:gd name="T15" fmla="*/ 1 h 108"/>
                <a:gd name="T16" fmla="*/ 2 w 76"/>
                <a:gd name="T17" fmla="*/ 1 h 108"/>
                <a:gd name="T18" fmla="*/ 3 w 76"/>
                <a:gd name="T19" fmla="*/ 0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6" h="108">
                  <a:moveTo>
                    <a:pt x="75" y="15"/>
                  </a:moveTo>
                  <a:lnTo>
                    <a:pt x="60" y="0"/>
                  </a:lnTo>
                  <a:lnTo>
                    <a:pt x="45" y="31"/>
                  </a:lnTo>
                  <a:lnTo>
                    <a:pt x="15" y="31"/>
                  </a:lnTo>
                  <a:lnTo>
                    <a:pt x="15" y="46"/>
                  </a:lnTo>
                  <a:lnTo>
                    <a:pt x="0" y="107"/>
                  </a:lnTo>
                  <a:lnTo>
                    <a:pt x="60" y="76"/>
                  </a:lnTo>
                  <a:lnTo>
                    <a:pt x="75" y="61"/>
                  </a:lnTo>
                  <a:lnTo>
                    <a:pt x="45" y="31"/>
                  </a:lnTo>
                  <a:lnTo>
                    <a:pt x="7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69" name="Freeform 594"/>
            <p:cNvSpPr>
              <a:spLocks/>
            </p:cNvSpPr>
            <p:nvPr/>
          </p:nvSpPr>
          <p:spPr bwMode="auto">
            <a:xfrm>
              <a:off x="7232" y="1406"/>
              <a:ext cx="135" cy="53"/>
            </a:xfrm>
            <a:custGeom>
              <a:avLst/>
              <a:gdLst>
                <a:gd name="T0" fmla="*/ 6 w 315"/>
                <a:gd name="T1" fmla="*/ 3 h 139"/>
                <a:gd name="T2" fmla="*/ 6 w 315"/>
                <a:gd name="T3" fmla="*/ 3 h 139"/>
                <a:gd name="T4" fmla="*/ 6 w 315"/>
                <a:gd name="T5" fmla="*/ 3 h 139"/>
                <a:gd name="T6" fmla="*/ 9 w 315"/>
                <a:gd name="T7" fmla="*/ 2 h 139"/>
                <a:gd name="T8" fmla="*/ 11 w 315"/>
                <a:gd name="T9" fmla="*/ 2 h 139"/>
                <a:gd name="T10" fmla="*/ 10 w 315"/>
                <a:gd name="T11" fmla="*/ 1 h 139"/>
                <a:gd name="T12" fmla="*/ 11 w 315"/>
                <a:gd name="T13" fmla="*/ 1 h 139"/>
                <a:gd name="T14" fmla="*/ 11 w 315"/>
                <a:gd name="T15" fmla="*/ 1 h 139"/>
                <a:gd name="T16" fmla="*/ 10 w 315"/>
                <a:gd name="T17" fmla="*/ 1 h 139"/>
                <a:gd name="T18" fmla="*/ 10 w 315"/>
                <a:gd name="T19" fmla="*/ 0 h 139"/>
                <a:gd name="T20" fmla="*/ 9 w 315"/>
                <a:gd name="T21" fmla="*/ 0 h 139"/>
                <a:gd name="T22" fmla="*/ 9 w 315"/>
                <a:gd name="T23" fmla="*/ 0 h 139"/>
                <a:gd name="T24" fmla="*/ 8 w 315"/>
                <a:gd name="T25" fmla="*/ 1 h 139"/>
                <a:gd name="T26" fmla="*/ 7 w 315"/>
                <a:gd name="T27" fmla="*/ 0 h 139"/>
                <a:gd name="T28" fmla="*/ 7 w 315"/>
                <a:gd name="T29" fmla="*/ 1 h 139"/>
                <a:gd name="T30" fmla="*/ 5 w 315"/>
                <a:gd name="T31" fmla="*/ 0 h 139"/>
                <a:gd name="T32" fmla="*/ 3 w 315"/>
                <a:gd name="T33" fmla="*/ 0 h 139"/>
                <a:gd name="T34" fmla="*/ 3 w 315"/>
                <a:gd name="T35" fmla="*/ 1 h 139"/>
                <a:gd name="T36" fmla="*/ 1 w 315"/>
                <a:gd name="T37" fmla="*/ 1 h 139"/>
                <a:gd name="T38" fmla="*/ 1 w 315"/>
                <a:gd name="T39" fmla="*/ 1 h 139"/>
                <a:gd name="T40" fmla="*/ 0 w 315"/>
                <a:gd name="T41" fmla="*/ 1 h 139"/>
                <a:gd name="T42" fmla="*/ 0 w 315"/>
                <a:gd name="T43" fmla="*/ 1 h 139"/>
                <a:gd name="T44" fmla="*/ 0 w 315"/>
                <a:gd name="T45" fmla="*/ 2 h 139"/>
                <a:gd name="T46" fmla="*/ 0 w 315"/>
                <a:gd name="T47" fmla="*/ 2 h 139"/>
                <a:gd name="T48" fmla="*/ 0 w 315"/>
                <a:gd name="T49" fmla="*/ 2 h 139"/>
                <a:gd name="T50" fmla="*/ 0 w 315"/>
                <a:gd name="T51" fmla="*/ 2 h 139"/>
                <a:gd name="T52" fmla="*/ 0 w 315"/>
                <a:gd name="T53" fmla="*/ 2 h 139"/>
                <a:gd name="T54" fmla="*/ 1 w 315"/>
                <a:gd name="T55" fmla="*/ 3 h 139"/>
                <a:gd name="T56" fmla="*/ 3 w 315"/>
                <a:gd name="T57" fmla="*/ 3 h 139"/>
                <a:gd name="T58" fmla="*/ 3 w 315"/>
                <a:gd name="T59" fmla="*/ 3 h 139"/>
                <a:gd name="T60" fmla="*/ 3 w 315"/>
                <a:gd name="T61" fmla="*/ 3 h 139"/>
                <a:gd name="T62" fmla="*/ 5 w 315"/>
                <a:gd name="T63" fmla="*/ 2 h 139"/>
                <a:gd name="T64" fmla="*/ 6 w 315"/>
                <a:gd name="T65" fmla="*/ 2 h 139"/>
                <a:gd name="T66" fmla="*/ 6 w 315"/>
                <a:gd name="T67" fmla="*/ 3 h 1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15" h="139">
                  <a:moveTo>
                    <a:pt x="164" y="138"/>
                  </a:moveTo>
                  <a:lnTo>
                    <a:pt x="179" y="138"/>
                  </a:lnTo>
                  <a:lnTo>
                    <a:pt x="194" y="123"/>
                  </a:lnTo>
                  <a:lnTo>
                    <a:pt x="269" y="92"/>
                  </a:lnTo>
                  <a:lnTo>
                    <a:pt x="314" y="92"/>
                  </a:lnTo>
                  <a:lnTo>
                    <a:pt x="299" y="61"/>
                  </a:lnTo>
                  <a:lnTo>
                    <a:pt x="314" y="46"/>
                  </a:lnTo>
                  <a:lnTo>
                    <a:pt x="314" y="31"/>
                  </a:lnTo>
                  <a:lnTo>
                    <a:pt x="299" y="31"/>
                  </a:lnTo>
                  <a:lnTo>
                    <a:pt x="299" y="15"/>
                  </a:lnTo>
                  <a:lnTo>
                    <a:pt x="284" y="0"/>
                  </a:lnTo>
                  <a:lnTo>
                    <a:pt x="254" y="0"/>
                  </a:lnTo>
                  <a:lnTo>
                    <a:pt x="224" y="31"/>
                  </a:lnTo>
                  <a:lnTo>
                    <a:pt x="209" y="15"/>
                  </a:lnTo>
                  <a:lnTo>
                    <a:pt x="209" y="31"/>
                  </a:lnTo>
                  <a:lnTo>
                    <a:pt x="150" y="0"/>
                  </a:lnTo>
                  <a:lnTo>
                    <a:pt x="105" y="0"/>
                  </a:lnTo>
                  <a:lnTo>
                    <a:pt x="75" y="31"/>
                  </a:lnTo>
                  <a:lnTo>
                    <a:pt x="45" y="31"/>
                  </a:lnTo>
                  <a:lnTo>
                    <a:pt x="30" y="46"/>
                  </a:lnTo>
                  <a:lnTo>
                    <a:pt x="0" y="46"/>
                  </a:lnTo>
                  <a:lnTo>
                    <a:pt x="0" y="61"/>
                  </a:lnTo>
                  <a:lnTo>
                    <a:pt x="15" y="77"/>
                  </a:lnTo>
                  <a:lnTo>
                    <a:pt x="0" y="77"/>
                  </a:lnTo>
                  <a:lnTo>
                    <a:pt x="15" y="92"/>
                  </a:lnTo>
                  <a:lnTo>
                    <a:pt x="0" y="92"/>
                  </a:lnTo>
                  <a:lnTo>
                    <a:pt x="15" y="107"/>
                  </a:lnTo>
                  <a:lnTo>
                    <a:pt x="30" y="138"/>
                  </a:lnTo>
                  <a:lnTo>
                    <a:pt x="75" y="138"/>
                  </a:lnTo>
                  <a:lnTo>
                    <a:pt x="90" y="123"/>
                  </a:lnTo>
                  <a:lnTo>
                    <a:pt x="105" y="138"/>
                  </a:lnTo>
                  <a:lnTo>
                    <a:pt x="150" y="107"/>
                  </a:lnTo>
                  <a:lnTo>
                    <a:pt x="164" y="107"/>
                  </a:lnTo>
                  <a:lnTo>
                    <a:pt x="164" y="138"/>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0" name="Freeform 595"/>
            <p:cNvSpPr>
              <a:spLocks/>
            </p:cNvSpPr>
            <p:nvPr/>
          </p:nvSpPr>
          <p:spPr bwMode="auto">
            <a:xfrm>
              <a:off x="7232" y="1406"/>
              <a:ext cx="20" cy="11"/>
            </a:xfrm>
            <a:custGeom>
              <a:avLst/>
              <a:gdLst>
                <a:gd name="T0" fmla="*/ 0 w 46"/>
                <a:gd name="T1" fmla="*/ 0 h 31"/>
                <a:gd name="T2" fmla="*/ 0 w 46"/>
                <a:gd name="T3" fmla="*/ 0 h 31"/>
                <a:gd name="T4" fmla="*/ 0 w 46"/>
                <a:gd name="T5" fmla="*/ 0 h 31"/>
                <a:gd name="T6" fmla="*/ 0 w 46"/>
                <a:gd name="T7" fmla="*/ 0 h 31"/>
                <a:gd name="T8" fmla="*/ 1 w 46"/>
                <a:gd name="T9" fmla="*/ 0 h 31"/>
                <a:gd name="T10" fmla="*/ 2 w 46"/>
                <a:gd name="T11" fmla="*/ 0 h 31"/>
                <a:gd name="T12" fmla="*/ 0 w 46"/>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31">
                  <a:moveTo>
                    <a:pt x="15" y="0"/>
                  </a:moveTo>
                  <a:lnTo>
                    <a:pt x="0" y="15"/>
                  </a:lnTo>
                  <a:lnTo>
                    <a:pt x="0" y="30"/>
                  </a:lnTo>
                  <a:lnTo>
                    <a:pt x="15" y="30"/>
                  </a:lnTo>
                  <a:lnTo>
                    <a:pt x="30" y="30"/>
                  </a:lnTo>
                  <a:lnTo>
                    <a:pt x="45" y="15"/>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1" name="Freeform 596"/>
            <p:cNvSpPr>
              <a:spLocks/>
            </p:cNvSpPr>
            <p:nvPr/>
          </p:nvSpPr>
          <p:spPr bwMode="auto">
            <a:xfrm>
              <a:off x="7323" y="1441"/>
              <a:ext cx="83" cy="70"/>
            </a:xfrm>
            <a:custGeom>
              <a:avLst/>
              <a:gdLst>
                <a:gd name="T0" fmla="*/ 3 w 194"/>
                <a:gd name="T1" fmla="*/ 0 h 185"/>
                <a:gd name="T2" fmla="*/ 2 w 194"/>
                <a:gd name="T3" fmla="*/ 0 h 185"/>
                <a:gd name="T4" fmla="*/ 3 w 194"/>
                <a:gd name="T5" fmla="*/ 0 h 185"/>
                <a:gd name="T6" fmla="*/ 2 w 194"/>
                <a:gd name="T7" fmla="*/ 1 h 185"/>
                <a:gd name="T8" fmla="*/ 1 w 194"/>
                <a:gd name="T9" fmla="*/ 1 h 185"/>
                <a:gd name="T10" fmla="*/ 0 w 194"/>
                <a:gd name="T11" fmla="*/ 2 h 185"/>
                <a:gd name="T12" fmla="*/ 0 w 194"/>
                <a:gd name="T13" fmla="*/ 2 h 185"/>
                <a:gd name="T14" fmla="*/ 1 w 194"/>
                <a:gd name="T15" fmla="*/ 3 h 185"/>
                <a:gd name="T16" fmla="*/ 3 w 194"/>
                <a:gd name="T17" fmla="*/ 3 h 185"/>
                <a:gd name="T18" fmla="*/ 3 w 194"/>
                <a:gd name="T19" fmla="*/ 3 h 185"/>
                <a:gd name="T20" fmla="*/ 3 w 194"/>
                <a:gd name="T21" fmla="*/ 3 h 185"/>
                <a:gd name="T22" fmla="*/ 4 w 194"/>
                <a:gd name="T23" fmla="*/ 4 h 185"/>
                <a:gd name="T24" fmla="*/ 6 w 194"/>
                <a:gd name="T25" fmla="*/ 4 h 185"/>
                <a:gd name="T26" fmla="*/ 6 w 194"/>
                <a:gd name="T27" fmla="*/ 3 h 185"/>
                <a:gd name="T28" fmla="*/ 6 w 194"/>
                <a:gd name="T29" fmla="*/ 3 h 185"/>
                <a:gd name="T30" fmla="*/ 6 w 194"/>
                <a:gd name="T31" fmla="*/ 3 h 185"/>
                <a:gd name="T32" fmla="*/ 6 w 194"/>
                <a:gd name="T33" fmla="*/ 2 h 185"/>
                <a:gd name="T34" fmla="*/ 4 w 194"/>
                <a:gd name="T35" fmla="*/ 2 h 185"/>
                <a:gd name="T36" fmla="*/ 4 w 194"/>
                <a:gd name="T37" fmla="*/ 1 h 185"/>
                <a:gd name="T38" fmla="*/ 4 w 194"/>
                <a:gd name="T39" fmla="*/ 1 h 185"/>
                <a:gd name="T40" fmla="*/ 4 w 194"/>
                <a:gd name="T41" fmla="*/ 0 h 185"/>
                <a:gd name="T42" fmla="*/ 3 w 194"/>
                <a:gd name="T43" fmla="*/ 0 h 18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94" h="185">
                  <a:moveTo>
                    <a:pt x="104" y="0"/>
                  </a:moveTo>
                  <a:lnTo>
                    <a:pt x="59" y="0"/>
                  </a:lnTo>
                  <a:lnTo>
                    <a:pt x="74" y="15"/>
                  </a:lnTo>
                  <a:lnTo>
                    <a:pt x="59" y="31"/>
                  </a:lnTo>
                  <a:lnTo>
                    <a:pt x="45" y="61"/>
                  </a:lnTo>
                  <a:lnTo>
                    <a:pt x="0" y="92"/>
                  </a:lnTo>
                  <a:lnTo>
                    <a:pt x="15" y="107"/>
                  </a:lnTo>
                  <a:lnTo>
                    <a:pt x="30" y="123"/>
                  </a:lnTo>
                  <a:lnTo>
                    <a:pt x="89" y="138"/>
                  </a:lnTo>
                  <a:lnTo>
                    <a:pt x="89" y="153"/>
                  </a:lnTo>
                  <a:lnTo>
                    <a:pt x="104" y="153"/>
                  </a:lnTo>
                  <a:lnTo>
                    <a:pt x="119" y="184"/>
                  </a:lnTo>
                  <a:lnTo>
                    <a:pt x="163" y="184"/>
                  </a:lnTo>
                  <a:lnTo>
                    <a:pt x="178" y="153"/>
                  </a:lnTo>
                  <a:lnTo>
                    <a:pt x="193" y="169"/>
                  </a:lnTo>
                  <a:lnTo>
                    <a:pt x="193" y="153"/>
                  </a:lnTo>
                  <a:lnTo>
                    <a:pt x="163" y="107"/>
                  </a:lnTo>
                  <a:lnTo>
                    <a:pt x="134" y="77"/>
                  </a:lnTo>
                  <a:lnTo>
                    <a:pt x="134" y="46"/>
                  </a:lnTo>
                  <a:lnTo>
                    <a:pt x="134" y="31"/>
                  </a:lnTo>
                  <a:lnTo>
                    <a:pt x="119" y="15"/>
                  </a:lnTo>
                  <a:lnTo>
                    <a:pt x="104"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2" name="Freeform 597"/>
            <p:cNvSpPr>
              <a:spLocks/>
            </p:cNvSpPr>
            <p:nvPr/>
          </p:nvSpPr>
          <p:spPr bwMode="auto">
            <a:xfrm>
              <a:off x="7297" y="1481"/>
              <a:ext cx="166" cy="129"/>
            </a:xfrm>
            <a:custGeom>
              <a:avLst/>
              <a:gdLst>
                <a:gd name="T0" fmla="*/ 10 w 388"/>
                <a:gd name="T1" fmla="*/ 3 h 340"/>
                <a:gd name="T2" fmla="*/ 10 w 388"/>
                <a:gd name="T3" fmla="*/ 4 h 340"/>
                <a:gd name="T4" fmla="*/ 10 w 388"/>
                <a:gd name="T5" fmla="*/ 3 h 340"/>
                <a:gd name="T6" fmla="*/ 11 w 388"/>
                <a:gd name="T7" fmla="*/ 4 h 340"/>
                <a:gd name="T8" fmla="*/ 11 w 388"/>
                <a:gd name="T9" fmla="*/ 4 h 340"/>
                <a:gd name="T10" fmla="*/ 12 w 388"/>
                <a:gd name="T11" fmla="*/ 4 h 340"/>
                <a:gd name="T12" fmla="*/ 13 w 388"/>
                <a:gd name="T13" fmla="*/ 5 h 340"/>
                <a:gd name="T14" fmla="*/ 13 w 388"/>
                <a:gd name="T15" fmla="*/ 5 h 340"/>
                <a:gd name="T16" fmla="*/ 12 w 388"/>
                <a:gd name="T17" fmla="*/ 6 h 340"/>
                <a:gd name="T18" fmla="*/ 9 w 388"/>
                <a:gd name="T19" fmla="*/ 7 h 340"/>
                <a:gd name="T20" fmla="*/ 8 w 388"/>
                <a:gd name="T21" fmla="*/ 7 h 340"/>
                <a:gd name="T22" fmla="*/ 6 w 388"/>
                <a:gd name="T23" fmla="*/ 7 h 340"/>
                <a:gd name="T24" fmla="*/ 6 w 388"/>
                <a:gd name="T25" fmla="*/ 7 h 340"/>
                <a:gd name="T26" fmla="*/ 4 w 388"/>
                <a:gd name="T27" fmla="*/ 6 h 340"/>
                <a:gd name="T28" fmla="*/ 4 w 388"/>
                <a:gd name="T29" fmla="*/ 5 h 340"/>
                <a:gd name="T30" fmla="*/ 3 w 388"/>
                <a:gd name="T31" fmla="*/ 5 h 340"/>
                <a:gd name="T32" fmla="*/ 3 w 388"/>
                <a:gd name="T33" fmla="*/ 5 h 340"/>
                <a:gd name="T34" fmla="*/ 3 w 388"/>
                <a:gd name="T35" fmla="*/ 5 h 340"/>
                <a:gd name="T36" fmla="*/ 3 w 388"/>
                <a:gd name="T37" fmla="*/ 4 h 340"/>
                <a:gd name="T38" fmla="*/ 2 w 388"/>
                <a:gd name="T39" fmla="*/ 4 h 340"/>
                <a:gd name="T40" fmla="*/ 2 w 388"/>
                <a:gd name="T41" fmla="*/ 3 h 340"/>
                <a:gd name="T42" fmla="*/ 0 w 388"/>
                <a:gd name="T43" fmla="*/ 2 h 340"/>
                <a:gd name="T44" fmla="*/ 0 w 388"/>
                <a:gd name="T45" fmla="*/ 2 h 340"/>
                <a:gd name="T46" fmla="*/ 2 w 388"/>
                <a:gd name="T47" fmla="*/ 1 h 340"/>
                <a:gd name="T48" fmla="*/ 3 w 388"/>
                <a:gd name="T49" fmla="*/ 1 h 340"/>
                <a:gd name="T50" fmla="*/ 1 w 388"/>
                <a:gd name="T51" fmla="*/ 0 h 340"/>
                <a:gd name="T52" fmla="*/ 3 w 388"/>
                <a:gd name="T53" fmla="*/ 0 h 340"/>
                <a:gd name="T54" fmla="*/ 3 w 388"/>
                <a:gd name="T55" fmla="*/ 0 h 340"/>
                <a:gd name="T56" fmla="*/ 5 w 388"/>
                <a:gd name="T57" fmla="*/ 1 h 340"/>
                <a:gd name="T58" fmla="*/ 5 w 388"/>
                <a:gd name="T59" fmla="*/ 1 h 340"/>
                <a:gd name="T60" fmla="*/ 6 w 388"/>
                <a:gd name="T61" fmla="*/ 1 h 340"/>
                <a:gd name="T62" fmla="*/ 6 w 388"/>
                <a:gd name="T63" fmla="*/ 2 h 340"/>
                <a:gd name="T64" fmla="*/ 7 w 388"/>
                <a:gd name="T65" fmla="*/ 2 h 340"/>
                <a:gd name="T66" fmla="*/ 8 w 388"/>
                <a:gd name="T67" fmla="*/ 2 h 340"/>
                <a:gd name="T68" fmla="*/ 8 w 388"/>
                <a:gd name="T69" fmla="*/ 2 h 340"/>
                <a:gd name="T70" fmla="*/ 9 w 388"/>
                <a:gd name="T71" fmla="*/ 2 h 340"/>
                <a:gd name="T72" fmla="*/ 9 w 388"/>
                <a:gd name="T73" fmla="*/ 2 h 340"/>
                <a:gd name="T74" fmla="*/ 10 w 388"/>
                <a:gd name="T75" fmla="*/ 3 h 34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88" h="340">
                  <a:moveTo>
                    <a:pt x="298" y="170"/>
                  </a:moveTo>
                  <a:lnTo>
                    <a:pt x="313" y="185"/>
                  </a:lnTo>
                  <a:lnTo>
                    <a:pt x="298" y="170"/>
                  </a:lnTo>
                  <a:lnTo>
                    <a:pt x="327" y="185"/>
                  </a:lnTo>
                  <a:lnTo>
                    <a:pt x="327" y="200"/>
                  </a:lnTo>
                  <a:lnTo>
                    <a:pt x="372" y="200"/>
                  </a:lnTo>
                  <a:lnTo>
                    <a:pt x="387" y="216"/>
                  </a:lnTo>
                  <a:lnTo>
                    <a:pt x="387" y="247"/>
                  </a:lnTo>
                  <a:lnTo>
                    <a:pt x="342" y="293"/>
                  </a:lnTo>
                  <a:lnTo>
                    <a:pt x="268" y="324"/>
                  </a:lnTo>
                  <a:lnTo>
                    <a:pt x="238" y="339"/>
                  </a:lnTo>
                  <a:lnTo>
                    <a:pt x="179" y="324"/>
                  </a:lnTo>
                  <a:lnTo>
                    <a:pt x="164" y="339"/>
                  </a:lnTo>
                  <a:lnTo>
                    <a:pt x="134" y="308"/>
                  </a:lnTo>
                  <a:lnTo>
                    <a:pt x="119" y="262"/>
                  </a:lnTo>
                  <a:lnTo>
                    <a:pt x="104" y="262"/>
                  </a:lnTo>
                  <a:lnTo>
                    <a:pt x="104" y="231"/>
                  </a:lnTo>
                  <a:lnTo>
                    <a:pt x="104" y="216"/>
                  </a:lnTo>
                  <a:lnTo>
                    <a:pt x="74" y="185"/>
                  </a:lnTo>
                  <a:lnTo>
                    <a:pt x="60" y="185"/>
                  </a:lnTo>
                  <a:lnTo>
                    <a:pt x="60" y="170"/>
                  </a:lnTo>
                  <a:lnTo>
                    <a:pt x="15" y="92"/>
                  </a:lnTo>
                  <a:lnTo>
                    <a:pt x="0" y="92"/>
                  </a:lnTo>
                  <a:lnTo>
                    <a:pt x="60" y="62"/>
                  </a:lnTo>
                  <a:lnTo>
                    <a:pt x="74" y="46"/>
                  </a:lnTo>
                  <a:lnTo>
                    <a:pt x="45" y="15"/>
                  </a:lnTo>
                  <a:lnTo>
                    <a:pt x="74" y="0"/>
                  </a:lnTo>
                  <a:lnTo>
                    <a:pt x="89" y="15"/>
                  </a:lnTo>
                  <a:lnTo>
                    <a:pt x="149" y="31"/>
                  </a:lnTo>
                  <a:lnTo>
                    <a:pt x="149" y="46"/>
                  </a:lnTo>
                  <a:lnTo>
                    <a:pt x="164" y="46"/>
                  </a:lnTo>
                  <a:lnTo>
                    <a:pt x="179" y="77"/>
                  </a:lnTo>
                  <a:lnTo>
                    <a:pt x="208" y="77"/>
                  </a:lnTo>
                  <a:lnTo>
                    <a:pt x="223" y="92"/>
                  </a:lnTo>
                  <a:lnTo>
                    <a:pt x="238" y="92"/>
                  </a:lnTo>
                  <a:lnTo>
                    <a:pt x="253" y="92"/>
                  </a:lnTo>
                  <a:lnTo>
                    <a:pt x="268" y="92"/>
                  </a:lnTo>
                  <a:lnTo>
                    <a:pt x="298" y="17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3" name="Freeform 598"/>
            <p:cNvSpPr>
              <a:spLocks/>
            </p:cNvSpPr>
            <p:nvPr/>
          </p:nvSpPr>
          <p:spPr bwMode="auto">
            <a:xfrm>
              <a:off x="7560" y="1423"/>
              <a:ext cx="205" cy="245"/>
            </a:xfrm>
            <a:custGeom>
              <a:avLst/>
              <a:gdLst>
                <a:gd name="T0" fmla="*/ 5 w 478"/>
                <a:gd name="T1" fmla="*/ 1 h 646"/>
                <a:gd name="T2" fmla="*/ 3 w 478"/>
                <a:gd name="T3" fmla="*/ 2 h 646"/>
                <a:gd name="T4" fmla="*/ 3 w 478"/>
                <a:gd name="T5" fmla="*/ 3 h 646"/>
                <a:gd name="T6" fmla="*/ 3 w 478"/>
                <a:gd name="T7" fmla="*/ 3 h 646"/>
                <a:gd name="T8" fmla="*/ 1 w 478"/>
                <a:gd name="T9" fmla="*/ 5 h 646"/>
                <a:gd name="T10" fmla="*/ 1 w 478"/>
                <a:gd name="T11" fmla="*/ 5 h 646"/>
                <a:gd name="T12" fmla="*/ 0 w 478"/>
                <a:gd name="T13" fmla="*/ 5 h 646"/>
                <a:gd name="T14" fmla="*/ 1 w 478"/>
                <a:gd name="T15" fmla="*/ 6 h 646"/>
                <a:gd name="T16" fmla="*/ 0 w 478"/>
                <a:gd name="T17" fmla="*/ 7 h 646"/>
                <a:gd name="T18" fmla="*/ 1 w 478"/>
                <a:gd name="T19" fmla="*/ 8 h 646"/>
                <a:gd name="T20" fmla="*/ 2 w 478"/>
                <a:gd name="T21" fmla="*/ 8 h 646"/>
                <a:gd name="T22" fmla="*/ 3 w 478"/>
                <a:gd name="T23" fmla="*/ 7 h 646"/>
                <a:gd name="T24" fmla="*/ 3 w 478"/>
                <a:gd name="T25" fmla="*/ 8 h 646"/>
                <a:gd name="T26" fmla="*/ 4 w 478"/>
                <a:gd name="T27" fmla="*/ 11 h 646"/>
                <a:gd name="T28" fmla="*/ 6 w 478"/>
                <a:gd name="T29" fmla="*/ 13 h 646"/>
                <a:gd name="T30" fmla="*/ 6 w 478"/>
                <a:gd name="T31" fmla="*/ 13 h 646"/>
                <a:gd name="T32" fmla="*/ 8 w 478"/>
                <a:gd name="T33" fmla="*/ 13 h 646"/>
                <a:gd name="T34" fmla="*/ 8 w 478"/>
                <a:gd name="T35" fmla="*/ 11 h 646"/>
                <a:gd name="T36" fmla="*/ 8 w 478"/>
                <a:gd name="T37" fmla="*/ 10 h 646"/>
                <a:gd name="T38" fmla="*/ 9 w 478"/>
                <a:gd name="T39" fmla="*/ 9 h 646"/>
                <a:gd name="T40" fmla="*/ 11 w 478"/>
                <a:gd name="T41" fmla="*/ 8 h 646"/>
                <a:gd name="T42" fmla="*/ 12 w 478"/>
                <a:gd name="T43" fmla="*/ 7 h 646"/>
                <a:gd name="T44" fmla="*/ 12 w 478"/>
                <a:gd name="T45" fmla="*/ 6 h 646"/>
                <a:gd name="T46" fmla="*/ 11 w 478"/>
                <a:gd name="T47" fmla="*/ 5 h 646"/>
                <a:gd name="T48" fmla="*/ 13 w 478"/>
                <a:gd name="T49" fmla="*/ 5 h 646"/>
                <a:gd name="T50" fmla="*/ 14 w 478"/>
                <a:gd name="T51" fmla="*/ 6 h 646"/>
                <a:gd name="T52" fmla="*/ 14 w 478"/>
                <a:gd name="T53" fmla="*/ 6 h 646"/>
                <a:gd name="T54" fmla="*/ 15 w 478"/>
                <a:gd name="T55" fmla="*/ 7 h 646"/>
                <a:gd name="T56" fmla="*/ 15 w 478"/>
                <a:gd name="T57" fmla="*/ 6 h 646"/>
                <a:gd name="T58" fmla="*/ 15 w 478"/>
                <a:gd name="T59" fmla="*/ 5 h 646"/>
                <a:gd name="T60" fmla="*/ 16 w 478"/>
                <a:gd name="T61" fmla="*/ 3 h 646"/>
                <a:gd name="T62" fmla="*/ 15 w 478"/>
                <a:gd name="T63" fmla="*/ 4 h 646"/>
                <a:gd name="T64" fmla="*/ 13 w 478"/>
                <a:gd name="T65" fmla="*/ 4 h 646"/>
                <a:gd name="T66" fmla="*/ 13 w 478"/>
                <a:gd name="T67" fmla="*/ 5 h 646"/>
                <a:gd name="T68" fmla="*/ 12 w 478"/>
                <a:gd name="T69" fmla="*/ 5 h 646"/>
                <a:gd name="T70" fmla="*/ 11 w 478"/>
                <a:gd name="T71" fmla="*/ 5 h 646"/>
                <a:gd name="T72" fmla="*/ 9 w 478"/>
                <a:gd name="T73" fmla="*/ 5 h 646"/>
                <a:gd name="T74" fmla="*/ 6 w 478"/>
                <a:gd name="T75" fmla="*/ 4 h 646"/>
                <a:gd name="T76" fmla="*/ 6 w 478"/>
                <a:gd name="T77" fmla="*/ 3 h 6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78" h="646">
                  <a:moveTo>
                    <a:pt x="149" y="108"/>
                  </a:moveTo>
                  <a:lnTo>
                    <a:pt x="149" y="61"/>
                  </a:lnTo>
                  <a:lnTo>
                    <a:pt x="60" y="0"/>
                  </a:lnTo>
                  <a:lnTo>
                    <a:pt x="104" y="77"/>
                  </a:lnTo>
                  <a:lnTo>
                    <a:pt x="75" y="108"/>
                  </a:lnTo>
                  <a:lnTo>
                    <a:pt x="89" y="123"/>
                  </a:lnTo>
                  <a:lnTo>
                    <a:pt x="89" y="138"/>
                  </a:lnTo>
                  <a:lnTo>
                    <a:pt x="75" y="154"/>
                  </a:lnTo>
                  <a:lnTo>
                    <a:pt x="60" y="200"/>
                  </a:lnTo>
                  <a:lnTo>
                    <a:pt x="45" y="215"/>
                  </a:lnTo>
                  <a:lnTo>
                    <a:pt x="45" y="230"/>
                  </a:lnTo>
                  <a:lnTo>
                    <a:pt x="30" y="230"/>
                  </a:lnTo>
                  <a:lnTo>
                    <a:pt x="15" y="230"/>
                  </a:lnTo>
                  <a:lnTo>
                    <a:pt x="15" y="246"/>
                  </a:lnTo>
                  <a:lnTo>
                    <a:pt x="15" y="261"/>
                  </a:lnTo>
                  <a:lnTo>
                    <a:pt x="30" y="292"/>
                  </a:lnTo>
                  <a:lnTo>
                    <a:pt x="0" y="323"/>
                  </a:lnTo>
                  <a:lnTo>
                    <a:pt x="15" y="338"/>
                  </a:lnTo>
                  <a:lnTo>
                    <a:pt x="15" y="353"/>
                  </a:lnTo>
                  <a:lnTo>
                    <a:pt x="30" y="384"/>
                  </a:lnTo>
                  <a:lnTo>
                    <a:pt x="60" y="384"/>
                  </a:lnTo>
                  <a:lnTo>
                    <a:pt x="60" y="369"/>
                  </a:lnTo>
                  <a:lnTo>
                    <a:pt x="60" y="353"/>
                  </a:lnTo>
                  <a:lnTo>
                    <a:pt x="75" y="353"/>
                  </a:lnTo>
                  <a:lnTo>
                    <a:pt x="89" y="399"/>
                  </a:lnTo>
                  <a:lnTo>
                    <a:pt x="75" y="399"/>
                  </a:lnTo>
                  <a:lnTo>
                    <a:pt x="104" y="461"/>
                  </a:lnTo>
                  <a:lnTo>
                    <a:pt x="134" y="522"/>
                  </a:lnTo>
                  <a:lnTo>
                    <a:pt x="149" y="553"/>
                  </a:lnTo>
                  <a:lnTo>
                    <a:pt x="164" y="599"/>
                  </a:lnTo>
                  <a:lnTo>
                    <a:pt x="179" y="645"/>
                  </a:lnTo>
                  <a:lnTo>
                    <a:pt x="194" y="630"/>
                  </a:lnTo>
                  <a:lnTo>
                    <a:pt x="209" y="630"/>
                  </a:lnTo>
                  <a:lnTo>
                    <a:pt x="224" y="599"/>
                  </a:lnTo>
                  <a:lnTo>
                    <a:pt x="224" y="568"/>
                  </a:lnTo>
                  <a:lnTo>
                    <a:pt x="224" y="538"/>
                  </a:lnTo>
                  <a:lnTo>
                    <a:pt x="224" y="476"/>
                  </a:lnTo>
                  <a:lnTo>
                    <a:pt x="239" y="476"/>
                  </a:lnTo>
                  <a:lnTo>
                    <a:pt x="253" y="461"/>
                  </a:lnTo>
                  <a:lnTo>
                    <a:pt x="253" y="445"/>
                  </a:lnTo>
                  <a:lnTo>
                    <a:pt x="283" y="415"/>
                  </a:lnTo>
                  <a:lnTo>
                    <a:pt x="328" y="384"/>
                  </a:lnTo>
                  <a:lnTo>
                    <a:pt x="328" y="353"/>
                  </a:lnTo>
                  <a:lnTo>
                    <a:pt x="343" y="353"/>
                  </a:lnTo>
                  <a:lnTo>
                    <a:pt x="373" y="338"/>
                  </a:lnTo>
                  <a:lnTo>
                    <a:pt x="343" y="292"/>
                  </a:lnTo>
                  <a:lnTo>
                    <a:pt x="343" y="261"/>
                  </a:lnTo>
                  <a:lnTo>
                    <a:pt x="328" y="246"/>
                  </a:lnTo>
                  <a:lnTo>
                    <a:pt x="373" y="246"/>
                  </a:lnTo>
                  <a:lnTo>
                    <a:pt x="373" y="261"/>
                  </a:lnTo>
                  <a:lnTo>
                    <a:pt x="417" y="261"/>
                  </a:lnTo>
                  <a:lnTo>
                    <a:pt x="417" y="292"/>
                  </a:lnTo>
                  <a:lnTo>
                    <a:pt x="402" y="292"/>
                  </a:lnTo>
                  <a:lnTo>
                    <a:pt x="417" y="307"/>
                  </a:lnTo>
                  <a:lnTo>
                    <a:pt x="417" y="338"/>
                  </a:lnTo>
                  <a:lnTo>
                    <a:pt x="432" y="338"/>
                  </a:lnTo>
                  <a:lnTo>
                    <a:pt x="432" y="292"/>
                  </a:lnTo>
                  <a:lnTo>
                    <a:pt x="447" y="292"/>
                  </a:lnTo>
                  <a:lnTo>
                    <a:pt x="447" y="246"/>
                  </a:lnTo>
                  <a:lnTo>
                    <a:pt x="462" y="230"/>
                  </a:lnTo>
                  <a:lnTo>
                    <a:pt x="477" y="184"/>
                  </a:lnTo>
                  <a:lnTo>
                    <a:pt x="477" y="169"/>
                  </a:lnTo>
                  <a:lnTo>
                    <a:pt x="462" y="169"/>
                  </a:lnTo>
                  <a:lnTo>
                    <a:pt x="447" y="184"/>
                  </a:lnTo>
                  <a:lnTo>
                    <a:pt x="432" y="169"/>
                  </a:lnTo>
                  <a:lnTo>
                    <a:pt x="388" y="200"/>
                  </a:lnTo>
                  <a:lnTo>
                    <a:pt x="388" y="215"/>
                  </a:lnTo>
                  <a:lnTo>
                    <a:pt x="388" y="230"/>
                  </a:lnTo>
                  <a:lnTo>
                    <a:pt x="343" y="230"/>
                  </a:lnTo>
                  <a:lnTo>
                    <a:pt x="343" y="215"/>
                  </a:lnTo>
                  <a:lnTo>
                    <a:pt x="328" y="200"/>
                  </a:lnTo>
                  <a:lnTo>
                    <a:pt x="328" y="215"/>
                  </a:lnTo>
                  <a:lnTo>
                    <a:pt x="328" y="230"/>
                  </a:lnTo>
                  <a:lnTo>
                    <a:pt x="283" y="246"/>
                  </a:lnTo>
                  <a:lnTo>
                    <a:pt x="239" y="230"/>
                  </a:lnTo>
                  <a:lnTo>
                    <a:pt x="194" y="200"/>
                  </a:lnTo>
                  <a:lnTo>
                    <a:pt x="194" y="169"/>
                  </a:lnTo>
                  <a:lnTo>
                    <a:pt x="164" y="154"/>
                  </a:lnTo>
                  <a:lnTo>
                    <a:pt x="149" y="108"/>
                  </a:lnTo>
                </a:path>
              </a:pathLst>
            </a:custGeom>
            <a:solidFill>
              <a:schemeClr val="bg1">
                <a:lumMod val="75000"/>
              </a:schemeClr>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4" name="Freeform 599"/>
            <p:cNvSpPr>
              <a:spLocks/>
            </p:cNvSpPr>
            <p:nvPr/>
          </p:nvSpPr>
          <p:spPr bwMode="auto">
            <a:xfrm>
              <a:off x="7361" y="1423"/>
              <a:ext cx="153" cy="117"/>
            </a:xfrm>
            <a:custGeom>
              <a:avLst/>
              <a:gdLst>
                <a:gd name="T0" fmla="*/ 0 w 358"/>
                <a:gd name="T1" fmla="*/ 0 h 308"/>
                <a:gd name="T2" fmla="*/ 0 w 358"/>
                <a:gd name="T3" fmla="*/ 0 h 308"/>
                <a:gd name="T4" fmla="*/ 0 w 358"/>
                <a:gd name="T5" fmla="*/ 1 h 308"/>
                <a:gd name="T6" fmla="*/ 1 w 358"/>
                <a:gd name="T7" fmla="*/ 1 h 308"/>
                <a:gd name="T8" fmla="*/ 1 w 358"/>
                <a:gd name="T9" fmla="*/ 2 h 308"/>
                <a:gd name="T10" fmla="*/ 1 w 358"/>
                <a:gd name="T11" fmla="*/ 2 h 308"/>
                <a:gd name="T12" fmla="*/ 1 w 358"/>
                <a:gd name="T13" fmla="*/ 3 h 308"/>
                <a:gd name="T14" fmla="*/ 3 w 358"/>
                <a:gd name="T15" fmla="*/ 3 h 308"/>
                <a:gd name="T16" fmla="*/ 3 w 358"/>
                <a:gd name="T17" fmla="*/ 4 h 308"/>
                <a:gd name="T18" fmla="*/ 4 w 358"/>
                <a:gd name="T19" fmla="*/ 4 h 308"/>
                <a:gd name="T20" fmla="*/ 6 w 358"/>
                <a:gd name="T21" fmla="*/ 5 h 308"/>
                <a:gd name="T22" fmla="*/ 8 w 358"/>
                <a:gd name="T23" fmla="*/ 6 h 308"/>
                <a:gd name="T24" fmla="*/ 8 w 358"/>
                <a:gd name="T25" fmla="*/ 5 h 308"/>
                <a:gd name="T26" fmla="*/ 9 w 358"/>
                <a:gd name="T27" fmla="*/ 5 h 308"/>
                <a:gd name="T28" fmla="*/ 9 w 358"/>
                <a:gd name="T29" fmla="*/ 6 h 308"/>
                <a:gd name="T30" fmla="*/ 11 w 358"/>
                <a:gd name="T31" fmla="*/ 6 h 308"/>
                <a:gd name="T32" fmla="*/ 11 w 358"/>
                <a:gd name="T33" fmla="*/ 6 h 308"/>
                <a:gd name="T34" fmla="*/ 12 w 358"/>
                <a:gd name="T35" fmla="*/ 5 h 308"/>
                <a:gd name="T36" fmla="*/ 11 w 358"/>
                <a:gd name="T37" fmla="*/ 5 h 308"/>
                <a:gd name="T38" fmla="*/ 11 w 358"/>
                <a:gd name="T39" fmla="*/ 5 h 308"/>
                <a:gd name="T40" fmla="*/ 10 w 358"/>
                <a:gd name="T41" fmla="*/ 4 h 308"/>
                <a:gd name="T42" fmla="*/ 11 w 358"/>
                <a:gd name="T43" fmla="*/ 3 h 308"/>
                <a:gd name="T44" fmla="*/ 11 w 358"/>
                <a:gd name="T45" fmla="*/ 3 h 308"/>
                <a:gd name="T46" fmla="*/ 10 w 358"/>
                <a:gd name="T47" fmla="*/ 3 h 308"/>
                <a:gd name="T48" fmla="*/ 10 w 358"/>
                <a:gd name="T49" fmla="*/ 3 h 308"/>
                <a:gd name="T50" fmla="*/ 10 w 358"/>
                <a:gd name="T51" fmla="*/ 2 h 308"/>
                <a:gd name="T52" fmla="*/ 10 w 358"/>
                <a:gd name="T53" fmla="*/ 1 h 308"/>
                <a:gd name="T54" fmla="*/ 10 w 358"/>
                <a:gd name="T55" fmla="*/ 1 h 308"/>
                <a:gd name="T56" fmla="*/ 7 w 358"/>
                <a:gd name="T57" fmla="*/ 0 h 308"/>
                <a:gd name="T58" fmla="*/ 6 w 358"/>
                <a:gd name="T59" fmla="*/ 0 h 308"/>
                <a:gd name="T60" fmla="*/ 6 w 358"/>
                <a:gd name="T61" fmla="*/ 1 h 308"/>
                <a:gd name="T62" fmla="*/ 6 w 358"/>
                <a:gd name="T63" fmla="*/ 1 h 308"/>
                <a:gd name="T64" fmla="*/ 5 w 358"/>
                <a:gd name="T65" fmla="*/ 1 h 308"/>
                <a:gd name="T66" fmla="*/ 4 w 358"/>
                <a:gd name="T67" fmla="*/ 1 h 308"/>
                <a:gd name="T68" fmla="*/ 3 w 358"/>
                <a:gd name="T69" fmla="*/ 1 h 308"/>
                <a:gd name="T70" fmla="*/ 3 w 358"/>
                <a:gd name="T71" fmla="*/ 0 h 308"/>
                <a:gd name="T72" fmla="*/ 1 w 358"/>
                <a:gd name="T73" fmla="*/ 0 h 308"/>
                <a:gd name="T74" fmla="*/ 0 w 358"/>
                <a:gd name="T75" fmla="*/ 0 h 3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8" h="308">
                  <a:moveTo>
                    <a:pt x="15" y="0"/>
                  </a:moveTo>
                  <a:lnTo>
                    <a:pt x="0" y="15"/>
                  </a:lnTo>
                  <a:lnTo>
                    <a:pt x="15" y="46"/>
                  </a:lnTo>
                  <a:lnTo>
                    <a:pt x="30" y="61"/>
                  </a:lnTo>
                  <a:lnTo>
                    <a:pt x="45" y="77"/>
                  </a:lnTo>
                  <a:lnTo>
                    <a:pt x="45" y="92"/>
                  </a:lnTo>
                  <a:lnTo>
                    <a:pt x="45" y="123"/>
                  </a:lnTo>
                  <a:lnTo>
                    <a:pt x="74" y="154"/>
                  </a:lnTo>
                  <a:lnTo>
                    <a:pt x="104" y="200"/>
                  </a:lnTo>
                  <a:lnTo>
                    <a:pt x="134" y="200"/>
                  </a:lnTo>
                  <a:lnTo>
                    <a:pt x="164" y="246"/>
                  </a:lnTo>
                  <a:lnTo>
                    <a:pt x="223" y="276"/>
                  </a:lnTo>
                  <a:lnTo>
                    <a:pt x="238" y="261"/>
                  </a:lnTo>
                  <a:lnTo>
                    <a:pt x="253" y="261"/>
                  </a:lnTo>
                  <a:lnTo>
                    <a:pt x="268" y="292"/>
                  </a:lnTo>
                  <a:lnTo>
                    <a:pt x="327" y="307"/>
                  </a:lnTo>
                  <a:lnTo>
                    <a:pt x="342" y="276"/>
                  </a:lnTo>
                  <a:lnTo>
                    <a:pt x="357" y="261"/>
                  </a:lnTo>
                  <a:lnTo>
                    <a:pt x="342" y="246"/>
                  </a:lnTo>
                  <a:lnTo>
                    <a:pt x="327" y="215"/>
                  </a:lnTo>
                  <a:lnTo>
                    <a:pt x="312" y="184"/>
                  </a:lnTo>
                  <a:lnTo>
                    <a:pt x="327" y="169"/>
                  </a:lnTo>
                  <a:lnTo>
                    <a:pt x="327" y="154"/>
                  </a:lnTo>
                  <a:lnTo>
                    <a:pt x="312" y="154"/>
                  </a:lnTo>
                  <a:lnTo>
                    <a:pt x="298" y="123"/>
                  </a:lnTo>
                  <a:lnTo>
                    <a:pt x="298" y="92"/>
                  </a:lnTo>
                  <a:lnTo>
                    <a:pt x="298" y="61"/>
                  </a:lnTo>
                  <a:lnTo>
                    <a:pt x="298" y="46"/>
                  </a:lnTo>
                  <a:lnTo>
                    <a:pt x="208" y="15"/>
                  </a:lnTo>
                  <a:lnTo>
                    <a:pt x="193" y="15"/>
                  </a:lnTo>
                  <a:lnTo>
                    <a:pt x="179" y="31"/>
                  </a:lnTo>
                  <a:lnTo>
                    <a:pt x="179" y="46"/>
                  </a:lnTo>
                  <a:lnTo>
                    <a:pt x="149" y="61"/>
                  </a:lnTo>
                  <a:lnTo>
                    <a:pt x="119" y="61"/>
                  </a:lnTo>
                  <a:lnTo>
                    <a:pt x="89" y="31"/>
                  </a:lnTo>
                  <a:lnTo>
                    <a:pt x="74" y="0"/>
                  </a:lnTo>
                  <a:lnTo>
                    <a:pt x="30" y="15"/>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5" name="Line 600"/>
            <p:cNvSpPr>
              <a:spLocks noChangeShapeType="1"/>
            </p:cNvSpPr>
            <p:nvPr/>
          </p:nvSpPr>
          <p:spPr bwMode="auto">
            <a:xfrm>
              <a:off x="7431" y="1592"/>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6" name="Line 601"/>
            <p:cNvSpPr>
              <a:spLocks noChangeShapeType="1"/>
            </p:cNvSpPr>
            <p:nvPr/>
          </p:nvSpPr>
          <p:spPr bwMode="auto">
            <a:xfrm flipV="1">
              <a:off x="7438" y="1586"/>
              <a:ext cx="12"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7" name="Line 602"/>
            <p:cNvSpPr>
              <a:spLocks noChangeShapeType="1"/>
            </p:cNvSpPr>
            <p:nvPr/>
          </p:nvSpPr>
          <p:spPr bwMode="auto">
            <a:xfrm flipV="1">
              <a:off x="7450" y="1574"/>
              <a:ext cx="6"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8" name="Line 603"/>
            <p:cNvSpPr>
              <a:spLocks noChangeShapeType="1"/>
            </p:cNvSpPr>
            <p:nvPr/>
          </p:nvSpPr>
          <p:spPr bwMode="auto">
            <a:xfrm flipV="1">
              <a:off x="7456" y="1569"/>
              <a:ext cx="7"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79" name="Line 604"/>
            <p:cNvSpPr>
              <a:spLocks noChangeShapeType="1"/>
            </p:cNvSpPr>
            <p:nvPr/>
          </p:nvSpPr>
          <p:spPr bwMode="auto">
            <a:xfrm flipH="1" flipV="1">
              <a:off x="7456" y="1562"/>
              <a:ext cx="7"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0" name="Line 605"/>
            <p:cNvSpPr>
              <a:spLocks noChangeShapeType="1"/>
            </p:cNvSpPr>
            <p:nvPr/>
          </p:nvSpPr>
          <p:spPr bwMode="auto">
            <a:xfrm flipH="1">
              <a:off x="7450" y="1563"/>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1" name="Line 606"/>
            <p:cNvSpPr>
              <a:spLocks noChangeShapeType="1"/>
            </p:cNvSpPr>
            <p:nvPr/>
          </p:nvSpPr>
          <p:spPr bwMode="auto">
            <a:xfrm flipH="1">
              <a:off x="7438" y="1557"/>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2" name="Line 607"/>
            <p:cNvSpPr>
              <a:spLocks noChangeShapeType="1"/>
            </p:cNvSpPr>
            <p:nvPr/>
          </p:nvSpPr>
          <p:spPr bwMode="auto">
            <a:xfrm>
              <a:off x="7444" y="1592"/>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3" name="Line 608"/>
            <p:cNvSpPr>
              <a:spLocks noChangeShapeType="1"/>
            </p:cNvSpPr>
            <p:nvPr/>
          </p:nvSpPr>
          <p:spPr bwMode="auto">
            <a:xfrm>
              <a:off x="7444" y="1598"/>
              <a:ext cx="6"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4" name="Freeform 609"/>
            <p:cNvSpPr>
              <a:spLocks/>
            </p:cNvSpPr>
            <p:nvPr/>
          </p:nvSpPr>
          <p:spPr bwMode="auto">
            <a:xfrm>
              <a:off x="7444" y="1539"/>
              <a:ext cx="45" cy="65"/>
            </a:xfrm>
            <a:custGeom>
              <a:avLst/>
              <a:gdLst>
                <a:gd name="T0" fmla="*/ 2 w 106"/>
                <a:gd name="T1" fmla="*/ 0 h 170"/>
                <a:gd name="T2" fmla="*/ 1 w 106"/>
                <a:gd name="T3" fmla="*/ 1 h 170"/>
                <a:gd name="T4" fmla="*/ 1 w 106"/>
                <a:gd name="T5" fmla="*/ 1 h 170"/>
                <a:gd name="T6" fmla="*/ 1 w 106"/>
                <a:gd name="T7" fmla="*/ 2 h 170"/>
                <a:gd name="T8" fmla="*/ 0 w 106"/>
                <a:gd name="T9" fmla="*/ 3 h 170"/>
                <a:gd name="T10" fmla="*/ 0 w 106"/>
                <a:gd name="T11" fmla="*/ 4 h 170"/>
                <a:gd name="T12" fmla="*/ 1 w 106"/>
                <a:gd name="T13" fmla="*/ 4 h 170"/>
                <a:gd name="T14" fmla="*/ 1 w 106"/>
                <a:gd name="T15" fmla="*/ 3 h 170"/>
                <a:gd name="T16" fmla="*/ 2 w 106"/>
                <a:gd name="T17" fmla="*/ 3 h 170"/>
                <a:gd name="T18" fmla="*/ 3 w 106"/>
                <a:gd name="T19" fmla="*/ 3 h 170"/>
                <a:gd name="T20" fmla="*/ 3 w 106"/>
                <a:gd name="T21" fmla="*/ 3 h 170"/>
                <a:gd name="T22" fmla="*/ 3 w 106"/>
                <a:gd name="T23" fmla="*/ 2 h 170"/>
                <a:gd name="T24" fmla="*/ 3 w 106"/>
                <a:gd name="T25" fmla="*/ 2 h 170"/>
                <a:gd name="T26" fmla="*/ 3 w 106"/>
                <a:gd name="T27" fmla="*/ 1 h 170"/>
                <a:gd name="T28" fmla="*/ 3 w 106"/>
                <a:gd name="T29" fmla="*/ 0 h 170"/>
                <a:gd name="T30" fmla="*/ 3 w 106"/>
                <a:gd name="T31" fmla="*/ 0 h 170"/>
                <a:gd name="T32" fmla="*/ 2 w 106"/>
                <a:gd name="T33" fmla="*/ 0 h 1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6" h="170">
                  <a:moveTo>
                    <a:pt x="60" y="0"/>
                  </a:moveTo>
                  <a:lnTo>
                    <a:pt x="30" y="46"/>
                  </a:lnTo>
                  <a:lnTo>
                    <a:pt x="45" y="61"/>
                  </a:lnTo>
                  <a:lnTo>
                    <a:pt x="45" y="92"/>
                  </a:lnTo>
                  <a:lnTo>
                    <a:pt x="0" y="138"/>
                  </a:lnTo>
                  <a:lnTo>
                    <a:pt x="15" y="169"/>
                  </a:lnTo>
                  <a:lnTo>
                    <a:pt x="45" y="169"/>
                  </a:lnTo>
                  <a:lnTo>
                    <a:pt x="45" y="154"/>
                  </a:lnTo>
                  <a:lnTo>
                    <a:pt x="60" y="154"/>
                  </a:lnTo>
                  <a:lnTo>
                    <a:pt x="75" y="123"/>
                  </a:lnTo>
                  <a:lnTo>
                    <a:pt x="90" y="123"/>
                  </a:lnTo>
                  <a:lnTo>
                    <a:pt x="90" y="108"/>
                  </a:lnTo>
                  <a:lnTo>
                    <a:pt x="105" y="77"/>
                  </a:lnTo>
                  <a:lnTo>
                    <a:pt x="105" y="46"/>
                  </a:lnTo>
                  <a:lnTo>
                    <a:pt x="90" y="15"/>
                  </a:lnTo>
                  <a:lnTo>
                    <a:pt x="75" y="15"/>
                  </a:lnTo>
                  <a:lnTo>
                    <a:pt x="6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5" name="Freeform 610"/>
            <p:cNvSpPr>
              <a:spLocks/>
            </p:cNvSpPr>
            <p:nvPr/>
          </p:nvSpPr>
          <p:spPr bwMode="auto">
            <a:xfrm>
              <a:off x="7438" y="1533"/>
              <a:ext cx="32" cy="25"/>
            </a:xfrm>
            <a:custGeom>
              <a:avLst/>
              <a:gdLst>
                <a:gd name="T0" fmla="*/ 0 w 75"/>
                <a:gd name="T1" fmla="*/ 1 h 63"/>
                <a:gd name="T2" fmla="*/ 0 w 75"/>
                <a:gd name="T3" fmla="*/ 2 h 63"/>
                <a:gd name="T4" fmla="*/ 1 w 75"/>
                <a:gd name="T5" fmla="*/ 2 h 63"/>
                <a:gd name="T6" fmla="*/ 3 w 75"/>
                <a:gd name="T7" fmla="*/ 0 h 63"/>
                <a:gd name="T8" fmla="*/ 3 w 75"/>
                <a:gd name="T9" fmla="*/ 0 h 63"/>
                <a:gd name="T10" fmla="*/ 2 w 75"/>
                <a:gd name="T11" fmla="*/ 0 h 63"/>
                <a:gd name="T12" fmla="*/ 1 w 75"/>
                <a:gd name="T13" fmla="*/ 1 h 63"/>
                <a:gd name="T14" fmla="*/ 0 w 75"/>
                <a:gd name="T15" fmla="*/ 1 h 63"/>
                <a:gd name="T16" fmla="*/ 0 w 75"/>
                <a:gd name="T17" fmla="*/ 1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5" h="63">
                  <a:moveTo>
                    <a:pt x="0" y="47"/>
                  </a:moveTo>
                  <a:lnTo>
                    <a:pt x="0" y="62"/>
                  </a:lnTo>
                  <a:lnTo>
                    <a:pt x="44" y="62"/>
                  </a:lnTo>
                  <a:lnTo>
                    <a:pt x="74" y="16"/>
                  </a:lnTo>
                  <a:lnTo>
                    <a:pt x="74" y="0"/>
                  </a:lnTo>
                  <a:lnTo>
                    <a:pt x="59" y="0"/>
                  </a:lnTo>
                  <a:lnTo>
                    <a:pt x="30" y="31"/>
                  </a:lnTo>
                  <a:lnTo>
                    <a:pt x="15" y="31"/>
                  </a:lnTo>
                  <a:lnTo>
                    <a:pt x="0" y="47"/>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6" name="Freeform 611"/>
            <p:cNvSpPr>
              <a:spLocks/>
            </p:cNvSpPr>
            <p:nvPr/>
          </p:nvSpPr>
          <p:spPr bwMode="auto">
            <a:xfrm>
              <a:off x="7463" y="1527"/>
              <a:ext cx="7" cy="7"/>
            </a:xfrm>
            <a:custGeom>
              <a:avLst/>
              <a:gdLst>
                <a:gd name="T0" fmla="*/ 0 w 17"/>
                <a:gd name="T1" fmla="*/ 0 h 17"/>
                <a:gd name="T2" fmla="*/ 0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16"/>
                  </a:moveTo>
                  <a:lnTo>
                    <a:pt x="16" y="16"/>
                  </a:lnTo>
                  <a:lnTo>
                    <a:pt x="16"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7" name="Freeform 612"/>
            <p:cNvSpPr>
              <a:spLocks/>
            </p:cNvSpPr>
            <p:nvPr/>
          </p:nvSpPr>
          <p:spPr bwMode="auto">
            <a:xfrm>
              <a:off x="7425" y="1533"/>
              <a:ext cx="7" cy="18"/>
            </a:xfrm>
            <a:custGeom>
              <a:avLst/>
              <a:gdLst>
                <a:gd name="T0" fmla="*/ 0 w 17"/>
                <a:gd name="T1" fmla="*/ 1 h 47"/>
                <a:gd name="T2" fmla="*/ 0 w 17"/>
                <a:gd name="T3" fmla="*/ 1 h 47"/>
                <a:gd name="T4" fmla="*/ 0 w 17"/>
                <a:gd name="T5" fmla="*/ 0 h 47"/>
                <a:gd name="T6" fmla="*/ 0 w 17"/>
                <a:gd name="T7" fmla="*/ 0 h 47"/>
                <a:gd name="T8" fmla="*/ 0 w 17"/>
                <a:gd name="T9" fmla="*/ 0 h 47"/>
                <a:gd name="T10" fmla="*/ 0 w 17"/>
                <a:gd name="T11" fmla="*/ 1 h 4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47">
                  <a:moveTo>
                    <a:pt x="0" y="31"/>
                  </a:moveTo>
                  <a:lnTo>
                    <a:pt x="16" y="46"/>
                  </a:lnTo>
                  <a:lnTo>
                    <a:pt x="16" y="15"/>
                  </a:lnTo>
                  <a:lnTo>
                    <a:pt x="16" y="0"/>
                  </a:lnTo>
                  <a:lnTo>
                    <a:pt x="0" y="15"/>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8" name="Line 613"/>
            <p:cNvSpPr>
              <a:spLocks noChangeShapeType="1"/>
            </p:cNvSpPr>
            <p:nvPr/>
          </p:nvSpPr>
          <p:spPr bwMode="auto">
            <a:xfrm>
              <a:off x="7438" y="1557"/>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89" name="Line 614"/>
            <p:cNvSpPr>
              <a:spLocks noChangeShapeType="1"/>
            </p:cNvSpPr>
            <p:nvPr/>
          </p:nvSpPr>
          <p:spPr bwMode="auto">
            <a:xfrm flipH="1" flipV="1">
              <a:off x="7431" y="1551"/>
              <a:ext cx="7"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0" name="Line 615"/>
            <p:cNvSpPr>
              <a:spLocks noChangeShapeType="1"/>
            </p:cNvSpPr>
            <p:nvPr/>
          </p:nvSpPr>
          <p:spPr bwMode="auto">
            <a:xfrm>
              <a:off x="7463" y="1551"/>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1" name="Line 616"/>
            <p:cNvSpPr>
              <a:spLocks noChangeShapeType="1"/>
            </p:cNvSpPr>
            <p:nvPr/>
          </p:nvSpPr>
          <p:spPr bwMode="auto">
            <a:xfrm>
              <a:off x="7470" y="1539"/>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2" name="Line 617"/>
            <p:cNvSpPr>
              <a:spLocks noChangeShapeType="1"/>
            </p:cNvSpPr>
            <p:nvPr/>
          </p:nvSpPr>
          <p:spPr bwMode="auto">
            <a:xfrm>
              <a:off x="7463" y="1545"/>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3" name="Freeform 618"/>
            <p:cNvSpPr>
              <a:spLocks/>
            </p:cNvSpPr>
            <p:nvPr/>
          </p:nvSpPr>
          <p:spPr bwMode="auto">
            <a:xfrm>
              <a:off x="7706" y="1499"/>
              <a:ext cx="20" cy="12"/>
            </a:xfrm>
            <a:custGeom>
              <a:avLst/>
              <a:gdLst>
                <a:gd name="T0" fmla="*/ 0 w 46"/>
                <a:gd name="T1" fmla="*/ 0 h 32"/>
                <a:gd name="T2" fmla="*/ 0 w 46"/>
                <a:gd name="T3" fmla="*/ 0 h 32"/>
                <a:gd name="T4" fmla="*/ 0 w 46"/>
                <a:gd name="T5" fmla="*/ 1 h 32"/>
                <a:gd name="T6" fmla="*/ 2 w 46"/>
                <a:gd name="T7" fmla="*/ 1 h 32"/>
                <a:gd name="T8" fmla="*/ 2 w 46"/>
                <a:gd name="T9" fmla="*/ 0 h 32"/>
                <a:gd name="T10" fmla="*/ 2 w 46"/>
                <a:gd name="T11" fmla="*/ 0 h 32"/>
                <a:gd name="T12" fmla="*/ 0 w 46"/>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32">
                  <a:moveTo>
                    <a:pt x="15" y="16"/>
                  </a:moveTo>
                  <a:lnTo>
                    <a:pt x="0" y="16"/>
                  </a:lnTo>
                  <a:lnTo>
                    <a:pt x="0" y="31"/>
                  </a:lnTo>
                  <a:lnTo>
                    <a:pt x="45" y="31"/>
                  </a:lnTo>
                  <a:lnTo>
                    <a:pt x="45" y="16"/>
                  </a:lnTo>
                  <a:lnTo>
                    <a:pt x="45" y="0"/>
                  </a:lnTo>
                  <a:lnTo>
                    <a:pt x="15"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4" name="Freeform 619"/>
            <p:cNvSpPr>
              <a:spLocks/>
            </p:cNvSpPr>
            <p:nvPr/>
          </p:nvSpPr>
          <p:spPr bwMode="auto">
            <a:xfrm>
              <a:off x="7489" y="1417"/>
              <a:ext cx="97" cy="88"/>
            </a:xfrm>
            <a:custGeom>
              <a:avLst/>
              <a:gdLst>
                <a:gd name="T0" fmla="*/ 0 w 225"/>
                <a:gd name="T1" fmla="*/ 2 h 232"/>
                <a:gd name="T2" fmla="*/ 0 w 225"/>
                <a:gd name="T3" fmla="*/ 2 h 232"/>
                <a:gd name="T4" fmla="*/ 0 w 225"/>
                <a:gd name="T5" fmla="*/ 3 h 232"/>
                <a:gd name="T6" fmla="*/ 0 w 225"/>
                <a:gd name="T7" fmla="*/ 3 h 232"/>
                <a:gd name="T8" fmla="*/ 1 w 225"/>
                <a:gd name="T9" fmla="*/ 3 h 232"/>
                <a:gd name="T10" fmla="*/ 1 w 225"/>
                <a:gd name="T11" fmla="*/ 4 h 232"/>
                <a:gd name="T12" fmla="*/ 0 w 225"/>
                <a:gd name="T13" fmla="*/ 4 h 232"/>
                <a:gd name="T14" fmla="*/ 1 w 225"/>
                <a:gd name="T15" fmla="*/ 5 h 232"/>
                <a:gd name="T16" fmla="*/ 3 w 225"/>
                <a:gd name="T17" fmla="*/ 5 h 232"/>
                <a:gd name="T18" fmla="*/ 3 w 225"/>
                <a:gd name="T19" fmla="*/ 4 h 232"/>
                <a:gd name="T20" fmla="*/ 3 w 225"/>
                <a:gd name="T21" fmla="*/ 4 h 232"/>
                <a:gd name="T22" fmla="*/ 4 w 225"/>
                <a:gd name="T23" fmla="*/ 4 h 232"/>
                <a:gd name="T24" fmla="*/ 5 w 225"/>
                <a:gd name="T25" fmla="*/ 3 h 232"/>
                <a:gd name="T26" fmla="*/ 5 w 225"/>
                <a:gd name="T27" fmla="*/ 3 h 232"/>
                <a:gd name="T28" fmla="*/ 6 w 225"/>
                <a:gd name="T29" fmla="*/ 3 h 232"/>
                <a:gd name="T30" fmla="*/ 6 w 225"/>
                <a:gd name="T31" fmla="*/ 2 h 232"/>
                <a:gd name="T32" fmla="*/ 6 w 225"/>
                <a:gd name="T33" fmla="*/ 2 h 232"/>
                <a:gd name="T34" fmla="*/ 6 w 225"/>
                <a:gd name="T35" fmla="*/ 2 h 232"/>
                <a:gd name="T36" fmla="*/ 6 w 225"/>
                <a:gd name="T37" fmla="*/ 1 h 232"/>
                <a:gd name="T38" fmla="*/ 7 w 225"/>
                <a:gd name="T39" fmla="*/ 1 h 232"/>
                <a:gd name="T40" fmla="*/ 7 w 225"/>
                <a:gd name="T41" fmla="*/ 1 h 232"/>
                <a:gd name="T42" fmla="*/ 8 w 225"/>
                <a:gd name="T43" fmla="*/ 0 h 232"/>
                <a:gd name="T44" fmla="*/ 7 w 225"/>
                <a:gd name="T45" fmla="*/ 0 h 232"/>
                <a:gd name="T46" fmla="*/ 6 w 225"/>
                <a:gd name="T47" fmla="*/ 1 h 232"/>
                <a:gd name="T48" fmla="*/ 6 w 225"/>
                <a:gd name="T49" fmla="*/ 0 h 232"/>
                <a:gd name="T50" fmla="*/ 5 w 225"/>
                <a:gd name="T51" fmla="*/ 0 h 232"/>
                <a:gd name="T52" fmla="*/ 5 w 225"/>
                <a:gd name="T53" fmla="*/ 0 h 232"/>
                <a:gd name="T54" fmla="*/ 3 w 225"/>
                <a:gd name="T55" fmla="*/ 1 h 232"/>
                <a:gd name="T56" fmla="*/ 3 w 225"/>
                <a:gd name="T57" fmla="*/ 1 h 232"/>
                <a:gd name="T58" fmla="*/ 2 w 225"/>
                <a:gd name="T59" fmla="*/ 1 h 232"/>
                <a:gd name="T60" fmla="*/ 1 w 225"/>
                <a:gd name="T61" fmla="*/ 1 h 232"/>
                <a:gd name="T62" fmla="*/ 1 w 225"/>
                <a:gd name="T63" fmla="*/ 2 h 232"/>
                <a:gd name="T64" fmla="*/ 0 w 225"/>
                <a:gd name="T65" fmla="*/ 2 h 2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232">
                  <a:moveTo>
                    <a:pt x="0" y="77"/>
                  </a:moveTo>
                  <a:lnTo>
                    <a:pt x="0" y="108"/>
                  </a:lnTo>
                  <a:lnTo>
                    <a:pt x="0" y="139"/>
                  </a:lnTo>
                  <a:lnTo>
                    <a:pt x="15" y="169"/>
                  </a:lnTo>
                  <a:lnTo>
                    <a:pt x="30" y="169"/>
                  </a:lnTo>
                  <a:lnTo>
                    <a:pt x="30" y="185"/>
                  </a:lnTo>
                  <a:lnTo>
                    <a:pt x="15" y="200"/>
                  </a:lnTo>
                  <a:lnTo>
                    <a:pt x="30" y="231"/>
                  </a:lnTo>
                  <a:lnTo>
                    <a:pt x="74" y="216"/>
                  </a:lnTo>
                  <a:lnTo>
                    <a:pt x="89" y="200"/>
                  </a:lnTo>
                  <a:lnTo>
                    <a:pt x="104" y="185"/>
                  </a:lnTo>
                  <a:lnTo>
                    <a:pt x="119" y="185"/>
                  </a:lnTo>
                  <a:lnTo>
                    <a:pt x="134" y="169"/>
                  </a:lnTo>
                  <a:lnTo>
                    <a:pt x="149" y="139"/>
                  </a:lnTo>
                  <a:lnTo>
                    <a:pt x="164" y="123"/>
                  </a:lnTo>
                  <a:lnTo>
                    <a:pt x="164" y="108"/>
                  </a:lnTo>
                  <a:lnTo>
                    <a:pt x="164" y="92"/>
                  </a:lnTo>
                  <a:lnTo>
                    <a:pt x="178" y="77"/>
                  </a:lnTo>
                  <a:lnTo>
                    <a:pt x="164" y="46"/>
                  </a:lnTo>
                  <a:lnTo>
                    <a:pt x="193" y="31"/>
                  </a:lnTo>
                  <a:lnTo>
                    <a:pt x="208" y="31"/>
                  </a:lnTo>
                  <a:lnTo>
                    <a:pt x="224" y="15"/>
                  </a:lnTo>
                  <a:lnTo>
                    <a:pt x="193" y="15"/>
                  </a:lnTo>
                  <a:lnTo>
                    <a:pt x="178" y="31"/>
                  </a:lnTo>
                  <a:lnTo>
                    <a:pt x="164" y="15"/>
                  </a:lnTo>
                  <a:lnTo>
                    <a:pt x="149" y="0"/>
                  </a:lnTo>
                  <a:lnTo>
                    <a:pt x="134" y="15"/>
                  </a:lnTo>
                  <a:lnTo>
                    <a:pt x="104" y="31"/>
                  </a:lnTo>
                  <a:lnTo>
                    <a:pt x="89" y="31"/>
                  </a:lnTo>
                  <a:lnTo>
                    <a:pt x="59" y="31"/>
                  </a:lnTo>
                  <a:lnTo>
                    <a:pt x="45" y="62"/>
                  </a:lnTo>
                  <a:lnTo>
                    <a:pt x="30" y="77"/>
                  </a:lnTo>
                  <a:lnTo>
                    <a:pt x="0" y="77"/>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5" name="Freeform 620"/>
            <p:cNvSpPr>
              <a:spLocks/>
            </p:cNvSpPr>
            <p:nvPr/>
          </p:nvSpPr>
          <p:spPr bwMode="auto">
            <a:xfrm>
              <a:off x="7502" y="1423"/>
              <a:ext cx="102" cy="123"/>
            </a:xfrm>
            <a:custGeom>
              <a:avLst/>
              <a:gdLst>
                <a:gd name="T0" fmla="*/ 4 w 239"/>
                <a:gd name="T1" fmla="*/ 7 h 323"/>
                <a:gd name="T2" fmla="*/ 6 w 239"/>
                <a:gd name="T3" fmla="*/ 6 h 323"/>
                <a:gd name="T4" fmla="*/ 5 w 239"/>
                <a:gd name="T5" fmla="*/ 5 h 323"/>
                <a:gd name="T6" fmla="*/ 5 w 239"/>
                <a:gd name="T7" fmla="*/ 5 h 323"/>
                <a:gd name="T8" fmla="*/ 5 w 239"/>
                <a:gd name="T9" fmla="*/ 5 h 323"/>
                <a:gd name="T10" fmla="*/ 6 w 239"/>
                <a:gd name="T11" fmla="*/ 5 h 323"/>
                <a:gd name="T12" fmla="*/ 6 w 239"/>
                <a:gd name="T13" fmla="*/ 5 h 323"/>
                <a:gd name="T14" fmla="*/ 6 w 239"/>
                <a:gd name="T15" fmla="*/ 5 h 323"/>
                <a:gd name="T16" fmla="*/ 6 w 239"/>
                <a:gd name="T17" fmla="*/ 4 h 323"/>
                <a:gd name="T18" fmla="*/ 7 w 239"/>
                <a:gd name="T19" fmla="*/ 3 h 323"/>
                <a:gd name="T20" fmla="*/ 7 w 239"/>
                <a:gd name="T21" fmla="*/ 3 h 323"/>
                <a:gd name="T22" fmla="*/ 7 w 239"/>
                <a:gd name="T23" fmla="*/ 3 h 323"/>
                <a:gd name="T24" fmla="*/ 7 w 239"/>
                <a:gd name="T25" fmla="*/ 2 h 323"/>
                <a:gd name="T26" fmla="*/ 8 w 239"/>
                <a:gd name="T27" fmla="*/ 2 h 323"/>
                <a:gd name="T28" fmla="*/ 7 w 239"/>
                <a:gd name="T29" fmla="*/ 1 h 323"/>
                <a:gd name="T30" fmla="*/ 6 w 239"/>
                <a:gd name="T31" fmla="*/ 0 h 323"/>
                <a:gd name="T32" fmla="*/ 6 w 239"/>
                <a:gd name="T33" fmla="*/ 0 h 323"/>
                <a:gd name="T34" fmla="*/ 6 w 239"/>
                <a:gd name="T35" fmla="*/ 0 h 323"/>
                <a:gd name="T36" fmla="*/ 4 w 239"/>
                <a:gd name="T37" fmla="*/ 1 h 323"/>
                <a:gd name="T38" fmla="*/ 5 w 239"/>
                <a:gd name="T39" fmla="*/ 1 h 323"/>
                <a:gd name="T40" fmla="*/ 4 w 239"/>
                <a:gd name="T41" fmla="*/ 2 h 323"/>
                <a:gd name="T42" fmla="*/ 4 w 239"/>
                <a:gd name="T43" fmla="*/ 2 h 323"/>
                <a:gd name="T44" fmla="*/ 4 w 239"/>
                <a:gd name="T45" fmla="*/ 2 h 323"/>
                <a:gd name="T46" fmla="*/ 4 w 239"/>
                <a:gd name="T47" fmla="*/ 3 h 323"/>
                <a:gd name="T48" fmla="*/ 3 w 239"/>
                <a:gd name="T49" fmla="*/ 3 h 323"/>
                <a:gd name="T50" fmla="*/ 3 w 239"/>
                <a:gd name="T51" fmla="*/ 3 h 323"/>
                <a:gd name="T52" fmla="*/ 3 w 239"/>
                <a:gd name="T53" fmla="*/ 3 h 323"/>
                <a:gd name="T54" fmla="*/ 2 w 239"/>
                <a:gd name="T55" fmla="*/ 4 h 323"/>
                <a:gd name="T56" fmla="*/ 1 w 239"/>
                <a:gd name="T57" fmla="*/ 4 h 323"/>
                <a:gd name="T58" fmla="*/ 0 w 239"/>
                <a:gd name="T59" fmla="*/ 5 h 323"/>
                <a:gd name="T60" fmla="*/ 0 w 239"/>
                <a:gd name="T61" fmla="*/ 5 h 323"/>
                <a:gd name="T62" fmla="*/ 1 w 239"/>
                <a:gd name="T63" fmla="*/ 5 h 323"/>
                <a:gd name="T64" fmla="*/ 0 w 239"/>
                <a:gd name="T65" fmla="*/ 6 h 323"/>
                <a:gd name="T66" fmla="*/ 0 w 239"/>
                <a:gd name="T67" fmla="*/ 6 h 323"/>
                <a:gd name="T68" fmla="*/ 0 w 239"/>
                <a:gd name="T69" fmla="*/ 6 h 323"/>
                <a:gd name="T70" fmla="*/ 3 w 239"/>
                <a:gd name="T71" fmla="*/ 6 h 323"/>
                <a:gd name="T72" fmla="*/ 4 w 239"/>
                <a:gd name="T73" fmla="*/ 7 h 32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39" h="323">
                  <a:moveTo>
                    <a:pt x="134" y="322"/>
                  </a:moveTo>
                  <a:lnTo>
                    <a:pt x="164" y="291"/>
                  </a:lnTo>
                  <a:lnTo>
                    <a:pt x="149" y="261"/>
                  </a:lnTo>
                  <a:lnTo>
                    <a:pt x="149" y="245"/>
                  </a:lnTo>
                  <a:lnTo>
                    <a:pt x="149" y="230"/>
                  </a:lnTo>
                  <a:lnTo>
                    <a:pt x="164" y="230"/>
                  </a:lnTo>
                  <a:lnTo>
                    <a:pt x="179" y="230"/>
                  </a:lnTo>
                  <a:lnTo>
                    <a:pt x="179" y="215"/>
                  </a:lnTo>
                  <a:lnTo>
                    <a:pt x="193" y="199"/>
                  </a:lnTo>
                  <a:lnTo>
                    <a:pt x="208" y="153"/>
                  </a:lnTo>
                  <a:lnTo>
                    <a:pt x="223" y="138"/>
                  </a:lnTo>
                  <a:lnTo>
                    <a:pt x="223" y="123"/>
                  </a:lnTo>
                  <a:lnTo>
                    <a:pt x="208" y="107"/>
                  </a:lnTo>
                  <a:lnTo>
                    <a:pt x="238" y="77"/>
                  </a:lnTo>
                  <a:lnTo>
                    <a:pt x="223" y="46"/>
                  </a:lnTo>
                  <a:lnTo>
                    <a:pt x="193" y="0"/>
                  </a:lnTo>
                  <a:lnTo>
                    <a:pt x="179" y="15"/>
                  </a:lnTo>
                  <a:lnTo>
                    <a:pt x="164" y="15"/>
                  </a:lnTo>
                  <a:lnTo>
                    <a:pt x="134" y="31"/>
                  </a:lnTo>
                  <a:lnTo>
                    <a:pt x="149" y="61"/>
                  </a:lnTo>
                  <a:lnTo>
                    <a:pt x="134" y="77"/>
                  </a:lnTo>
                  <a:lnTo>
                    <a:pt x="134" y="92"/>
                  </a:lnTo>
                  <a:lnTo>
                    <a:pt x="134" y="107"/>
                  </a:lnTo>
                  <a:lnTo>
                    <a:pt x="119" y="123"/>
                  </a:lnTo>
                  <a:lnTo>
                    <a:pt x="104" y="153"/>
                  </a:lnTo>
                  <a:lnTo>
                    <a:pt x="89" y="169"/>
                  </a:lnTo>
                  <a:lnTo>
                    <a:pt x="74" y="169"/>
                  </a:lnTo>
                  <a:lnTo>
                    <a:pt x="60" y="184"/>
                  </a:lnTo>
                  <a:lnTo>
                    <a:pt x="45" y="199"/>
                  </a:lnTo>
                  <a:lnTo>
                    <a:pt x="0" y="215"/>
                  </a:lnTo>
                  <a:lnTo>
                    <a:pt x="15" y="245"/>
                  </a:lnTo>
                  <a:lnTo>
                    <a:pt x="30" y="261"/>
                  </a:lnTo>
                  <a:lnTo>
                    <a:pt x="15" y="276"/>
                  </a:lnTo>
                  <a:lnTo>
                    <a:pt x="0" y="307"/>
                  </a:lnTo>
                  <a:lnTo>
                    <a:pt x="15" y="307"/>
                  </a:lnTo>
                  <a:lnTo>
                    <a:pt x="89" y="291"/>
                  </a:lnTo>
                  <a:lnTo>
                    <a:pt x="134" y="322"/>
                  </a:lnTo>
                </a:path>
              </a:pathLst>
            </a:custGeom>
            <a:solidFill>
              <a:srgbClr val="FF0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6" name="Line 621"/>
            <p:cNvSpPr>
              <a:spLocks noChangeShapeType="1"/>
            </p:cNvSpPr>
            <p:nvPr/>
          </p:nvSpPr>
          <p:spPr bwMode="auto">
            <a:xfrm>
              <a:off x="7585" y="1464"/>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7" name="Freeform 622"/>
            <p:cNvSpPr>
              <a:spLocks/>
            </p:cNvSpPr>
            <p:nvPr/>
          </p:nvSpPr>
          <p:spPr bwMode="auto">
            <a:xfrm>
              <a:off x="7701" y="1516"/>
              <a:ext cx="44" cy="42"/>
            </a:xfrm>
            <a:custGeom>
              <a:avLst/>
              <a:gdLst>
                <a:gd name="T0" fmla="*/ 0 w 106"/>
                <a:gd name="T1" fmla="*/ 0 h 109"/>
                <a:gd name="T2" fmla="*/ 0 w 106"/>
                <a:gd name="T3" fmla="*/ 0 h 109"/>
                <a:gd name="T4" fmla="*/ 0 w 106"/>
                <a:gd name="T5" fmla="*/ 1 h 109"/>
                <a:gd name="T6" fmla="*/ 1 w 106"/>
                <a:gd name="T7" fmla="*/ 2 h 109"/>
                <a:gd name="T8" fmla="*/ 2 w 106"/>
                <a:gd name="T9" fmla="*/ 2 h 109"/>
                <a:gd name="T10" fmla="*/ 2 w 106"/>
                <a:gd name="T11" fmla="*/ 2 h 109"/>
                <a:gd name="T12" fmla="*/ 2 w 106"/>
                <a:gd name="T13" fmla="*/ 2 h 109"/>
                <a:gd name="T14" fmla="*/ 2 w 106"/>
                <a:gd name="T15" fmla="*/ 2 h 109"/>
                <a:gd name="T16" fmla="*/ 3 w 106"/>
                <a:gd name="T17" fmla="*/ 2 h 109"/>
                <a:gd name="T18" fmla="*/ 2 w 106"/>
                <a:gd name="T19" fmla="*/ 2 h 109"/>
                <a:gd name="T20" fmla="*/ 2 w 106"/>
                <a:gd name="T21" fmla="*/ 1 h 109"/>
                <a:gd name="T22" fmla="*/ 2 w 106"/>
                <a:gd name="T23" fmla="*/ 1 h 109"/>
                <a:gd name="T24" fmla="*/ 2 w 106"/>
                <a:gd name="T25" fmla="*/ 1 h 109"/>
                <a:gd name="T26" fmla="*/ 2 w 106"/>
                <a:gd name="T27" fmla="*/ 0 h 109"/>
                <a:gd name="T28" fmla="*/ 1 w 106"/>
                <a:gd name="T29" fmla="*/ 0 h 109"/>
                <a:gd name="T30" fmla="*/ 1 w 106"/>
                <a:gd name="T31" fmla="*/ 0 h 109"/>
                <a:gd name="T32" fmla="*/ 0 w 106"/>
                <a:gd name="T33" fmla="*/ 0 h 10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6" h="109">
                  <a:moveTo>
                    <a:pt x="0" y="0"/>
                  </a:moveTo>
                  <a:lnTo>
                    <a:pt x="15" y="15"/>
                  </a:lnTo>
                  <a:lnTo>
                    <a:pt x="15" y="46"/>
                  </a:lnTo>
                  <a:lnTo>
                    <a:pt x="45" y="93"/>
                  </a:lnTo>
                  <a:lnTo>
                    <a:pt x="60" y="93"/>
                  </a:lnTo>
                  <a:lnTo>
                    <a:pt x="60" y="77"/>
                  </a:lnTo>
                  <a:lnTo>
                    <a:pt x="90" y="93"/>
                  </a:lnTo>
                  <a:lnTo>
                    <a:pt x="90" y="108"/>
                  </a:lnTo>
                  <a:lnTo>
                    <a:pt x="105" y="108"/>
                  </a:lnTo>
                  <a:lnTo>
                    <a:pt x="90" y="93"/>
                  </a:lnTo>
                  <a:lnTo>
                    <a:pt x="90" y="62"/>
                  </a:lnTo>
                  <a:lnTo>
                    <a:pt x="75" y="46"/>
                  </a:lnTo>
                  <a:lnTo>
                    <a:pt x="90" y="46"/>
                  </a:lnTo>
                  <a:lnTo>
                    <a:pt x="90" y="15"/>
                  </a:lnTo>
                  <a:lnTo>
                    <a:pt x="45" y="15"/>
                  </a:lnTo>
                  <a:lnTo>
                    <a:pt x="45"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8" name="Freeform 623"/>
            <p:cNvSpPr>
              <a:spLocks/>
            </p:cNvSpPr>
            <p:nvPr/>
          </p:nvSpPr>
          <p:spPr bwMode="auto">
            <a:xfrm>
              <a:off x="7643" y="1487"/>
              <a:ext cx="58" cy="30"/>
            </a:xfrm>
            <a:custGeom>
              <a:avLst/>
              <a:gdLst>
                <a:gd name="T0" fmla="*/ 1 w 135"/>
                <a:gd name="T1" fmla="*/ 0 h 77"/>
                <a:gd name="T2" fmla="*/ 0 w 135"/>
                <a:gd name="T3" fmla="*/ 0 h 77"/>
                <a:gd name="T4" fmla="*/ 0 w 135"/>
                <a:gd name="T5" fmla="*/ 1 h 77"/>
                <a:gd name="T6" fmla="*/ 1 w 135"/>
                <a:gd name="T7" fmla="*/ 2 h 77"/>
                <a:gd name="T8" fmla="*/ 3 w 135"/>
                <a:gd name="T9" fmla="*/ 2 h 77"/>
                <a:gd name="T10" fmla="*/ 5 w 135"/>
                <a:gd name="T11" fmla="*/ 2 h 77"/>
                <a:gd name="T12" fmla="*/ 5 w 135"/>
                <a:gd name="T13" fmla="*/ 1 h 77"/>
                <a:gd name="T14" fmla="*/ 3 w 135"/>
                <a:gd name="T15" fmla="*/ 1 h 77"/>
                <a:gd name="T16" fmla="*/ 1 w 135"/>
                <a:gd name="T17" fmla="*/ 0 h 77"/>
                <a:gd name="T18" fmla="*/ 1 w 135"/>
                <a:gd name="T19" fmla="*/ 0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 h="77">
                  <a:moveTo>
                    <a:pt x="30" y="0"/>
                  </a:moveTo>
                  <a:lnTo>
                    <a:pt x="0" y="0"/>
                  </a:lnTo>
                  <a:lnTo>
                    <a:pt x="0" y="30"/>
                  </a:lnTo>
                  <a:lnTo>
                    <a:pt x="45" y="61"/>
                  </a:lnTo>
                  <a:lnTo>
                    <a:pt x="89" y="76"/>
                  </a:lnTo>
                  <a:lnTo>
                    <a:pt x="134" y="61"/>
                  </a:lnTo>
                  <a:lnTo>
                    <a:pt x="134" y="46"/>
                  </a:lnTo>
                  <a:lnTo>
                    <a:pt x="89" y="30"/>
                  </a:lnTo>
                  <a:lnTo>
                    <a:pt x="45" y="15"/>
                  </a:lnTo>
                  <a:lnTo>
                    <a:pt x="3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999" name="Line 624"/>
            <p:cNvSpPr>
              <a:spLocks noChangeShapeType="1"/>
            </p:cNvSpPr>
            <p:nvPr/>
          </p:nvSpPr>
          <p:spPr bwMode="auto">
            <a:xfrm>
              <a:off x="7585" y="1452"/>
              <a:ext cx="0" cy="7"/>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0" name="Freeform 625"/>
            <p:cNvSpPr>
              <a:spLocks/>
            </p:cNvSpPr>
            <p:nvPr/>
          </p:nvSpPr>
          <p:spPr bwMode="auto">
            <a:xfrm>
              <a:off x="7183" y="976"/>
              <a:ext cx="1000" cy="465"/>
            </a:xfrm>
            <a:custGeom>
              <a:avLst/>
              <a:gdLst>
                <a:gd name="T0" fmla="*/ 29 w 2327"/>
                <a:gd name="T1" fmla="*/ 20 h 1231"/>
                <a:gd name="T2" fmla="*/ 22 w 2327"/>
                <a:gd name="T3" fmla="*/ 20 h 1231"/>
                <a:gd name="T4" fmla="*/ 23 w 2327"/>
                <a:gd name="T5" fmla="*/ 21 h 1231"/>
                <a:gd name="T6" fmla="*/ 37 w 2327"/>
                <a:gd name="T7" fmla="*/ 18 h 1231"/>
                <a:gd name="T8" fmla="*/ 34 w 2327"/>
                <a:gd name="T9" fmla="*/ 21 h 1231"/>
                <a:gd name="T10" fmla="*/ 31 w 2327"/>
                <a:gd name="T11" fmla="*/ 23 h 1231"/>
                <a:gd name="T12" fmla="*/ 29 w 2327"/>
                <a:gd name="T13" fmla="*/ 23 h 1231"/>
                <a:gd name="T14" fmla="*/ 26 w 2327"/>
                <a:gd name="T15" fmla="*/ 25 h 1231"/>
                <a:gd name="T16" fmla="*/ 21 w 2327"/>
                <a:gd name="T17" fmla="*/ 24 h 1231"/>
                <a:gd name="T18" fmla="*/ 18 w 2327"/>
                <a:gd name="T19" fmla="*/ 23 h 1231"/>
                <a:gd name="T20" fmla="*/ 18 w 2327"/>
                <a:gd name="T21" fmla="*/ 21 h 1231"/>
                <a:gd name="T22" fmla="*/ 15 w 2327"/>
                <a:gd name="T23" fmla="*/ 21 h 1231"/>
                <a:gd name="T24" fmla="*/ 17 w 2327"/>
                <a:gd name="T25" fmla="*/ 24 h 1231"/>
                <a:gd name="T26" fmla="*/ 14 w 2327"/>
                <a:gd name="T27" fmla="*/ 23 h 1231"/>
                <a:gd name="T28" fmla="*/ 9 w 2327"/>
                <a:gd name="T29" fmla="*/ 22 h 1231"/>
                <a:gd name="T30" fmla="*/ 8 w 2327"/>
                <a:gd name="T31" fmla="*/ 22 h 1231"/>
                <a:gd name="T32" fmla="*/ 4 w 2327"/>
                <a:gd name="T33" fmla="*/ 21 h 1231"/>
                <a:gd name="T34" fmla="*/ 1 w 2327"/>
                <a:gd name="T35" fmla="*/ 20 h 1231"/>
                <a:gd name="T36" fmla="*/ 0 w 2327"/>
                <a:gd name="T37" fmla="*/ 15 h 1231"/>
                <a:gd name="T38" fmla="*/ 3 w 2327"/>
                <a:gd name="T39" fmla="*/ 15 h 1231"/>
                <a:gd name="T40" fmla="*/ 3 w 2327"/>
                <a:gd name="T41" fmla="*/ 11 h 1231"/>
                <a:gd name="T42" fmla="*/ 3 w 2327"/>
                <a:gd name="T43" fmla="*/ 9 h 1231"/>
                <a:gd name="T44" fmla="*/ 6 w 2327"/>
                <a:gd name="T45" fmla="*/ 11 h 1231"/>
                <a:gd name="T46" fmla="*/ 7 w 2327"/>
                <a:gd name="T47" fmla="*/ 12 h 1231"/>
                <a:gd name="T48" fmla="*/ 10 w 2327"/>
                <a:gd name="T49" fmla="*/ 10 h 1231"/>
                <a:gd name="T50" fmla="*/ 11 w 2327"/>
                <a:gd name="T51" fmla="*/ 9 h 1231"/>
                <a:gd name="T52" fmla="*/ 14 w 2327"/>
                <a:gd name="T53" fmla="*/ 9 h 1231"/>
                <a:gd name="T54" fmla="*/ 20 w 2327"/>
                <a:gd name="T55" fmla="*/ 8 h 1231"/>
                <a:gd name="T56" fmla="*/ 21 w 2327"/>
                <a:gd name="T57" fmla="*/ 5 h 1231"/>
                <a:gd name="T58" fmla="*/ 22 w 2327"/>
                <a:gd name="T59" fmla="*/ 9 h 1231"/>
                <a:gd name="T60" fmla="*/ 26 w 2327"/>
                <a:gd name="T61" fmla="*/ 8 h 1231"/>
                <a:gd name="T62" fmla="*/ 22 w 2327"/>
                <a:gd name="T63" fmla="*/ 5 h 1231"/>
                <a:gd name="T64" fmla="*/ 24 w 2327"/>
                <a:gd name="T65" fmla="*/ 5 h 1231"/>
                <a:gd name="T66" fmla="*/ 31 w 2327"/>
                <a:gd name="T67" fmla="*/ 1 h 1231"/>
                <a:gd name="T68" fmla="*/ 35 w 2327"/>
                <a:gd name="T69" fmla="*/ 0 h 1231"/>
                <a:gd name="T70" fmla="*/ 37 w 2327"/>
                <a:gd name="T71" fmla="*/ 2 h 1231"/>
                <a:gd name="T72" fmla="*/ 41 w 2327"/>
                <a:gd name="T73" fmla="*/ 1 h 1231"/>
                <a:gd name="T74" fmla="*/ 55 w 2327"/>
                <a:gd name="T75" fmla="*/ 1 h 1231"/>
                <a:gd name="T76" fmla="*/ 69 w 2327"/>
                <a:gd name="T77" fmla="*/ 1 h 1231"/>
                <a:gd name="T78" fmla="*/ 75 w 2327"/>
                <a:gd name="T79" fmla="*/ 1 h 1231"/>
                <a:gd name="T80" fmla="*/ 76 w 2327"/>
                <a:gd name="T81" fmla="*/ 2 h 1231"/>
                <a:gd name="T82" fmla="*/ 77 w 2327"/>
                <a:gd name="T83" fmla="*/ 5 h 1231"/>
                <a:gd name="T84" fmla="*/ 72 w 2327"/>
                <a:gd name="T85" fmla="*/ 6 h 1231"/>
                <a:gd name="T86" fmla="*/ 73 w 2327"/>
                <a:gd name="T87" fmla="*/ 8 h 1231"/>
                <a:gd name="T88" fmla="*/ 73 w 2327"/>
                <a:gd name="T89" fmla="*/ 11 h 1231"/>
                <a:gd name="T90" fmla="*/ 71 w 2327"/>
                <a:gd name="T91" fmla="*/ 6 h 1231"/>
                <a:gd name="T92" fmla="*/ 68 w 2327"/>
                <a:gd name="T93" fmla="*/ 6 h 1231"/>
                <a:gd name="T94" fmla="*/ 64 w 2327"/>
                <a:gd name="T95" fmla="*/ 8 h 1231"/>
                <a:gd name="T96" fmla="*/ 61 w 2327"/>
                <a:gd name="T97" fmla="*/ 12 h 1231"/>
                <a:gd name="T98" fmla="*/ 64 w 2327"/>
                <a:gd name="T99" fmla="*/ 14 h 1231"/>
                <a:gd name="T100" fmla="*/ 63 w 2327"/>
                <a:gd name="T101" fmla="*/ 17 h 1231"/>
                <a:gd name="T102" fmla="*/ 59 w 2327"/>
                <a:gd name="T103" fmla="*/ 15 h 1231"/>
                <a:gd name="T104" fmla="*/ 54 w 2327"/>
                <a:gd name="T105" fmla="*/ 13 h 1231"/>
                <a:gd name="T106" fmla="*/ 52 w 2327"/>
                <a:gd name="T107" fmla="*/ 16 h 1231"/>
                <a:gd name="T108" fmla="*/ 49 w 2327"/>
                <a:gd name="T109" fmla="*/ 17 h 1231"/>
                <a:gd name="T110" fmla="*/ 41 w 2327"/>
                <a:gd name="T111" fmla="*/ 16 h 12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27" h="1231">
                  <a:moveTo>
                    <a:pt x="1082" y="881"/>
                  </a:moveTo>
                  <a:lnTo>
                    <a:pt x="948" y="941"/>
                  </a:lnTo>
                  <a:lnTo>
                    <a:pt x="904" y="941"/>
                  </a:lnTo>
                  <a:lnTo>
                    <a:pt x="889" y="972"/>
                  </a:lnTo>
                  <a:lnTo>
                    <a:pt x="859" y="972"/>
                  </a:lnTo>
                  <a:lnTo>
                    <a:pt x="859" y="957"/>
                  </a:lnTo>
                  <a:lnTo>
                    <a:pt x="667" y="1017"/>
                  </a:lnTo>
                  <a:lnTo>
                    <a:pt x="667" y="1002"/>
                  </a:lnTo>
                  <a:lnTo>
                    <a:pt x="652" y="987"/>
                  </a:lnTo>
                  <a:lnTo>
                    <a:pt x="637" y="1002"/>
                  </a:lnTo>
                  <a:lnTo>
                    <a:pt x="637" y="1017"/>
                  </a:lnTo>
                  <a:lnTo>
                    <a:pt x="652" y="1048"/>
                  </a:lnTo>
                  <a:lnTo>
                    <a:pt x="667" y="1048"/>
                  </a:lnTo>
                  <a:lnTo>
                    <a:pt x="667" y="1033"/>
                  </a:lnTo>
                  <a:lnTo>
                    <a:pt x="667" y="1017"/>
                  </a:lnTo>
                  <a:lnTo>
                    <a:pt x="859" y="957"/>
                  </a:lnTo>
                  <a:lnTo>
                    <a:pt x="859" y="926"/>
                  </a:lnTo>
                  <a:lnTo>
                    <a:pt x="948" y="926"/>
                  </a:lnTo>
                  <a:lnTo>
                    <a:pt x="948" y="941"/>
                  </a:lnTo>
                  <a:lnTo>
                    <a:pt x="1082" y="881"/>
                  </a:lnTo>
                  <a:lnTo>
                    <a:pt x="1067" y="941"/>
                  </a:lnTo>
                  <a:lnTo>
                    <a:pt x="1007" y="941"/>
                  </a:lnTo>
                  <a:lnTo>
                    <a:pt x="1022" y="972"/>
                  </a:lnTo>
                  <a:lnTo>
                    <a:pt x="993" y="987"/>
                  </a:lnTo>
                  <a:lnTo>
                    <a:pt x="1007" y="1017"/>
                  </a:lnTo>
                  <a:lnTo>
                    <a:pt x="993" y="1078"/>
                  </a:lnTo>
                  <a:lnTo>
                    <a:pt x="948" y="1109"/>
                  </a:lnTo>
                  <a:lnTo>
                    <a:pt x="933" y="1093"/>
                  </a:lnTo>
                  <a:lnTo>
                    <a:pt x="904" y="1124"/>
                  </a:lnTo>
                  <a:lnTo>
                    <a:pt x="919" y="1139"/>
                  </a:lnTo>
                  <a:lnTo>
                    <a:pt x="933" y="1169"/>
                  </a:lnTo>
                  <a:lnTo>
                    <a:pt x="904" y="1169"/>
                  </a:lnTo>
                  <a:lnTo>
                    <a:pt x="889" y="1184"/>
                  </a:lnTo>
                  <a:lnTo>
                    <a:pt x="874" y="1169"/>
                  </a:lnTo>
                  <a:lnTo>
                    <a:pt x="859" y="1154"/>
                  </a:lnTo>
                  <a:lnTo>
                    <a:pt x="844" y="1169"/>
                  </a:lnTo>
                  <a:lnTo>
                    <a:pt x="815" y="1184"/>
                  </a:lnTo>
                  <a:lnTo>
                    <a:pt x="800" y="1184"/>
                  </a:lnTo>
                  <a:lnTo>
                    <a:pt x="770" y="1184"/>
                  </a:lnTo>
                  <a:lnTo>
                    <a:pt x="756" y="1215"/>
                  </a:lnTo>
                  <a:lnTo>
                    <a:pt x="741" y="1230"/>
                  </a:lnTo>
                  <a:lnTo>
                    <a:pt x="711" y="1230"/>
                  </a:lnTo>
                  <a:lnTo>
                    <a:pt x="711" y="1215"/>
                  </a:lnTo>
                  <a:lnTo>
                    <a:pt x="622" y="1184"/>
                  </a:lnTo>
                  <a:lnTo>
                    <a:pt x="607" y="1184"/>
                  </a:lnTo>
                  <a:lnTo>
                    <a:pt x="593" y="1200"/>
                  </a:lnTo>
                  <a:lnTo>
                    <a:pt x="563" y="1139"/>
                  </a:lnTo>
                  <a:lnTo>
                    <a:pt x="578" y="1139"/>
                  </a:lnTo>
                  <a:lnTo>
                    <a:pt x="563" y="1109"/>
                  </a:lnTo>
                  <a:lnTo>
                    <a:pt x="548" y="1124"/>
                  </a:lnTo>
                  <a:lnTo>
                    <a:pt x="548" y="1093"/>
                  </a:lnTo>
                  <a:lnTo>
                    <a:pt x="519" y="1063"/>
                  </a:lnTo>
                  <a:lnTo>
                    <a:pt x="504" y="1048"/>
                  </a:lnTo>
                  <a:lnTo>
                    <a:pt x="519" y="1048"/>
                  </a:lnTo>
                  <a:lnTo>
                    <a:pt x="519" y="1017"/>
                  </a:lnTo>
                  <a:lnTo>
                    <a:pt x="533" y="1017"/>
                  </a:lnTo>
                  <a:lnTo>
                    <a:pt x="533" y="987"/>
                  </a:lnTo>
                  <a:lnTo>
                    <a:pt x="504" y="987"/>
                  </a:lnTo>
                  <a:lnTo>
                    <a:pt x="489" y="987"/>
                  </a:lnTo>
                  <a:lnTo>
                    <a:pt x="444" y="1017"/>
                  </a:lnTo>
                  <a:lnTo>
                    <a:pt x="444" y="1048"/>
                  </a:lnTo>
                  <a:lnTo>
                    <a:pt x="489" y="1109"/>
                  </a:lnTo>
                  <a:lnTo>
                    <a:pt x="504" y="1139"/>
                  </a:lnTo>
                  <a:lnTo>
                    <a:pt x="504" y="1200"/>
                  </a:lnTo>
                  <a:lnTo>
                    <a:pt x="489" y="1169"/>
                  </a:lnTo>
                  <a:lnTo>
                    <a:pt x="444" y="1184"/>
                  </a:lnTo>
                  <a:lnTo>
                    <a:pt x="430" y="1169"/>
                  </a:lnTo>
                  <a:lnTo>
                    <a:pt x="430" y="1154"/>
                  </a:lnTo>
                  <a:lnTo>
                    <a:pt x="415" y="1154"/>
                  </a:lnTo>
                  <a:lnTo>
                    <a:pt x="415" y="1139"/>
                  </a:lnTo>
                  <a:lnTo>
                    <a:pt x="400" y="1124"/>
                  </a:lnTo>
                  <a:lnTo>
                    <a:pt x="370" y="1124"/>
                  </a:lnTo>
                  <a:lnTo>
                    <a:pt x="356" y="1093"/>
                  </a:lnTo>
                  <a:lnTo>
                    <a:pt x="326" y="1093"/>
                  </a:lnTo>
                  <a:lnTo>
                    <a:pt x="281" y="1048"/>
                  </a:lnTo>
                  <a:lnTo>
                    <a:pt x="296" y="1017"/>
                  </a:lnTo>
                  <a:lnTo>
                    <a:pt x="267" y="1017"/>
                  </a:lnTo>
                  <a:lnTo>
                    <a:pt x="237" y="1033"/>
                  </a:lnTo>
                  <a:lnTo>
                    <a:pt x="267" y="1048"/>
                  </a:lnTo>
                  <a:lnTo>
                    <a:pt x="222" y="1063"/>
                  </a:lnTo>
                  <a:lnTo>
                    <a:pt x="207" y="1033"/>
                  </a:lnTo>
                  <a:lnTo>
                    <a:pt x="163" y="1033"/>
                  </a:lnTo>
                  <a:lnTo>
                    <a:pt x="163" y="1048"/>
                  </a:lnTo>
                  <a:lnTo>
                    <a:pt x="133" y="1048"/>
                  </a:lnTo>
                  <a:lnTo>
                    <a:pt x="133" y="1017"/>
                  </a:lnTo>
                  <a:lnTo>
                    <a:pt x="104" y="987"/>
                  </a:lnTo>
                  <a:lnTo>
                    <a:pt x="89" y="1002"/>
                  </a:lnTo>
                  <a:lnTo>
                    <a:pt x="44" y="1002"/>
                  </a:lnTo>
                  <a:lnTo>
                    <a:pt x="30" y="987"/>
                  </a:lnTo>
                  <a:lnTo>
                    <a:pt x="44" y="987"/>
                  </a:lnTo>
                  <a:lnTo>
                    <a:pt x="59" y="926"/>
                  </a:lnTo>
                  <a:lnTo>
                    <a:pt x="44" y="896"/>
                  </a:lnTo>
                  <a:lnTo>
                    <a:pt x="44" y="866"/>
                  </a:lnTo>
                  <a:lnTo>
                    <a:pt x="0" y="790"/>
                  </a:lnTo>
                  <a:lnTo>
                    <a:pt x="15" y="759"/>
                  </a:lnTo>
                  <a:lnTo>
                    <a:pt x="30" y="774"/>
                  </a:lnTo>
                  <a:lnTo>
                    <a:pt x="44" y="759"/>
                  </a:lnTo>
                  <a:lnTo>
                    <a:pt x="30" y="729"/>
                  </a:lnTo>
                  <a:lnTo>
                    <a:pt x="59" y="714"/>
                  </a:lnTo>
                  <a:lnTo>
                    <a:pt x="89" y="729"/>
                  </a:lnTo>
                  <a:lnTo>
                    <a:pt x="119" y="699"/>
                  </a:lnTo>
                  <a:lnTo>
                    <a:pt x="104" y="683"/>
                  </a:lnTo>
                  <a:lnTo>
                    <a:pt x="133" y="623"/>
                  </a:lnTo>
                  <a:lnTo>
                    <a:pt x="119" y="592"/>
                  </a:lnTo>
                  <a:lnTo>
                    <a:pt x="104" y="547"/>
                  </a:lnTo>
                  <a:lnTo>
                    <a:pt x="119" y="531"/>
                  </a:lnTo>
                  <a:lnTo>
                    <a:pt x="104" y="486"/>
                  </a:lnTo>
                  <a:lnTo>
                    <a:pt x="89" y="471"/>
                  </a:lnTo>
                  <a:lnTo>
                    <a:pt x="89" y="440"/>
                  </a:lnTo>
                  <a:lnTo>
                    <a:pt x="89" y="425"/>
                  </a:lnTo>
                  <a:lnTo>
                    <a:pt x="163" y="440"/>
                  </a:lnTo>
                  <a:lnTo>
                    <a:pt x="252" y="456"/>
                  </a:lnTo>
                  <a:lnTo>
                    <a:pt x="252" y="486"/>
                  </a:lnTo>
                  <a:lnTo>
                    <a:pt x="237" y="516"/>
                  </a:lnTo>
                  <a:lnTo>
                    <a:pt x="193" y="516"/>
                  </a:lnTo>
                  <a:lnTo>
                    <a:pt x="133" y="486"/>
                  </a:lnTo>
                  <a:lnTo>
                    <a:pt x="148" y="516"/>
                  </a:lnTo>
                  <a:lnTo>
                    <a:pt x="163" y="531"/>
                  </a:lnTo>
                  <a:lnTo>
                    <a:pt x="178" y="577"/>
                  </a:lnTo>
                  <a:lnTo>
                    <a:pt x="207" y="577"/>
                  </a:lnTo>
                  <a:lnTo>
                    <a:pt x="207" y="547"/>
                  </a:lnTo>
                  <a:lnTo>
                    <a:pt x="237" y="562"/>
                  </a:lnTo>
                  <a:lnTo>
                    <a:pt x="237" y="531"/>
                  </a:lnTo>
                  <a:lnTo>
                    <a:pt x="267" y="501"/>
                  </a:lnTo>
                  <a:lnTo>
                    <a:pt x="296" y="501"/>
                  </a:lnTo>
                  <a:lnTo>
                    <a:pt x="281" y="471"/>
                  </a:lnTo>
                  <a:lnTo>
                    <a:pt x="281" y="440"/>
                  </a:lnTo>
                  <a:lnTo>
                    <a:pt x="311" y="440"/>
                  </a:lnTo>
                  <a:lnTo>
                    <a:pt x="311" y="456"/>
                  </a:lnTo>
                  <a:lnTo>
                    <a:pt x="326" y="471"/>
                  </a:lnTo>
                  <a:lnTo>
                    <a:pt x="356" y="471"/>
                  </a:lnTo>
                  <a:lnTo>
                    <a:pt x="341" y="440"/>
                  </a:lnTo>
                  <a:lnTo>
                    <a:pt x="415" y="410"/>
                  </a:lnTo>
                  <a:lnTo>
                    <a:pt x="400" y="456"/>
                  </a:lnTo>
                  <a:lnTo>
                    <a:pt x="400" y="471"/>
                  </a:lnTo>
                  <a:lnTo>
                    <a:pt x="430" y="425"/>
                  </a:lnTo>
                  <a:lnTo>
                    <a:pt x="489" y="410"/>
                  </a:lnTo>
                  <a:lnTo>
                    <a:pt x="504" y="410"/>
                  </a:lnTo>
                  <a:lnTo>
                    <a:pt x="489" y="380"/>
                  </a:lnTo>
                  <a:lnTo>
                    <a:pt x="593" y="380"/>
                  </a:lnTo>
                  <a:lnTo>
                    <a:pt x="593" y="395"/>
                  </a:lnTo>
                  <a:lnTo>
                    <a:pt x="563" y="319"/>
                  </a:lnTo>
                  <a:lnTo>
                    <a:pt x="578" y="304"/>
                  </a:lnTo>
                  <a:lnTo>
                    <a:pt x="578" y="258"/>
                  </a:lnTo>
                  <a:lnTo>
                    <a:pt x="607" y="258"/>
                  </a:lnTo>
                  <a:lnTo>
                    <a:pt x="622" y="304"/>
                  </a:lnTo>
                  <a:lnTo>
                    <a:pt x="667" y="380"/>
                  </a:lnTo>
                  <a:lnTo>
                    <a:pt x="682" y="410"/>
                  </a:lnTo>
                  <a:lnTo>
                    <a:pt x="667" y="440"/>
                  </a:lnTo>
                  <a:lnTo>
                    <a:pt x="637" y="456"/>
                  </a:lnTo>
                  <a:lnTo>
                    <a:pt x="682" y="471"/>
                  </a:lnTo>
                  <a:lnTo>
                    <a:pt x="696" y="410"/>
                  </a:lnTo>
                  <a:lnTo>
                    <a:pt x="696" y="380"/>
                  </a:lnTo>
                  <a:lnTo>
                    <a:pt x="711" y="380"/>
                  </a:lnTo>
                  <a:lnTo>
                    <a:pt x="756" y="410"/>
                  </a:lnTo>
                  <a:lnTo>
                    <a:pt x="711" y="364"/>
                  </a:lnTo>
                  <a:lnTo>
                    <a:pt x="682" y="364"/>
                  </a:lnTo>
                  <a:lnTo>
                    <a:pt x="667" y="319"/>
                  </a:lnTo>
                  <a:lnTo>
                    <a:pt x="637" y="304"/>
                  </a:lnTo>
                  <a:lnTo>
                    <a:pt x="652" y="258"/>
                  </a:lnTo>
                  <a:lnTo>
                    <a:pt x="682" y="289"/>
                  </a:lnTo>
                  <a:lnTo>
                    <a:pt x="682" y="258"/>
                  </a:lnTo>
                  <a:lnTo>
                    <a:pt x="741" y="273"/>
                  </a:lnTo>
                  <a:lnTo>
                    <a:pt x="741" y="243"/>
                  </a:lnTo>
                  <a:lnTo>
                    <a:pt x="711" y="243"/>
                  </a:lnTo>
                  <a:lnTo>
                    <a:pt x="696" y="213"/>
                  </a:lnTo>
                  <a:lnTo>
                    <a:pt x="741" y="182"/>
                  </a:lnTo>
                  <a:lnTo>
                    <a:pt x="726" y="167"/>
                  </a:lnTo>
                  <a:lnTo>
                    <a:pt x="800" y="91"/>
                  </a:lnTo>
                  <a:lnTo>
                    <a:pt x="919" y="61"/>
                  </a:lnTo>
                  <a:lnTo>
                    <a:pt x="919" y="30"/>
                  </a:lnTo>
                  <a:lnTo>
                    <a:pt x="933" y="0"/>
                  </a:lnTo>
                  <a:lnTo>
                    <a:pt x="978" y="0"/>
                  </a:lnTo>
                  <a:lnTo>
                    <a:pt x="993" y="30"/>
                  </a:lnTo>
                  <a:lnTo>
                    <a:pt x="1022" y="0"/>
                  </a:lnTo>
                  <a:lnTo>
                    <a:pt x="1052" y="0"/>
                  </a:lnTo>
                  <a:lnTo>
                    <a:pt x="1067" y="0"/>
                  </a:lnTo>
                  <a:lnTo>
                    <a:pt x="1096" y="30"/>
                  </a:lnTo>
                  <a:lnTo>
                    <a:pt x="1082" y="61"/>
                  </a:lnTo>
                  <a:lnTo>
                    <a:pt x="1067" y="91"/>
                  </a:lnTo>
                  <a:lnTo>
                    <a:pt x="1096" y="106"/>
                  </a:lnTo>
                  <a:lnTo>
                    <a:pt x="1082" y="137"/>
                  </a:lnTo>
                  <a:lnTo>
                    <a:pt x="1156" y="61"/>
                  </a:lnTo>
                  <a:lnTo>
                    <a:pt x="1185" y="91"/>
                  </a:lnTo>
                  <a:lnTo>
                    <a:pt x="1200" y="46"/>
                  </a:lnTo>
                  <a:lnTo>
                    <a:pt x="1333" y="61"/>
                  </a:lnTo>
                  <a:lnTo>
                    <a:pt x="1452" y="106"/>
                  </a:lnTo>
                  <a:lnTo>
                    <a:pt x="1467" y="76"/>
                  </a:lnTo>
                  <a:lnTo>
                    <a:pt x="1526" y="46"/>
                  </a:lnTo>
                  <a:lnTo>
                    <a:pt x="1600" y="46"/>
                  </a:lnTo>
                  <a:lnTo>
                    <a:pt x="1644" y="61"/>
                  </a:lnTo>
                  <a:lnTo>
                    <a:pt x="1733" y="30"/>
                  </a:lnTo>
                  <a:lnTo>
                    <a:pt x="1837" y="46"/>
                  </a:lnTo>
                  <a:lnTo>
                    <a:pt x="1941" y="106"/>
                  </a:lnTo>
                  <a:lnTo>
                    <a:pt x="2015" y="61"/>
                  </a:lnTo>
                  <a:lnTo>
                    <a:pt x="2030" y="91"/>
                  </a:lnTo>
                  <a:lnTo>
                    <a:pt x="2059" y="76"/>
                  </a:lnTo>
                  <a:lnTo>
                    <a:pt x="2059" y="46"/>
                  </a:lnTo>
                  <a:lnTo>
                    <a:pt x="2133" y="30"/>
                  </a:lnTo>
                  <a:lnTo>
                    <a:pt x="2193" y="61"/>
                  </a:lnTo>
                  <a:lnTo>
                    <a:pt x="2296" y="46"/>
                  </a:lnTo>
                  <a:lnTo>
                    <a:pt x="2326" y="106"/>
                  </a:lnTo>
                  <a:lnTo>
                    <a:pt x="2296" y="106"/>
                  </a:lnTo>
                  <a:lnTo>
                    <a:pt x="2237" y="91"/>
                  </a:lnTo>
                  <a:lnTo>
                    <a:pt x="2237" y="121"/>
                  </a:lnTo>
                  <a:lnTo>
                    <a:pt x="2252" y="137"/>
                  </a:lnTo>
                  <a:lnTo>
                    <a:pt x="2296" y="137"/>
                  </a:lnTo>
                  <a:lnTo>
                    <a:pt x="2311" y="137"/>
                  </a:lnTo>
                  <a:lnTo>
                    <a:pt x="2311" y="182"/>
                  </a:lnTo>
                  <a:lnTo>
                    <a:pt x="2267" y="228"/>
                  </a:lnTo>
                  <a:lnTo>
                    <a:pt x="2237" y="273"/>
                  </a:lnTo>
                  <a:lnTo>
                    <a:pt x="2193" y="258"/>
                  </a:lnTo>
                  <a:lnTo>
                    <a:pt x="2148" y="258"/>
                  </a:lnTo>
                  <a:lnTo>
                    <a:pt x="2133" y="304"/>
                  </a:lnTo>
                  <a:lnTo>
                    <a:pt x="2119" y="273"/>
                  </a:lnTo>
                  <a:lnTo>
                    <a:pt x="2089" y="304"/>
                  </a:lnTo>
                  <a:lnTo>
                    <a:pt x="2104" y="364"/>
                  </a:lnTo>
                  <a:lnTo>
                    <a:pt x="2133" y="364"/>
                  </a:lnTo>
                  <a:lnTo>
                    <a:pt x="2133" y="395"/>
                  </a:lnTo>
                  <a:lnTo>
                    <a:pt x="2148" y="410"/>
                  </a:lnTo>
                  <a:lnTo>
                    <a:pt x="2148" y="456"/>
                  </a:lnTo>
                  <a:lnTo>
                    <a:pt x="2163" y="471"/>
                  </a:lnTo>
                  <a:lnTo>
                    <a:pt x="2148" y="486"/>
                  </a:lnTo>
                  <a:lnTo>
                    <a:pt x="2163" y="531"/>
                  </a:lnTo>
                  <a:lnTo>
                    <a:pt x="2148" y="531"/>
                  </a:lnTo>
                  <a:lnTo>
                    <a:pt x="2133" y="607"/>
                  </a:lnTo>
                  <a:lnTo>
                    <a:pt x="2045" y="456"/>
                  </a:lnTo>
                  <a:lnTo>
                    <a:pt x="2030" y="395"/>
                  </a:lnTo>
                  <a:lnTo>
                    <a:pt x="2045" y="395"/>
                  </a:lnTo>
                  <a:lnTo>
                    <a:pt x="2074" y="289"/>
                  </a:lnTo>
                  <a:lnTo>
                    <a:pt x="2045" y="213"/>
                  </a:lnTo>
                  <a:lnTo>
                    <a:pt x="2015" y="228"/>
                  </a:lnTo>
                  <a:lnTo>
                    <a:pt x="2030" y="243"/>
                  </a:lnTo>
                  <a:lnTo>
                    <a:pt x="2030" y="289"/>
                  </a:lnTo>
                  <a:lnTo>
                    <a:pt x="2000" y="289"/>
                  </a:lnTo>
                  <a:lnTo>
                    <a:pt x="2000" y="243"/>
                  </a:lnTo>
                  <a:lnTo>
                    <a:pt x="1956" y="304"/>
                  </a:lnTo>
                  <a:lnTo>
                    <a:pt x="1956" y="380"/>
                  </a:lnTo>
                  <a:lnTo>
                    <a:pt x="1926" y="395"/>
                  </a:lnTo>
                  <a:lnTo>
                    <a:pt x="1882" y="380"/>
                  </a:lnTo>
                  <a:lnTo>
                    <a:pt x="1882" y="395"/>
                  </a:lnTo>
                  <a:lnTo>
                    <a:pt x="1793" y="425"/>
                  </a:lnTo>
                  <a:lnTo>
                    <a:pt x="1763" y="547"/>
                  </a:lnTo>
                  <a:lnTo>
                    <a:pt x="1748" y="577"/>
                  </a:lnTo>
                  <a:lnTo>
                    <a:pt x="1793" y="592"/>
                  </a:lnTo>
                  <a:lnTo>
                    <a:pt x="1807" y="623"/>
                  </a:lnTo>
                  <a:lnTo>
                    <a:pt x="1837" y="577"/>
                  </a:lnTo>
                  <a:lnTo>
                    <a:pt x="1867" y="592"/>
                  </a:lnTo>
                  <a:lnTo>
                    <a:pt x="1882" y="607"/>
                  </a:lnTo>
                  <a:lnTo>
                    <a:pt x="1896" y="683"/>
                  </a:lnTo>
                  <a:lnTo>
                    <a:pt x="1911" y="744"/>
                  </a:lnTo>
                  <a:lnTo>
                    <a:pt x="1882" y="896"/>
                  </a:lnTo>
                  <a:lnTo>
                    <a:pt x="1837" y="926"/>
                  </a:lnTo>
                  <a:lnTo>
                    <a:pt x="1807" y="866"/>
                  </a:lnTo>
                  <a:lnTo>
                    <a:pt x="1837" y="850"/>
                  </a:lnTo>
                  <a:lnTo>
                    <a:pt x="1837" y="774"/>
                  </a:lnTo>
                  <a:lnTo>
                    <a:pt x="1807" y="774"/>
                  </a:lnTo>
                  <a:lnTo>
                    <a:pt x="1793" y="790"/>
                  </a:lnTo>
                  <a:lnTo>
                    <a:pt x="1778" y="790"/>
                  </a:lnTo>
                  <a:lnTo>
                    <a:pt x="1719" y="744"/>
                  </a:lnTo>
                  <a:lnTo>
                    <a:pt x="1719" y="759"/>
                  </a:lnTo>
                  <a:lnTo>
                    <a:pt x="1689" y="729"/>
                  </a:lnTo>
                  <a:lnTo>
                    <a:pt x="1644" y="683"/>
                  </a:lnTo>
                  <a:lnTo>
                    <a:pt x="1600" y="653"/>
                  </a:lnTo>
                  <a:lnTo>
                    <a:pt x="1570" y="653"/>
                  </a:lnTo>
                  <a:lnTo>
                    <a:pt x="1556" y="699"/>
                  </a:lnTo>
                  <a:lnTo>
                    <a:pt x="1570" y="699"/>
                  </a:lnTo>
                  <a:lnTo>
                    <a:pt x="1570" y="729"/>
                  </a:lnTo>
                  <a:lnTo>
                    <a:pt x="1556" y="774"/>
                  </a:lnTo>
                  <a:lnTo>
                    <a:pt x="1541" y="790"/>
                  </a:lnTo>
                  <a:lnTo>
                    <a:pt x="1526" y="790"/>
                  </a:lnTo>
                  <a:lnTo>
                    <a:pt x="1482" y="790"/>
                  </a:lnTo>
                  <a:lnTo>
                    <a:pt x="1467" y="805"/>
                  </a:lnTo>
                  <a:lnTo>
                    <a:pt x="1437" y="805"/>
                  </a:lnTo>
                  <a:lnTo>
                    <a:pt x="1422" y="820"/>
                  </a:lnTo>
                  <a:lnTo>
                    <a:pt x="1348" y="790"/>
                  </a:lnTo>
                  <a:lnTo>
                    <a:pt x="1304" y="805"/>
                  </a:lnTo>
                  <a:lnTo>
                    <a:pt x="1289" y="790"/>
                  </a:lnTo>
                  <a:lnTo>
                    <a:pt x="1230" y="759"/>
                  </a:lnTo>
                  <a:lnTo>
                    <a:pt x="1215" y="805"/>
                  </a:lnTo>
                  <a:lnTo>
                    <a:pt x="1215" y="835"/>
                  </a:lnTo>
                  <a:lnTo>
                    <a:pt x="1170" y="835"/>
                  </a:lnTo>
                  <a:lnTo>
                    <a:pt x="1126" y="835"/>
                  </a:lnTo>
                  <a:lnTo>
                    <a:pt x="1082" y="88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1" name="Freeform 626"/>
            <p:cNvSpPr>
              <a:spLocks/>
            </p:cNvSpPr>
            <p:nvPr/>
          </p:nvSpPr>
          <p:spPr bwMode="auto">
            <a:xfrm>
              <a:off x="7180" y="976"/>
              <a:ext cx="1007" cy="471"/>
            </a:xfrm>
            <a:custGeom>
              <a:avLst/>
              <a:gdLst>
                <a:gd name="T0" fmla="*/ 34 w 2342"/>
                <a:gd name="T1" fmla="*/ 20 h 1246"/>
                <a:gd name="T2" fmla="*/ 31 w 2342"/>
                <a:gd name="T3" fmla="*/ 23 h 1246"/>
                <a:gd name="T4" fmla="*/ 30 w 2342"/>
                <a:gd name="T5" fmla="*/ 24 h 1246"/>
                <a:gd name="T6" fmla="*/ 26 w 2342"/>
                <a:gd name="T7" fmla="*/ 25 h 1246"/>
                <a:gd name="T8" fmla="*/ 21 w 2342"/>
                <a:gd name="T9" fmla="*/ 25 h 1246"/>
                <a:gd name="T10" fmla="*/ 19 w 2342"/>
                <a:gd name="T11" fmla="*/ 23 h 1246"/>
                <a:gd name="T12" fmla="*/ 18 w 2342"/>
                <a:gd name="T13" fmla="*/ 22 h 1246"/>
                <a:gd name="T14" fmla="*/ 17 w 2342"/>
                <a:gd name="T15" fmla="*/ 20 h 1246"/>
                <a:gd name="T16" fmla="*/ 17 w 2342"/>
                <a:gd name="T17" fmla="*/ 25 h 1246"/>
                <a:gd name="T18" fmla="*/ 14 w 2342"/>
                <a:gd name="T19" fmla="*/ 24 h 1246"/>
                <a:gd name="T20" fmla="*/ 11 w 2342"/>
                <a:gd name="T21" fmla="*/ 23 h 1246"/>
                <a:gd name="T22" fmla="*/ 9 w 2342"/>
                <a:gd name="T23" fmla="*/ 22 h 1246"/>
                <a:gd name="T24" fmla="*/ 5 w 2342"/>
                <a:gd name="T25" fmla="*/ 22 h 1246"/>
                <a:gd name="T26" fmla="*/ 1 w 2342"/>
                <a:gd name="T27" fmla="*/ 20 h 1246"/>
                <a:gd name="T28" fmla="*/ 0 w 2342"/>
                <a:gd name="T29" fmla="*/ 16 h 1246"/>
                <a:gd name="T30" fmla="*/ 2 w 2342"/>
                <a:gd name="T31" fmla="*/ 15 h 1246"/>
                <a:gd name="T32" fmla="*/ 4 w 2342"/>
                <a:gd name="T33" fmla="*/ 12 h 1246"/>
                <a:gd name="T34" fmla="*/ 3 w 2342"/>
                <a:gd name="T35" fmla="*/ 9 h 1246"/>
                <a:gd name="T36" fmla="*/ 8 w 2342"/>
                <a:gd name="T37" fmla="*/ 11 h 1246"/>
                <a:gd name="T38" fmla="*/ 6 w 2342"/>
                <a:gd name="T39" fmla="*/ 12 h 1246"/>
                <a:gd name="T40" fmla="*/ 9 w 2342"/>
                <a:gd name="T41" fmla="*/ 11 h 1246"/>
                <a:gd name="T42" fmla="*/ 11 w 2342"/>
                <a:gd name="T43" fmla="*/ 9 h 1246"/>
                <a:gd name="T44" fmla="*/ 14 w 2342"/>
                <a:gd name="T45" fmla="*/ 9 h 1246"/>
                <a:gd name="T46" fmla="*/ 17 w 2342"/>
                <a:gd name="T47" fmla="*/ 8 h 1246"/>
                <a:gd name="T48" fmla="*/ 20 w 2342"/>
                <a:gd name="T49" fmla="*/ 5 h 1246"/>
                <a:gd name="T50" fmla="*/ 23 w 2342"/>
                <a:gd name="T51" fmla="*/ 9 h 1246"/>
                <a:gd name="T52" fmla="*/ 25 w 2342"/>
                <a:gd name="T53" fmla="*/ 8 h 1246"/>
                <a:gd name="T54" fmla="*/ 22 w 2342"/>
                <a:gd name="T55" fmla="*/ 6 h 1246"/>
                <a:gd name="T56" fmla="*/ 25 w 2342"/>
                <a:gd name="T57" fmla="*/ 5 h 1246"/>
                <a:gd name="T58" fmla="*/ 28 w 2342"/>
                <a:gd name="T59" fmla="*/ 2 h 1246"/>
                <a:gd name="T60" fmla="*/ 34 w 2342"/>
                <a:gd name="T61" fmla="*/ 1 h 1246"/>
                <a:gd name="T62" fmla="*/ 37 w 2342"/>
                <a:gd name="T63" fmla="*/ 1 h 1246"/>
                <a:gd name="T64" fmla="*/ 41 w 2342"/>
                <a:gd name="T65" fmla="*/ 2 h 1246"/>
                <a:gd name="T66" fmla="*/ 52 w 2342"/>
                <a:gd name="T67" fmla="*/ 1 h 1246"/>
                <a:gd name="T68" fmla="*/ 67 w 2342"/>
                <a:gd name="T69" fmla="*/ 2 h 1246"/>
                <a:gd name="T70" fmla="*/ 74 w 2342"/>
                <a:gd name="T71" fmla="*/ 1 h 1246"/>
                <a:gd name="T72" fmla="*/ 77 w 2342"/>
                <a:gd name="T73" fmla="*/ 2 h 1246"/>
                <a:gd name="T74" fmla="*/ 80 w 2342"/>
                <a:gd name="T75" fmla="*/ 4 h 1246"/>
                <a:gd name="T76" fmla="*/ 74 w 2342"/>
                <a:gd name="T77" fmla="*/ 6 h 1246"/>
                <a:gd name="T78" fmla="*/ 74 w 2342"/>
                <a:gd name="T79" fmla="*/ 8 h 1246"/>
                <a:gd name="T80" fmla="*/ 74 w 2342"/>
                <a:gd name="T81" fmla="*/ 11 h 1246"/>
                <a:gd name="T82" fmla="*/ 71 w 2342"/>
                <a:gd name="T83" fmla="*/ 8 h 1246"/>
                <a:gd name="T84" fmla="*/ 70 w 2342"/>
                <a:gd name="T85" fmla="*/ 6 h 1246"/>
                <a:gd name="T86" fmla="*/ 66 w 2342"/>
                <a:gd name="T87" fmla="*/ 8 h 1246"/>
                <a:gd name="T88" fmla="*/ 60 w 2342"/>
                <a:gd name="T89" fmla="*/ 12 h 1246"/>
                <a:gd name="T90" fmla="*/ 64 w 2342"/>
                <a:gd name="T91" fmla="*/ 12 h 1246"/>
                <a:gd name="T92" fmla="*/ 62 w 2342"/>
                <a:gd name="T93" fmla="*/ 18 h 1246"/>
                <a:gd name="T94" fmla="*/ 61 w 2342"/>
                <a:gd name="T95" fmla="*/ 16 h 1246"/>
                <a:gd name="T96" fmla="*/ 55 w 2342"/>
                <a:gd name="T97" fmla="*/ 14 h 1246"/>
                <a:gd name="T98" fmla="*/ 53 w 2342"/>
                <a:gd name="T99" fmla="*/ 16 h 1246"/>
                <a:gd name="T100" fmla="*/ 49 w 2342"/>
                <a:gd name="T101" fmla="*/ 17 h 1246"/>
                <a:gd name="T102" fmla="*/ 42 w 2342"/>
                <a:gd name="T103" fmla="*/ 16 h 1246"/>
                <a:gd name="T104" fmla="*/ 37 w 2342"/>
                <a:gd name="T105" fmla="*/ 18 h 12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342" h="1246">
                  <a:moveTo>
                    <a:pt x="1088" y="891"/>
                  </a:moveTo>
                  <a:lnTo>
                    <a:pt x="1074" y="953"/>
                  </a:lnTo>
                  <a:lnTo>
                    <a:pt x="1014" y="953"/>
                  </a:lnTo>
                  <a:lnTo>
                    <a:pt x="1029" y="984"/>
                  </a:lnTo>
                  <a:lnTo>
                    <a:pt x="999" y="999"/>
                  </a:lnTo>
                  <a:lnTo>
                    <a:pt x="1014" y="1030"/>
                  </a:lnTo>
                  <a:lnTo>
                    <a:pt x="999" y="1091"/>
                  </a:lnTo>
                  <a:lnTo>
                    <a:pt x="954" y="1122"/>
                  </a:lnTo>
                  <a:lnTo>
                    <a:pt x="939" y="1107"/>
                  </a:lnTo>
                  <a:lnTo>
                    <a:pt x="910" y="1137"/>
                  </a:lnTo>
                  <a:lnTo>
                    <a:pt x="924" y="1153"/>
                  </a:lnTo>
                  <a:lnTo>
                    <a:pt x="939" y="1184"/>
                  </a:lnTo>
                  <a:lnTo>
                    <a:pt x="910" y="1184"/>
                  </a:lnTo>
                  <a:lnTo>
                    <a:pt x="895" y="1199"/>
                  </a:lnTo>
                  <a:lnTo>
                    <a:pt x="880" y="1184"/>
                  </a:lnTo>
                  <a:lnTo>
                    <a:pt x="865" y="1168"/>
                  </a:lnTo>
                  <a:lnTo>
                    <a:pt x="850" y="1184"/>
                  </a:lnTo>
                  <a:lnTo>
                    <a:pt x="820" y="1199"/>
                  </a:lnTo>
                  <a:lnTo>
                    <a:pt x="805" y="1199"/>
                  </a:lnTo>
                  <a:lnTo>
                    <a:pt x="775" y="1199"/>
                  </a:lnTo>
                  <a:lnTo>
                    <a:pt x="760" y="1230"/>
                  </a:lnTo>
                  <a:lnTo>
                    <a:pt x="746" y="1245"/>
                  </a:lnTo>
                  <a:lnTo>
                    <a:pt x="716" y="1245"/>
                  </a:lnTo>
                  <a:lnTo>
                    <a:pt x="716" y="1230"/>
                  </a:lnTo>
                  <a:lnTo>
                    <a:pt x="626" y="1199"/>
                  </a:lnTo>
                  <a:lnTo>
                    <a:pt x="611" y="1199"/>
                  </a:lnTo>
                  <a:lnTo>
                    <a:pt x="596" y="1214"/>
                  </a:lnTo>
                  <a:lnTo>
                    <a:pt x="567" y="1153"/>
                  </a:lnTo>
                  <a:lnTo>
                    <a:pt x="582" y="1153"/>
                  </a:lnTo>
                  <a:lnTo>
                    <a:pt x="567" y="1122"/>
                  </a:lnTo>
                  <a:lnTo>
                    <a:pt x="552" y="1137"/>
                  </a:lnTo>
                  <a:lnTo>
                    <a:pt x="552" y="1107"/>
                  </a:lnTo>
                  <a:lnTo>
                    <a:pt x="522" y="1076"/>
                  </a:lnTo>
                  <a:lnTo>
                    <a:pt x="507" y="1061"/>
                  </a:lnTo>
                  <a:lnTo>
                    <a:pt x="522" y="1061"/>
                  </a:lnTo>
                  <a:lnTo>
                    <a:pt x="522" y="1030"/>
                  </a:lnTo>
                  <a:lnTo>
                    <a:pt x="537" y="1030"/>
                  </a:lnTo>
                  <a:lnTo>
                    <a:pt x="537" y="999"/>
                  </a:lnTo>
                  <a:lnTo>
                    <a:pt x="507" y="999"/>
                  </a:lnTo>
                  <a:lnTo>
                    <a:pt x="492" y="999"/>
                  </a:lnTo>
                  <a:lnTo>
                    <a:pt x="447" y="1030"/>
                  </a:lnTo>
                  <a:lnTo>
                    <a:pt x="447" y="1061"/>
                  </a:lnTo>
                  <a:lnTo>
                    <a:pt x="492" y="1122"/>
                  </a:lnTo>
                  <a:lnTo>
                    <a:pt x="507" y="1153"/>
                  </a:lnTo>
                  <a:lnTo>
                    <a:pt x="507" y="1214"/>
                  </a:lnTo>
                  <a:lnTo>
                    <a:pt x="492" y="1184"/>
                  </a:lnTo>
                  <a:lnTo>
                    <a:pt x="447" y="1199"/>
                  </a:lnTo>
                  <a:lnTo>
                    <a:pt x="432" y="1184"/>
                  </a:lnTo>
                  <a:lnTo>
                    <a:pt x="432" y="1168"/>
                  </a:lnTo>
                  <a:lnTo>
                    <a:pt x="418" y="1168"/>
                  </a:lnTo>
                  <a:lnTo>
                    <a:pt x="418" y="1153"/>
                  </a:lnTo>
                  <a:lnTo>
                    <a:pt x="403" y="1137"/>
                  </a:lnTo>
                  <a:lnTo>
                    <a:pt x="373" y="1137"/>
                  </a:lnTo>
                  <a:lnTo>
                    <a:pt x="358" y="1107"/>
                  </a:lnTo>
                  <a:lnTo>
                    <a:pt x="328" y="1107"/>
                  </a:lnTo>
                  <a:lnTo>
                    <a:pt x="283" y="1061"/>
                  </a:lnTo>
                  <a:lnTo>
                    <a:pt x="298" y="1030"/>
                  </a:lnTo>
                  <a:lnTo>
                    <a:pt x="268" y="1030"/>
                  </a:lnTo>
                  <a:lnTo>
                    <a:pt x="239" y="1045"/>
                  </a:lnTo>
                  <a:lnTo>
                    <a:pt x="268" y="1061"/>
                  </a:lnTo>
                  <a:lnTo>
                    <a:pt x="224" y="1076"/>
                  </a:lnTo>
                  <a:lnTo>
                    <a:pt x="209" y="1045"/>
                  </a:lnTo>
                  <a:lnTo>
                    <a:pt x="164" y="1045"/>
                  </a:lnTo>
                  <a:lnTo>
                    <a:pt x="164" y="1061"/>
                  </a:lnTo>
                  <a:lnTo>
                    <a:pt x="134" y="1061"/>
                  </a:lnTo>
                  <a:lnTo>
                    <a:pt x="134" y="1030"/>
                  </a:lnTo>
                  <a:lnTo>
                    <a:pt x="104" y="999"/>
                  </a:lnTo>
                  <a:lnTo>
                    <a:pt x="89" y="1014"/>
                  </a:lnTo>
                  <a:lnTo>
                    <a:pt x="45" y="1014"/>
                  </a:lnTo>
                  <a:lnTo>
                    <a:pt x="30" y="999"/>
                  </a:lnTo>
                  <a:lnTo>
                    <a:pt x="45" y="999"/>
                  </a:lnTo>
                  <a:lnTo>
                    <a:pt x="60" y="938"/>
                  </a:lnTo>
                  <a:lnTo>
                    <a:pt x="45" y="907"/>
                  </a:lnTo>
                  <a:lnTo>
                    <a:pt x="45" y="876"/>
                  </a:lnTo>
                  <a:lnTo>
                    <a:pt x="0" y="799"/>
                  </a:lnTo>
                  <a:lnTo>
                    <a:pt x="15" y="769"/>
                  </a:lnTo>
                  <a:lnTo>
                    <a:pt x="30" y="784"/>
                  </a:lnTo>
                  <a:lnTo>
                    <a:pt x="45" y="769"/>
                  </a:lnTo>
                  <a:lnTo>
                    <a:pt x="30" y="738"/>
                  </a:lnTo>
                  <a:lnTo>
                    <a:pt x="60" y="722"/>
                  </a:lnTo>
                  <a:lnTo>
                    <a:pt x="89" y="738"/>
                  </a:lnTo>
                  <a:lnTo>
                    <a:pt x="119" y="707"/>
                  </a:lnTo>
                  <a:lnTo>
                    <a:pt x="104" y="692"/>
                  </a:lnTo>
                  <a:lnTo>
                    <a:pt x="134" y="630"/>
                  </a:lnTo>
                  <a:lnTo>
                    <a:pt x="119" y="599"/>
                  </a:lnTo>
                  <a:lnTo>
                    <a:pt x="104" y="553"/>
                  </a:lnTo>
                  <a:lnTo>
                    <a:pt x="119" y="538"/>
                  </a:lnTo>
                  <a:lnTo>
                    <a:pt x="104" y="492"/>
                  </a:lnTo>
                  <a:lnTo>
                    <a:pt x="89" y="476"/>
                  </a:lnTo>
                  <a:lnTo>
                    <a:pt x="89" y="446"/>
                  </a:lnTo>
                  <a:lnTo>
                    <a:pt x="89" y="430"/>
                  </a:lnTo>
                  <a:lnTo>
                    <a:pt x="164" y="446"/>
                  </a:lnTo>
                  <a:lnTo>
                    <a:pt x="253" y="461"/>
                  </a:lnTo>
                  <a:lnTo>
                    <a:pt x="253" y="492"/>
                  </a:lnTo>
                  <a:lnTo>
                    <a:pt x="239" y="523"/>
                  </a:lnTo>
                  <a:lnTo>
                    <a:pt x="194" y="523"/>
                  </a:lnTo>
                  <a:lnTo>
                    <a:pt x="134" y="492"/>
                  </a:lnTo>
                  <a:lnTo>
                    <a:pt x="149" y="523"/>
                  </a:lnTo>
                  <a:lnTo>
                    <a:pt x="164" y="538"/>
                  </a:lnTo>
                  <a:lnTo>
                    <a:pt x="179" y="584"/>
                  </a:lnTo>
                  <a:lnTo>
                    <a:pt x="209" y="584"/>
                  </a:lnTo>
                  <a:lnTo>
                    <a:pt x="209" y="553"/>
                  </a:lnTo>
                  <a:lnTo>
                    <a:pt x="239" y="569"/>
                  </a:lnTo>
                  <a:lnTo>
                    <a:pt x="239" y="538"/>
                  </a:lnTo>
                  <a:lnTo>
                    <a:pt x="268" y="507"/>
                  </a:lnTo>
                  <a:lnTo>
                    <a:pt x="298" y="507"/>
                  </a:lnTo>
                  <a:lnTo>
                    <a:pt x="283" y="476"/>
                  </a:lnTo>
                  <a:lnTo>
                    <a:pt x="283" y="446"/>
                  </a:lnTo>
                  <a:lnTo>
                    <a:pt x="313" y="446"/>
                  </a:lnTo>
                  <a:lnTo>
                    <a:pt x="313" y="461"/>
                  </a:lnTo>
                  <a:lnTo>
                    <a:pt x="328" y="476"/>
                  </a:lnTo>
                  <a:lnTo>
                    <a:pt x="358" y="476"/>
                  </a:lnTo>
                  <a:lnTo>
                    <a:pt x="343" y="446"/>
                  </a:lnTo>
                  <a:lnTo>
                    <a:pt x="418" y="415"/>
                  </a:lnTo>
                  <a:lnTo>
                    <a:pt x="403" y="461"/>
                  </a:lnTo>
                  <a:lnTo>
                    <a:pt x="403" y="476"/>
                  </a:lnTo>
                  <a:lnTo>
                    <a:pt x="432" y="430"/>
                  </a:lnTo>
                  <a:lnTo>
                    <a:pt x="492" y="415"/>
                  </a:lnTo>
                  <a:lnTo>
                    <a:pt x="507" y="415"/>
                  </a:lnTo>
                  <a:lnTo>
                    <a:pt x="492" y="384"/>
                  </a:lnTo>
                  <a:lnTo>
                    <a:pt x="596" y="384"/>
                  </a:lnTo>
                  <a:lnTo>
                    <a:pt x="596" y="400"/>
                  </a:lnTo>
                  <a:lnTo>
                    <a:pt x="567" y="323"/>
                  </a:lnTo>
                  <a:lnTo>
                    <a:pt x="582" y="307"/>
                  </a:lnTo>
                  <a:lnTo>
                    <a:pt x="582" y="261"/>
                  </a:lnTo>
                  <a:lnTo>
                    <a:pt x="611" y="261"/>
                  </a:lnTo>
                  <a:lnTo>
                    <a:pt x="626" y="307"/>
                  </a:lnTo>
                  <a:lnTo>
                    <a:pt x="671" y="384"/>
                  </a:lnTo>
                  <a:lnTo>
                    <a:pt x="686" y="415"/>
                  </a:lnTo>
                  <a:lnTo>
                    <a:pt x="671" y="446"/>
                  </a:lnTo>
                  <a:lnTo>
                    <a:pt x="641" y="461"/>
                  </a:lnTo>
                  <a:lnTo>
                    <a:pt x="686" y="476"/>
                  </a:lnTo>
                  <a:lnTo>
                    <a:pt x="701" y="415"/>
                  </a:lnTo>
                  <a:lnTo>
                    <a:pt x="701" y="384"/>
                  </a:lnTo>
                  <a:lnTo>
                    <a:pt x="716" y="384"/>
                  </a:lnTo>
                  <a:lnTo>
                    <a:pt x="760" y="415"/>
                  </a:lnTo>
                  <a:lnTo>
                    <a:pt x="716" y="369"/>
                  </a:lnTo>
                  <a:lnTo>
                    <a:pt x="686" y="369"/>
                  </a:lnTo>
                  <a:lnTo>
                    <a:pt x="671" y="323"/>
                  </a:lnTo>
                  <a:lnTo>
                    <a:pt x="641" y="307"/>
                  </a:lnTo>
                  <a:lnTo>
                    <a:pt x="656" y="261"/>
                  </a:lnTo>
                  <a:lnTo>
                    <a:pt x="686" y="292"/>
                  </a:lnTo>
                  <a:lnTo>
                    <a:pt x="686" y="261"/>
                  </a:lnTo>
                  <a:lnTo>
                    <a:pt x="746" y="277"/>
                  </a:lnTo>
                  <a:lnTo>
                    <a:pt x="746" y="246"/>
                  </a:lnTo>
                  <a:lnTo>
                    <a:pt x="716" y="246"/>
                  </a:lnTo>
                  <a:lnTo>
                    <a:pt x="701" y="215"/>
                  </a:lnTo>
                  <a:lnTo>
                    <a:pt x="746" y="184"/>
                  </a:lnTo>
                  <a:lnTo>
                    <a:pt x="731" y="169"/>
                  </a:lnTo>
                  <a:lnTo>
                    <a:pt x="805" y="92"/>
                  </a:lnTo>
                  <a:lnTo>
                    <a:pt x="924" y="61"/>
                  </a:lnTo>
                  <a:lnTo>
                    <a:pt x="924" y="31"/>
                  </a:lnTo>
                  <a:lnTo>
                    <a:pt x="939" y="0"/>
                  </a:lnTo>
                  <a:lnTo>
                    <a:pt x="984" y="0"/>
                  </a:lnTo>
                  <a:lnTo>
                    <a:pt x="999" y="31"/>
                  </a:lnTo>
                  <a:lnTo>
                    <a:pt x="1029" y="0"/>
                  </a:lnTo>
                  <a:lnTo>
                    <a:pt x="1059" y="0"/>
                  </a:lnTo>
                  <a:lnTo>
                    <a:pt x="1074" y="0"/>
                  </a:lnTo>
                  <a:lnTo>
                    <a:pt x="1103" y="31"/>
                  </a:lnTo>
                  <a:lnTo>
                    <a:pt x="1088" y="61"/>
                  </a:lnTo>
                  <a:lnTo>
                    <a:pt x="1074" y="92"/>
                  </a:lnTo>
                  <a:lnTo>
                    <a:pt x="1103" y="108"/>
                  </a:lnTo>
                  <a:lnTo>
                    <a:pt x="1088" y="138"/>
                  </a:lnTo>
                  <a:lnTo>
                    <a:pt x="1163" y="61"/>
                  </a:lnTo>
                  <a:lnTo>
                    <a:pt x="1193" y="92"/>
                  </a:lnTo>
                  <a:lnTo>
                    <a:pt x="1208" y="46"/>
                  </a:lnTo>
                  <a:lnTo>
                    <a:pt x="1342" y="61"/>
                  </a:lnTo>
                  <a:lnTo>
                    <a:pt x="1461" y="108"/>
                  </a:lnTo>
                  <a:lnTo>
                    <a:pt x="1476" y="77"/>
                  </a:lnTo>
                  <a:lnTo>
                    <a:pt x="1536" y="46"/>
                  </a:lnTo>
                  <a:lnTo>
                    <a:pt x="1610" y="46"/>
                  </a:lnTo>
                  <a:lnTo>
                    <a:pt x="1655" y="61"/>
                  </a:lnTo>
                  <a:lnTo>
                    <a:pt x="1745" y="31"/>
                  </a:lnTo>
                  <a:lnTo>
                    <a:pt x="1849" y="46"/>
                  </a:lnTo>
                  <a:lnTo>
                    <a:pt x="1953" y="108"/>
                  </a:lnTo>
                  <a:lnTo>
                    <a:pt x="2028" y="61"/>
                  </a:lnTo>
                  <a:lnTo>
                    <a:pt x="2043" y="92"/>
                  </a:lnTo>
                  <a:lnTo>
                    <a:pt x="2073" y="77"/>
                  </a:lnTo>
                  <a:lnTo>
                    <a:pt x="2073" y="46"/>
                  </a:lnTo>
                  <a:lnTo>
                    <a:pt x="2147" y="31"/>
                  </a:lnTo>
                  <a:lnTo>
                    <a:pt x="2207" y="61"/>
                  </a:lnTo>
                  <a:lnTo>
                    <a:pt x="2311" y="46"/>
                  </a:lnTo>
                  <a:lnTo>
                    <a:pt x="2341" y="108"/>
                  </a:lnTo>
                  <a:lnTo>
                    <a:pt x="2311" y="108"/>
                  </a:lnTo>
                  <a:lnTo>
                    <a:pt x="2252" y="92"/>
                  </a:lnTo>
                  <a:lnTo>
                    <a:pt x="2252" y="123"/>
                  </a:lnTo>
                  <a:lnTo>
                    <a:pt x="2266" y="138"/>
                  </a:lnTo>
                  <a:lnTo>
                    <a:pt x="2311" y="138"/>
                  </a:lnTo>
                  <a:lnTo>
                    <a:pt x="2326" y="138"/>
                  </a:lnTo>
                  <a:lnTo>
                    <a:pt x="2326" y="184"/>
                  </a:lnTo>
                  <a:lnTo>
                    <a:pt x="2281" y="231"/>
                  </a:lnTo>
                  <a:lnTo>
                    <a:pt x="2252" y="277"/>
                  </a:lnTo>
                  <a:lnTo>
                    <a:pt x="2207" y="261"/>
                  </a:lnTo>
                  <a:lnTo>
                    <a:pt x="2162" y="261"/>
                  </a:lnTo>
                  <a:lnTo>
                    <a:pt x="2147" y="307"/>
                  </a:lnTo>
                  <a:lnTo>
                    <a:pt x="2132" y="277"/>
                  </a:lnTo>
                  <a:lnTo>
                    <a:pt x="2102" y="307"/>
                  </a:lnTo>
                  <a:lnTo>
                    <a:pt x="2117" y="369"/>
                  </a:lnTo>
                  <a:lnTo>
                    <a:pt x="2147" y="369"/>
                  </a:lnTo>
                  <a:lnTo>
                    <a:pt x="2147" y="400"/>
                  </a:lnTo>
                  <a:lnTo>
                    <a:pt x="2162" y="415"/>
                  </a:lnTo>
                  <a:lnTo>
                    <a:pt x="2162" y="461"/>
                  </a:lnTo>
                  <a:lnTo>
                    <a:pt x="2177" y="476"/>
                  </a:lnTo>
                  <a:lnTo>
                    <a:pt x="2162" y="492"/>
                  </a:lnTo>
                  <a:lnTo>
                    <a:pt x="2177" y="538"/>
                  </a:lnTo>
                  <a:lnTo>
                    <a:pt x="2162" y="538"/>
                  </a:lnTo>
                  <a:lnTo>
                    <a:pt x="2147" y="615"/>
                  </a:lnTo>
                  <a:lnTo>
                    <a:pt x="2058" y="461"/>
                  </a:lnTo>
                  <a:lnTo>
                    <a:pt x="2043" y="400"/>
                  </a:lnTo>
                  <a:lnTo>
                    <a:pt x="2058" y="400"/>
                  </a:lnTo>
                  <a:lnTo>
                    <a:pt x="2088" y="292"/>
                  </a:lnTo>
                  <a:lnTo>
                    <a:pt x="2058" y="215"/>
                  </a:lnTo>
                  <a:lnTo>
                    <a:pt x="2028" y="231"/>
                  </a:lnTo>
                  <a:lnTo>
                    <a:pt x="2043" y="246"/>
                  </a:lnTo>
                  <a:lnTo>
                    <a:pt x="2043" y="292"/>
                  </a:lnTo>
                  <a:lnTo>
                    <a:pt x="2013" y="292"/>
                  </a:lnTo>
                  <a:lnTo>
                    <a:pt x="2013" y="246"/>
                  </a:lnTo>
                  <a:lnTo>
                    <a:pt x="1968" y="307"/>
                  </a:lnTo>
                  <a:lnTo>
                    <a:pt x="1968" y="384"/>
                  </a:lnTo>
                  <a:lnTo>
                    <a:pt x="1938" y="400"/>
                  </a:lnTo>
                  <a:lnTo>
                    <a:pt x="1894" y="384"/>
                  </a:lnTo>
                  <a:lnTo>
                    <a:pt x="1894" y="400"/>
                  </a:lnTo>
                  <a:lnTo>
                    <a:pt x="1804" y="430"/>
                  </a:lnTo>
                  <a:lnTo>
                    <a:pt x="1774" y="553"/>
                  </a:lnTo>
                  <a:lnTo>
                    <a:pt x="1759" y="584"/>
                  </a:lnTo>
                  <a:lnTo>
                    <a:pt x="1804" y="599"/>
                  </a:lnTo>
                  <a:lnTo>
                    <a:pt x="1819" y="630"/>
                  </a:lnTo>
                  <a:lnTo>
                    <a:pt x="1849" y="584"/>
                  </a:lnTo>
                  <a:lnTo>
                    <a:pt x="1879" y="599"/>
                  </a:lnTo>
                  <a:lnTo>
                    <a:pt x="1894" y="615"/>
                  </a:lnTo>
                  <a:lnTo>
                    <a:pt x="1909" y="692"/>
                  </a:lnTo>
                  <a:lnTo>
                    <a:pt x="1923" y="753"/>
                  </a:lnTo>
                  <a:lnTo>
                    <a:pt x="1894" y="907"/>
                  </a:lnTo>
                  <a:lnTo>
                    <a:pt x="1849" y="938"/>
                  </a:lnTo>
                  <a:lnTo>
                    <a:pt x="1819" y="876"/>
                  </a:lnTo>
                  <a:lnTo>
                    <a:pt x="1849" y="861"/>
                  </a:lnTo>
                  <a:lnTo>
                    <a:pt x="1849" y="784"/>
                  </a:lnTo>
                  <a:lnTo>
                    <a:pt x="1819" y="784"/>
                  </a:lnTo>
                  <a:lnTo>
                    <a:pt x="1804" y="799"/>
                  </a:lnTo>
                  <a:lnTo>
                    <a:pt x="1789" y="799"/>
                  </a:lnTo>
                  <a:lnTo>
                    <a:pt x="1730" y="753"/>
                  </a:lnTo>
                  <a:lnTo>
                    <a:pt x="1730" y="769"/>
                  </a:lnTo>
                  <a:lnTo>
                    <a:pt x="1700" y="738"/>
                  </a:lnTo>
                  <a:lnTo>
                    <a:pt x="1655" y="692"/>
                  </a:lnTo>
                  <a:lnTo>
                    <a:pt x="1610" y="661"/>
                  </a:lnTo>
                  <a:lnTo>
                    <a:pt x="1581" y="661"/>
                  </a:lnTo>
                  <a:lnTo>
                    <a:pt x="1566" y="707"/>
                  </a:lnTo>
                  <a:lnTo>
                    <a:pt x="1581" y="707"/>
                  </a:lnTo>
                  <a:lnTo>
                    <a:pt x="1581" y="738"/>
                  </a:lnTo>
                  <a:lnTo>
                    <a:pt x="1566" y="784"/>
                  </a:lnTo>
                  <a:lnTo>
                    <a:pt x="1551" y="799"/>
                  </a:lnTo>
                  <a:lnTo>
                    <a:pt x="1536" y="799"/>
                  </a:lnTo>
                  <a:lnTo>
                    <a:pt x="1491" y="799"/>
                  </a:lnTo>
                  <a:lnTo>
                    <a:pt x="1476" y="815"/>
                  </a:lnTo>
                  <a:lnTo>
                    <a:pt x="1446" y="815"/>
                  </a:lnTo>
                  <a:lnTo>
                    <a:pt x="1431" y="830"/>
                  </a:lnTo>
                  <a:lnTo>
                    <a:pt x="1357" y="799"/>
                  </a:lnTo>
                  <a:lnTo>
                    <a:pt x="1312" y="815"/>
                  </a:lnTo>
                  <a:lnTo>
                    <a:pt x="1297" y="799"/>
                  </a:lnTo>
                  <a:lnTo>
                    <a:pt x="1238" y="769"/>
                  </a:lnTo>
                  <a:lnTo>
                    <a:pt x="1223" y="815"/>
                  </a:lnTo>
                  <a:lnTo>
                    <a:pt x="1223" y="845"/>
                  </a:lnTo>
                  <a:lnTo>
                    <a:pt x="1178" y="845"/>
                  </a:lnTo>
                  <a:lnTo>
                    <a:pt x="1133" y="845"/>
                  </a:lnTo>
                  <a:lnTo>
                    <a:pt x="1088" y="89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2" name="Freeform 627"/>
            <p:cNvSpPr>
              <a:spLocks/>
            </p:cNvSpPr>
            <p:nvPr/>
          </p:nvSpPr>
          <p:spPr bwMode="auto">
            <a:xfrm>
              <a:off x="7553" y="1330"/>
              <a:ext cx="38" cy="19"/>
            </a:xfrm>
            <a:custGeom>
              <a:avLst/>
              <a:gdLst>
                <a:gd name="T0" fmla="*/ 1 w 90"/>
                <a:gd name="T1" fmla="*/ 1 h 47"/>
                <a:gd name="T2" fmla="*/ 0 w 90"/>
                <a:gd name="T3" fmla="*/ 1 h 47"/>
                <a:gd name="T4" fmla="*/ 0 w 90"/>
                <a:gd name="T5" fmla="*/ 0 h 47"/>
                <a:gd name="T6" fmla="*/ 3 w 90"/>
                <a:gd name="T7" fmla="*/ 0 h 47"/>
                <a:gd name="T8" fmla="*/ 3 w 90"/>
                <a:gd name="T9" fmla="*/ 0 h 47"/>
                <a:gd name="T10" fmla="*/ 1 w 90"/>
                <a:gd name="T11" fmla="*/ 0 h 47"/>
                <a:gd name="T12" fmla="*/ 1 w 90"/>
                <a:gd name="T13" fmla="*/ 1 h 4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0" h="47">
                  <a:moveTo>
                    <a:pt x="30" y="46"/>
                  </a:moveTo>
                  <a:lnTo>
                    <a:pt x="0" y="46"/>
                  </a:lnTo>
                  <a:lnTo>
                    <a:pt x="0" y="0"/>
                  </a:lnTo>
                  <a:lnTo>
                    <a:pt x="89" y="0"/>
                  </a:lnTo>
                  <a:lnTo>
                    <a:pt x="89" y="15"/>
                  </a:lnTo>
                  <a:lnTo>
                    <a:pt x="45" y="15"/>
                  </a:lnTo>
                  <a:lnTo>
                    <a:pt x="30"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3" name="Freeform 628"/>
            <p:cNvSpPr>
              <a:spLocks/>
            </p:cNvSpPr>
            <p:nvPr/>
          </p:nvSpPr>
          <p:spPr bwMode="auto">
            <a:xfrm>
              <a:off x="7456" y="1353"/>
              <a:ext cx="14" cy="24"/>
            </a:xfrm>
            <a:custGeom>
              <a:avLst/>
              <a:gdLst>
                <a:gd name="T0" fmla="*/ 1 w 31"/>
                <a:gd name="T1" fmla="*/ 1 h 62"/>
                <a:gd name="T2" fmla="*/ 1 w 31"/>
                <a:gd name="T3" fmla="*/ 0 h 62"/>
                <a:gd name="T4" fmla="*/ 0 w 31"/>
                <a:gd name="T5" fmla="*/ 0 h 62"/>
                <a:gd name="T6" fmla="*/ 0 w 31"/>
                <a:gd name="T7" fmla="*/ 0 h 62"/>
                <a:gd name="T8" fmla="*/ 0 w 31"/>
                <a:gd name="T9" fmla="*/ 1 h 62"/>
                <a:gd name="T10" fmla="*/ 0 w 31"/>
                <a:gd name="T11" fmla="*/ 1 h 62"/>
                <a:gd name="T12" fmla="*/ 1 w 31"/>
                <a:gd name="T13" fmla="*/ 1 h 62"/>
                <a:gd name="T14" fmla="*/ 1 w 31"/>
                <a:gd name="T15" fmla="*/ 1 h 62"/>
                <a:gd name="T16" fmla="*/ 1 w 31"/>
                <a:gd name="T17" fmla="*/ 1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1" h="62">
                  <a:moveTo>
                    <a:pt x="30" y="31"/>
                  </a:moveTo>
                  <a:lnTo>
                    <a:pt x="30" y="15"/>
                  </a:lnTo>
                  <a:lnTo>
                    <a:pt x="15" y="0"/>
                  </a:lnTo>
                  <a:lnTo>
                    <a:pt x="0" y="15"/>
                  </a:lnTo>
                  <a:lnTo>
                    <a:pt x="0" y="31"/>
                  </a:lnTo>
                  <a:lnTo>
                    <a:pt x="15" y="61"/>
                  </a:lnTo>
                  <a:lnTo>
                    <a:pt x="30" y="61"/>
                  </a:lnTo>
                  <a:lnTo>
                    <a:pt x="30" y="46"/>
                  </a:lnTo>
                  <a:lnTo>
                    <a:pt x="3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4" name="Freeform 629"/>
            <p:cNvSpPr>
              <a:spLocks/>
            </p:cNvSpPr>
            <p:nvPr/>
          </p:nvSpPr>
          <p:spPr bwMode="auto">
            <a:xfrm>
              <a:off x="7348" y="1023"/>
              <a:ext cx="58" cy="58"/>
            </a:xfrm>
            <a:custGeom>
              <a:avLst/>
              <a:gdLst>
                <a:gd name="T0" fmla="*/ 0 w 134"/>
                <a:gd name="T1" fmla="*/ 3 h 156"/>
                <a:gd name="T2" fmla="*/ 0 w 134"/>
                <a:gd name="T3" fmla="*/ 3 h 156"/>
                <a:gd name="T4" fmla="*/ 2 w 134"/>
                <a:gd name="T5" fmla="*/ 2 h 156"/>
                <a:gd name="T6" fmla="*/ 3 w 134"/>
                <a:gd name="T7" fmla="*/ 1 h 156"/>
                <a:gd name="T8" fmla="*/ 5 w 134"/>
                <a:gd name="T9" fmla="*/ 0 h 156"/>
                <a:gd name="T10" fmla="*/ 4 w 134"/>
                <a:gd name="T11" fmla="*/ 0 h 156"/>
                <a:gd name="T12" fmla="*/ 3 w 134"/>
                <a:gd name="T13" fmla="*/ 0 h 156"/>
                <a:gd name="T14" fmla="*/ 3 w 134"/>
                <a:gd name="T15" fmla="*/ 0 h 156"/>
                <a:gd name="T16" fmla="*/ 3 w 134"/>
                <a:gd name="T17" fmla="*/ 0 h 156"/>
                <a:gd name="T18" fmla="*/ 1 w 134"/>
                <a:gd name="T19" fmla="*/ 1 h 156"/>
                <a:gd name="T20" fmla="*/ 0 w 134"/>
                <a:gd name="T21" fmla="*/ 2 h 156"/>
                <a:gd name="T22" fmla="*/ 0 w 134"/>
                <a:gd name="T23" fmla="*/ 3 h 156"/>
                <a:gd name="T24" fmla="*/ 0 w 134"/>
                <a:gd name="T25" fmla="*/ 3 h 1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4" h="156">
                  <a:moveTo>
                    <a:pt x="15" y="155"/>
                  </a:moveTo>
                  <a:lnTo>
                    <a:pt x="15" y="140"/>
                  </a:lnTo>
                  <a:lnTo>
                    <a:pt x="59" y="93"/>
                  </a:lnTo>
                  <a:lnTo>
                    <a:pt x="103" y="47"/>
                  </a:lnTo>
                  <a:lnTo>
                    <a:pt x="133" y="31"/>
                  </a:lnTo>
                  <a:lnTo>
                    <a:pt x="118" y="0"/>
                  </a:lnTo>
                  <a:lnTo>
                    <a:pt x="103" y="0"/>
                  </a:lnTo>
                  <a:lnTo>
                    <a:pt x="89" y="16"/>
                  </a:lnTo>
                  <a:lnTo>
                    <a:pt x="74" y="31"/>
                  </a:lnTo>
                  <a:lnTo>
                    <a:pt x="30" y="62"/>
                  </a:lnTo>
                  <a:lnTo>
                    <a:pt x="0" y="109"/>
                  </a:lnTo>
                  <a:lnTo>
                    <a:pt x="0" y="140"/>
                  </a:lnTo>
                  <a:lnTo>
                    <a:pt x="15" y="15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5" name="Freeform 630"/>
            <p:cNvSpPr>
              <a:spLocks/>
            </p:cNvSpPr>
            <p:nvPr/>
          </p:nvSpPr>
          <p:spPr bwMode="auto">
            <a:xfrm>
              <a:off x="7988" y="1190"/>
              <a:ext cx="59" cy="88"/>
            </a:xfrm>
            <a:custGeom>
              <a:avLst/>
              <a:gdLst>
                <a:gd name="T0" fmla="*/ 0 w 136"/>
                <a:gd name="T1" fmla="*/ 0 h 231"/>
                <a:gd name="T2" fmla="*/ 1 w 136"/>
                <a:gd name="T3" fmla="*/ 1 h 231"/>
                <a:gd name="T4" fmla="*/ 2 w 136"/>
                <a:gd name="T5" fmla="*/ 2 h 231"/>
                <a:gd name="T6" fmla="*/ 2 w 136"/>
                <a:gd name="T7" fmla="*/ 3 h 231"/>
                <a:gd name="T8" fmla="*/ 3 w 136"/>
                <a:gd name="T9" fmla="*/ 3 h 231"/>
                <a:gd name="T10" fmla="*/ 3 w 136"/>
                <a:gd name="T11" fmla="*/ 4 h 231"/>
                <a:gd name="T12" fmla="*/ 4 w 136"/>
                <a:gd name="T13" fmla="*/ 5 h 231"/>
                <a:gd name="T14" fmla="*/ 4 w 136"/>
                <a:gd name="T15" fmla="*/ 5 h 231"/>
                <a:gd name="T16" fmla="*/ 5 w 136"/>
                <a:gd name="T17" fmla="*/ 5 h 231"/>
                <a:gd name="T18" fmla="*/ 5 w 136"/>
                <a:gd name="T19" fmla="*/ 5 h 231"/>
                <a:gd name="T20" fmla="*/ 4 w 136"/>
                <a:gd name="T21" fmla="*/ 4 h 231"/>
                <a:gd name="T22" fmla="*/ 3 w 136"/>
                <a:gd name="T23" fmla="*/ 3 h 231"/>
                <a:gd name="T24" fmla="*/ 4 w 136"/>
                <a:gd name="T25" fmla="*/ 3 h 231"/>
                <a:gd name="T26" fmla="*/ 3 w 136"/>
                <a:gd name="T27" fmla="*/ 2 h 231"/>
                <a:gd name="T28" fmla="*/ 2 w 136"/>
                <a:gd name="T29" fmla="*/ 1 h 231"/>
                <a:gd name="T30" fmla="*/ 0 w 136"/>
                <a:gd name="T31" fmla="*/ 0 h 2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6" h="231">
                  <a:moveTo>
                    <a:pt x="0" y="0"/>
                  </a:moveTo>
                  <a:lnTo>
                    <a:pt x="30" y="61"/>
                  </a:lnTo>
                  <a:lnTo>
                    <a:pt x="45" y="77"/>
                  </a:lnTo>
                  <a:lnTo>
                    <a:pt x="60" y="153"/>
                  </a:lnTo>
                  <a:lnTo>
                    <a:pt x="75" y="169"/>
                  </a:lnTo>
                  <a:lnTo>
                    <a:pt x="90" y="199"/>
                  </a:lnTo>
                  <a:lnTo>
                    <a:pt x="105" y="230"/>
                  </a:lnTo>
                  <a:lnTo>
                    <a:pt x="105" y="215"/>
                  </a:lnTo>
                  <a:lnTo>
                    <a:pt x="135" y="230"/>
                  </a:lnTo>
                  <a:lnTo>
                    <a:pt x="135" y="215"/>
                  </a:lnTo>
                  <a:lnTo>
                    <a:pt x="105" y="184"/>
                  </a:lnTo>
                  <a:lnTo>
                    <a:pt x="90" y="138"/>
                  </a:lnTo>
                  <a:lnTo>
                    <a:pt x="105" y="153"/>
                  </a:lnTo>
                  <a:lnTo>
                    <a:pt x="90" y="107"/>
                  </a:lnTo>
                  <a:lnTo>
                    <a:pt x="45" y="6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6" name="Freeform 631"/>
            <p:cNvSpPr>
              <a:spLocks/>
            </p:cNvSpPr>
            <p:nvPr/>
          </p:nvSpPr>
          <p:spPr bwMode="auto">
            <a:xfrm>
              <a:off x="7521" y="935"/>
              <a:ext cx="39" cy="35"/>
            </a:xfrm>
            <a:custGeom>
              <a:avLst/>
              <a:gdLst>
                <a:gd name="T0" fmla="*/ 3 w 90"/>
                <a:gd name="T1" fmla="*/ 1 h 93"/>
                <a:gd name="T2" fmla="*/ 0 w 90"/>
                <a:gd name="T3" fmla="*/ 0 h 93"/>
                <a:gd name="T4" fmla="*/ 0 w 90"/>
                <a:gd name="T5" fmla="*/ 1 h 93"/>
                <a:gd name="T6" fmla="*/ 1 w 90"/>
                <a:gd name="T7" fmla="*/ 2 h 93"/>
                <a:gd name="T8" fmla="*/ 3 w 90"/>
                <a:gd name="T9" fmla="*/ 2 h 93"/>
                <a:gd name="T10" fmla="*/ 3 w 90"/>
                <a:gd name="T11" fmla="*/ 1 h 93"/>
                <a:gd name="T12" fmla="*/ 3 w 90"/>
                <a:gd name="T13" fmla="*/ 1 h 9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0" h="93">
                  <a:moveTo>
                    <a:pt x="74" y="31"/>
                  </a:moveTo>
                  <a:lnTo>
                    <a:pt x="15" y="0"/>
                  </a:lnTo>
                  <a:lnTo>
                    <a:pt x="0" y="31"/>
                  </a:lnTo>
                  <a:lnTo>
                    <a:pt x="30" y="92"/>
                  </a:lnTo>
                  <a:lnTo>
                    <a:pt x="74" y="77"/>
                  </a:lnTo>
                  <a:lnTo>
                    <a:pt x="89" y="31"/>
                  </a:lnTo>
                  <a:lnTo>
                    <a:pt x="74"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7" name="Freeform 632"/>
            <p:cNvSpPr>
              <a:spLocks/>
            </p:cNvSpPr>
            <p:nvPr/>
          </p:nvSpPr>
          <p:spPr bwMode="auto">
            <a:xfrm>
              <a:off x="7335" y="1086"/>
              <a:ext cx="39" cy="30"/>
            </a:xfrm>
            <a:custGeom>
              <a:avLst/>
              <a:gdLst>
                <a:gd name="T0" fmla="*/ 1 w 91"/>
                <a:gd name="T1" fmla="*/ 0 h 78"/>
                <a:gd name="T2" fmla="*/ 0 w 91"/>
                <a:gd name="T3" fmla="*/ 0 h 78"/>
                <a:gd name="T4" fmla="*/ 0 w 91"/>
                <a:gd name="T5" fmla="*/ 1 h 78"/>
                <a:gd name="T6" fmla="*/ 0 w 91"/>
                <a:gd name="T7" fmla="*/ 1 h 78"/>
                <a:gd name="T8" fmla="*/ 1 w 91"/>
                <a:gd name="T9" fmla="*/ 1 h 78"/>
                <a:gd name="T10" fmla="*/ 1 w 91"/>
                <a:gd name="T11" fmla="*/ 2 h 78"/>
                <a:gd name="T12" fmla="*/ 3 w 91"/>
                <a:gd name="T13" fmla="*/ 1 h 78"/>
                <a:gd name="T14" fmla="*/ 1 w 91"/>
                <a:gd name="T15" fmla="*/ 1 h 78"/>
                <a:gd name="T16" fmla="*/ 1 w 91"/>
                <a:gd name="T17" fmla="*/ 0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1" h="78">
                  <a:moveTo>
                    <a:pt x="45" y="0"/>
                  </a:moveTo>
                  <a:lnTo>
                    <a:pt x="15" y="0"/>
                  </a:lnTo>
                  <a:lnTo>
                    <a:pt x="0" y="31"/>
                  </a:lnTo>
                  <a:lnTo>
                    <a:pt x="15" y="62"/>
                  </a:lnTo>
                  <a:lnTo>
                    <a:pt x="30" y="62"/>
                  </a:lnTo>
                  <a:lnTo>
                    <a:pt x="45" y="77"/>
                  </a:lnTo>
                  <a:lnTo>
                    <a:pt x="90" y="62"/>
                  </a:lnTo>
                  <a:lnTo>
                    <a:pt x="45" y="31"/>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8" name="Freeform 633"/>
            <p:cNvSpPr>
              <a:spLocks/>
            </p:cNvSpPr>
            <p:nvPr/>
          </p:nvSpPr>
          <p:spPr bwMode="auto">
            <a:xfrm>
              <a:off x="7565" y="947"/>
              <a:ext cx="21" cy="23"/>
            </a:xfrm>
            <a:custGeom>
              <a:avLst/>
              <a:gdLst>
                <a:gd name="T0" fmla="*/ 0 w 47"/>
                <a:gd name="T1" fmla="*/ 0 h 62"/>
                <a:gd name="T2" fmla="*/ 0 w 47"/>
                <a:gd name="T3" fmla="*/ 1 h 62"/>
                <a:gd name="T4" fmla="*/ 0 w 47"/>
                <a:gd name="T5" fmla="*/ 1 h 62"/>
                <a:gd name="T6" fmla="*/ 2 w 47"/>
                <a:gd name="T7" fmla="*/ 0 h 62"/>
                <a:gd name="T8" fmla="*/ 1 w 47"/>
                <a:gd name="T9" fmla="*/ 0 h 62"/>
                <a:gd name="T10" fmla="*/ 0 w 47"/>
                <a:gd name="T11" fmla="*/ 0 h 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 h="62">
                  <a:moveTo>
                    <a:pt x="0" y="0"/>
                  </a:moveTo>
                  <a:lnTo>
                    <a:pt x="0" y="46"/>
                  </a:lnTo>
                  <a:lnTo>
                    <a:pt x="15" y="61"/>
                  </a:lnTo>
                  <a:lnTo>
                    <a:pt x="46" y="31"/>
                  </a:lnTo>
                  <a:lnTo>
                    <a:pt x="30"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09" name="Freeform 634"/>
            <p:cNvSpPr>
              <a:spLocks/>
            </p:cNvSpPr>
            <p:nvPr/>
          </p:nvSpPr>
          <p:spPr bwMode="auto">
            <a:xfrm>
              <a:off x="7822" y="958"/>
              <a:ext cx="19" cy="12"/>
            </a:xfrm>
            <a:custGeom>
              <a:avLst/>
              <a:gdLst>
                <a:gd name="T0" fmla="*/ 0 w 45"/>
                <a:gd name="T1" fmla="*/ 0 h 32"/>
                <a:gd name="T2" fmla="*/ 1 w 45"/>
                <a:gd name="T3" fmla="*/ 0 h 32"/>
                <a:gd name="T4" fmla="*/ 1 w 45"/>
                <a:gd name="T5" fmla="*/ 1 h 32"/>
                <a:gd name="T6" fmla="*/ 0 w 45"/>
                <a:gd name="T7" fmla="*/ 0 h 32"/>
                <a:gd name="T8" fmla="*/ 0 w 45"/>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2">
                  <a:moveTo>
                    <a:pt x="0" y="0"/>
                  </a:moveTo>
                  <a:lnTo>
                    <a:pt x="44" y="16"/>
                  </a:lnTo>
                  <a:lnTo>
                    <a:pt x="44" y="31"/>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0" name="Freeform 635"/>
            <p:cNvSpPr>
              <a:spLocks/>
            </p:cNvSpPr>
            <p:nvPr/>
          </p:nvSpPr>
          <p:spPr bwMode="auto">
            <a:xfrm>
              <a:off x="8072" y="964"/>
              <a:ext cx="20" cy="12"/>
            </a:xfrm>
            <a:custGeom>
              <a:avLst/>
              <a:gdLst>
                <a:gd name="T0" fmla="*/ 0 w 46"/>
                <a:gd name="T1" fmla="*/ 0 h 31"/>
                <a:gd name="T2" fmla="*/ 0 w 46"/>
                <a:gd name="T3" fmla="*/ 1 h 31"/>
                <a:gd name="T4" fmla="*/ 1 w 46"/>
                <a:gd name="T5" fmla="*/ 0 h 31"/>
                <a:gd name="T6" fmla="*/ 2 w 46"/>
                <a:gd name="T7" fmla="*/ 0 h 31"/>
                <a:gd name="T8" fmla="*/ 0 w 46"/>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31">
                  <a:moveTo>
                    <a:pt x="0" y="0"/>
                  </a:moveTo>
                  <a:lnTo>
                    <a:pt x="0" y="30"/>
                  </a:lnTo>
                  <a:lnTo>
                    <a:pt x="30" y="15"/>
                  </a:lnTo>
                  <a:lnTo>
                    <a:pt x="45"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1" name="Freeform 636"/>
            <p:cNvSpPr>
              <a:spLocks/>
            </p:cNvSpPr>
            <p:nvPr/>
          </p:nvSpPr>
          <p:spPr bwMode="auto">
            <a:xfrm>
              <a:off x="7797" y="958"/>
              <a:ext cx="13" cy="18"/>
            </a:xfrm>
            <a:custGeom>
              <a:avLst/>
              <a:gdLst>
                <a:gd name="T0" fmla="*/ 0 w 30"/>
                <a:gd name="T1" fmla="*/ 0 h 47"/>
                <a:gd name="T2" fmla="*/ 0 w 30"/>
                <a:gd name="T3" fmla="*/ 1 h 47"/>
                <a:gd name="T4" fmla="*/ 1 w 30"/>
                <a:gd name="T5" fmla="*/ 1 h 47"/>
                <a:gd name="T6" fmla="*/ 1 w 30"/>
                <a:gd name="T7" fmla="*/ 0 h 47"/>
                <a:gd name="T8" fmla="*/ 0 w 30"/>
                <a:gd name="T9" fmla="*/ 0 h 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47">
                  <a:moveTo>
                    <a:pt x="0" y="0"/>
                  </a:moveTo>
                  <a:lnTo>
                    <a:pt x="0" y="31"/>
                  </a:lnTo>
                  <a:lnTo>
                    <a:pt x="29" y="46"/>
                  </a:lnTo>
                  <a:lnTo>
                    <a:pt x="29" y="15"/>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2" name="Freeform 637"/>
            <p:cNvSpPr>
              <a:spLocks/>
            </p:cNvSpPr>
            <p:nvPr/>
          </p:nvSpPr>
          <p:spPr bwMode="auto">
            <a:xfrm>
              <a:off x="7380" y="1110"/>
              <a:ext cx="13" cy="11"/>
            </a:xfrm>
            <a:custGeom>
              <a:avLst/>
              <a:gdLst>
                <a:gd name="T0" fmla="*/ 0 w 30"/>
                <a:gd name="T1" fmla="*/ 0 h 32"/>
                <a:gd name="T2" fmla="*/ 1 w 30"/>
                <a:gd name="T3" fmla="*/ 0 h 32"/>
                <a:gd name="T4" fmla="*/ 0 w 30"/>
                <a:gd name="T5" fmla="*/ 0 h 32"/>
                <a:gd name="T6" fmla="*/ 0 w 30"/>
                <a:gd name="T7" fmla="*/ 0 h 32"/>
                <a:gd name="T8" fmla="*/ 0 w 3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2">
                  <a:moveTo>
                    <a:pt x="0" y="0"/>
                  </a:moveTo>
                  <a:lnTo>
                    <a:pt x="29" y="16"/>
                  </a:lnTo>
                  <a:lnTo>
                    <a:pt x="15" y="31"/>
                  </a:lnTo>
                  <a:lnTo>
                    <a:pt x="0"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3" name="Freeform 638"/>
            <p:cNvSpPr>
              <a:spLocks/>
            </p:cNvSpPr>
            <p:nvPr/>
          </p:nvSpPr>
          <p:spPr bwMode="auto">
            <a:xfrm>
              <a:off x="8130" y="1144"/>
              <a:ext cx="19" cy="7"/>
            </a:xfrm>
            <a:custGeom>
              <a:avLst/>
              <a:gdLst>
                <a:gd name="T0" fmla="*/ 0 w 45"/>
                <a:gd name="T1" fmla="*/ 0 h 17"/>
                <a:gd name="T2" fmla="*/ 0 w 45"/>
                <a:gd name="T3" fmla="*/ 0 h 17"/>
                <a:gd name="T4" fmla="*/ 1 w 45"/>
                <a:gd name="T5" fmla="*/ 0 h 17"/>
                <a:gd name="T6" fmla="*/ 0 w 45"/>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5" h="17">
                  <a:moveTo>
                    <a:pt x="14" y="0"/>
                  </a:moveTo>
                  <a:lnTo>
                    <a:pt x="0" y="0"/>
                  </a:lnTo>
                  <a:lnTo>
                    <a:pt x="44" y="16"/>
                  </a:lnTo>
                  <a:lnTo>
                    <a:pt x="14"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4" name="Line 639"/>
            <p:cNvSpPr>
              <a:spLocks noChangeShapeType="1"/>
            </p:cNvSpPr>
            <p:nvPr/>
          </p:nvSpPr>
          <p:spPr bwMode="auto">
            <a:xfrm>
              <a:off x="8194" y="1162"/>
              <a:ext cx="6"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5" name="Line 640"/>
            <p:cNvSpPr>
              <a:spLocks noChangeShapeType="1"/>
            </p:cNvSpPr>
            <p:nvPr/>
          </p:nvSpPr>
          <p:spPr bwMode="auto">
            <a:xfrm>
              <a:off x="7585" y="1423"/>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6" name="Line 641"/>
            <p:cNvSpPr>
              <a:spLocks noChangeShapeType="1"/>
            </p:cNvSpPr>
            <p:nvPr/>
          </p:nvSpPr>
          <p:spPr bwMode="auto">
            <a:xfrm>
              <a:off x="7578" y="1429"/>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7" name="Line 642"/>
            <p:cNvSpPr>
              <a:spLocks noChangeShapeType="1"/>
            </p:cNvSpPr>
            <p:nvPr/>
          </p:nvSpPr>
          <p:spPr bwMode="auto">
            <a:xfrm>
              <a:off x="7578" y="1429"/>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8" name="Line 643"/>
            <p:cNvSpPr>
              <a:spLocks noChangeShapeType="1"/>
            </p:cNvSpPr>
            <p:nvPr/>
          </p:nvSpPr>
          <p:spPr bwMode="auto">
            <a:xfrm flipH="1">
              <a:off x="7573" y="1435"/>
              <a:ext cx="5"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19" name="Line 644"/>
            <p:cNvSpPr>
              <a:spLocks noChangeShapeType="1"/>
            </p:cNvSpPr>
            <p:nvPr/>
          </p:nvSpPr>
          <p:spPr bwMode="auto">
            <a:xfrm>
              <a:off x="7573" y="1435"/>
              <a:ext cx="5"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0" name="Line 645"/>
            <p:cNvSpPr>
              <a:spLocks noChangeShapeType="1"/>
            </p:cNvSpPr>
            <p:nvPr/>
          </p:nvSpPr>
          <p:spPr bwMode="auto">
            <a:xfrm>
              <a:off x="7578" y="1441"/>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1" name="Line 646"/>
            <p:cNvSpPr>
              <a:spLocks noChangeShapeType="1"/>
            </p:cNvSpPr>
            <p:nvPr/>
          </p:nvSpPr>
          <p:spPr bwMode="auto">
            <a:xfrm>
              <a:off x="7585" y="1441"/>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2" name="Line 647"/>
            <p:cNvSpPr>
              <a:spLocks noChangeShapeType="1"/>
            </p:cNvSpPr>
            <p:nvPr/>
          </p:nvSpPr>
          <p:spPr bwMode="auto">
            <a:xfrm>
              <a:off x="7585" y="1447"/>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3" name="Line 648"/>
            <p:cNvSpPr>
              <a:spLocks noChangeShapeType="1"/>
            </p:cNvSpPr>
            <p:nvPr/>
          </p:nvSpPr>
          <p:spPr bwMode="auto">
            <a:xfrm>
              <a:off x="7585" y="1447"/>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4" name="Line 649"/>
            <p:cNvSpPr>
              <a:spLocks noChangeShapeType="1"/>
            </p:cNvSpPr>
            <p:nvPr/>
          </p:nvSpPr>
          <p:spPr bwMode="auto">
            <a:xfrm>
              <a:off x="7591" y="1447"/>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5" name="Line 650"/>
            <p:cNvSpPr>
              <a:spLocks noChangeShapeType="1"/>
            </p:cNvSpPr>
            <p:nvPr/>
          </p:nvSpPr>
          <p:spPr bwMode="auto">
            <a:xfrm>
              <a:off x="7604" y="1441"/>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6" name="Line 651"/>
            <p:cNvSpPr>
              <a:spLocks noChangeShapeType="1"/>
            </p:cNvSpPr>
            <p:nvPr/>
          </p:nvSpPr>
          <p:spPr bwMode="auto">
            <a:xfrm flipV="1">
              <a:off x="7604" y="1435"/>
              <a:ext cx="7"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7" name="Freeform 652"/>
            <p:cNvSpPr>
              <a:spLocks/>
            </p:cNvSpPr>
            <p:nvPr/>
          </p:nvSpPr>
          <p:spPr bwMode="auto">
            <a:xfrm>
              <a:off x="7649" y="1266"/>
              <a:ext cx="225" cy="99"/>
            </a:xfrm>
            <a:custGeom>
              <a:avLst/>
              <a:gdLst>
                <a:gd name="T0" fmla="*/ 15 w 523"/>
                <a:gd name="T1" fmla="*/ 1 h 262"/>
                <a:gd name="T2" fmla="*/ 14 w 523"/>
                <a:gd name="T3" fmla="*/ 1 h 262"/>
                <a:gd name="T4" fmla="*/ 13 w 523"/>
                <a:gd name="T5" fmla="*/ 1 h 262"/>
                <a:gd name="T6" fmla="*/ 12 w 523"/>
                <a:gd name="T7" fmla="*/ 1 h 262"/>
                <a:gd name="T8" fmla="*/ 12 w 523"/>
                <a:gd name="T9" fmla="*/ 1 h 262"/>
                <a:gd name="T10" fmla="*/ 9 w 523"/>
                <a:gd name="T11" fmla="*/ 1 h 262"/>
                <a:gd name="T12" fmla="*/ 8 w 523"/>
                <a:gd name="T13" fmla="*/ 1 h 262"/>
                <a:gd name="T14" fmla="*/ 7 w 523"/>
                <a:gd name="T15" fmla="*/ 1 h 262"/>
                <a:gd name="T16" fmla="*/ 5 w 523"/>
                <a:gd name="T17" fmla="*/ 0 h 262"/>
                <a:gd name="T18" fmla="*/ 5 w 523"/>
                <a:gd name="T19" fmla="*/ 1 h 262"/>
                <a:gd name="T20" fmla="*/ 5 w 523"/>
                <a:gd name="T21" fmla="*/ 2 h 262"/>
                <a:gd name="T22" fmla="*/ 3 w 523"/>
                <a:gd name="T23" fmla="*/ 2 h 262"/>
                <a:gd name="T24" fmla="*/ 1 w 523"/>
                <a:gd name="T25" fmla="*/ 2 h 262"/>
                <a:gd name="T26" fmla="*/ 0 w 523"/>
                <a:gd name="T27" fmla="*/ 2 h 262"/>
                <a:gd name="T28" fmla="*/ 0 w 523"/>
                <a:gd name="T29" fmla="*/ 3 h 262"/>
                <a:gd name="T30" fmla="*/ 1 w 523"/>
                <a:gd name="T31" fmla="*/ 3 h 262"/>
                <a:gd name="T32" fmla="*/ 2 w 523"/>
                <a:gd name="T33" fmla="*/ 3 h 262"/>
                <a:gd name="T34" fmla="*/ 3 w 523"/>
                <a:gd name="T35" fmla="*/ 4 h 262"/>
                <a:gd name="T36" fmla="*/ 3 w 523"/>
                <a:gd name="T37" fmla="*/ 4 h 262"/>
                <a:gd name="T38" fmla="*/ 6 w 523"/>
                <a:gd name="T39" fmla="*/ 5 h 262"/>
                <a:gd name="T40" fmla="*/ 6 w 523"/>
                <a:gd name="T41" fmla="*/ 5 h 262"/>
                <a:gd name="T42" fmla="*/ 8 w 523"/>
                <a:gd name="T43" fmla="*/ 5 h 262"/>
                <a:gd name="T44" fmla="*/ 9 w 523"/>
                <a:gd name="T45" fmla="*/ 5 h 262"/>
                <a:gd name="T46" fmla="*/ 9 w 523"/>
                <a:gd name="T47" fmla="*/ 5 h 262"/>
                <a:gd name="T48" fmla="*/ 12 w 523"/>
                <a:gd name="T49" fmla="*/ 5 h 262"/>
                <a:gd name="T50" fmla="*/ 12 w 523"/>
                <a:gd name="T51" fmla="*/ 5 h 262"/>
                <a:gd name="T52" fmla="*/ 14 w 523"/>
                <a:gd name="T53" fmla="*/ 5 h 262"/>
                <a:gd name="T54" fmla="*/ 14 w 523"/>
                <a:gd name="T55" fmla="*/ 4 h 262"/>
                <a:gd name="T56" fmla="*/ 14 w 523"/>
                <a:gd name="T57" fmla="*/ 4 h 262"/>
                <a:gd name="T58" fmla="*/ 15 w 523"/>
                <a:gd name="T59" fmla="*/ 3 h 262"/>
                <a:gd name="T60" fmla="*/ 15 w 523"/>
                <a:gd name="T61" fmla="*/ 3 h 262"/>
                <a:gd name="T62" fmla="*/ 16 w 523"/>
                <a:gd name="T63" fmla="*/ 3 h 262"/>
                <a:gd name="T64" fmla="*/ 17 w 523"/>
                <a:gd name="T65" fmla="*/ 2 h 262"/>
                <a:gd name="T66" fmla="*/ 18 w 523"/>
                <a:gd name="T67" fmla="*/ 2 h 262"/>
                <a:gd name="T68" fmla="*/ 17 w 523"/>
                <a:gd name="T69" fmla="*/ 1 h 262"/>
                <a:gd name="T70" fmla="*/ 16 w 523"/>
                <a:gd name="T71" fmla="*/ 1 h 262"/>
                <a:gd name="T72" fmla="*/ 15 w 523"/>
                <a:gd name="T73" fmla="*/ 1 h 2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3" h="262">
                  <a:moveTo>
                    <a:pt x="447" y="31"/>
                  </a:moveTo>
                  <a:lnTo>
                    <a:pt x="403" y="31"/>
                  </a:lnTo>
                  <a:lnTo>
                    <a:pt x="388" y="46"/>
                  </a:lnTo>
                  <a:lnTo>
                    <a:pt x="358" y="46"/>
                  </a:lnTo>
                  <a:lnTo>
                    <a:pt x="343" y="61"/>
                  </a:lnTo>
                  <a:lnTo>
                    <a:pt x="268" y="31"/>
                  </a:lnTo>
                  <a:lnTo>
                    <a:pt x="224" y="46"/>
                  </a:lnTo>
                  <a:lnTo>
                    <a:pt x="209" y="31"/>
                  </a:lnTo>
                  <a:lnTo>
                    <a:pt x="149" y="0"/>
                  </a:lnTo>
                  <a:lnTo>
                    <a:pt x="134" y="46"/>
                  </a:lnTo>
                  <a:lnTo>
                    <a:pt x="134" y="77"/>
                  </a:lnTo>
                  <a:lnTo>
                    <a:pt x="89" y="77"/>
                  </a:lnTo>
                  <a:lnTo>
                    <a:pt x="45" y="77"/>
                  </a:lnTo>
                  <a:lnTo>
                    <a:pt x="0" y="123"/>
                  </a:lnTo>
                  <a:lnTo>
                    <a:pt x="15" y="138"/>
                  </a:lnTo>
                  <a:lnTo>
                    <a:pt x="30" y="154"/>
                  </a:lnTo>
                  <a:lnTo>
                    <a:pt x="60" y="154"/>
                  </a:lnTo>
                  <a:lnTo>
                    <a:pt x="75" y="184"/>
                  </a:lnTo>
                  <a:lnTo>
                    <a:pt x="75" y="200"/>
                  </a:lnTo>
                  <a:lnTo>
                    <a:pt x="164" y="230"/>
                  </a:lnTo>
                  <a:lnTo>
                    <a:pt x="179" y="261"/>
                  </a:lnTo>
                  <a:lnTo>
                    <a:pt x="239" y="230"/>
                  </a:lnTo>
                  <a:lnTo>
                    <a:pt x="254" y="246"/>
                  </a:lnTo>
                  <a:lnTo>
                    <a:pt x="268" y="261"/>
                  </a:lnTo>
                  <a:lnTo>
                    <a:pt x="343" y="261"/>
                  </a:lnTo>
                  <a:lnTo>
                    <a:pt x="358" y="246"/>
                  </a:lnTo>
                  <a:lnTo>
                    <a:pt x="403" y="230"/>
                  </a:lnTo>
                  <a:lnTo>
                    <a:pt x="418" y="200"/>
                  </a:lnTo>
                  <a:lnTo>
                    <a:pt x="403" y="184"/>
                  </a:lnTo>
                  <a:lnTo>
                    <a:pt x="433" y="154"/>
                  </a:lnTo>
                  <a:lnTo>
                    <a:pt x="447" y="154"/>
                  </a:lnTo>
                  <a:lnTo>
                    <a:pt x="477" y="138"/>
                  </a:lnTo>
                  <a:lnTo>
                    <a:pt x="492" y="107"/>
                  </a:lnTo>
                  <a:lnTo>
                    <a:pt x="522" y="92"/>
                  </a:lnTo>
                  <a:lnTo>
                    <a:pt x="492" y="61"/>
                  </a:lnTo>
                  <a:lnTo>
                    <a:pt x="462" y="61"/>
                  </a:lnTo>
                  <a:lnTo>
                    <a:pt x="447"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8" name="Freeform 653"/>
            <p:cNvSpPr>
              <a:spLocks/>
            </p:cNvSpPr>
            <p:nvPr/>
          </p:nvSpPr>
          <p:spPr bwMode="auto">
            <a:xfrm>
              <a:off x="7573" y="1226"/>
              <a:ext cx="403" cy="332"/>
            </a:xfrm>
            <a:custGeom>
              <a:avLst/>
              <a:gdLst>
                <a:gd name="T0" fmla="*/ 23 w 941"/>
                <a:gd name="T1" fmla="*/ 5 h 877"/>
                <a:gd name="T2" fmla="*/ 21 w 941"/>
                <a:gd name="T3" fmla="*/ 5 h 877"/>
                <a:gd name="T4" fmla="*/ 20 w 941"/>
                <a:gd name="T5" fmla="*/ 6 h 877"/>
                <a:gd name="T6" fmla="*/ 20 w 941"/>
                <a:gd name="T7" fmla="*/ 7 h 877"/>
                <a:gd name="T8" fmla="*/ 18 w 941"/>
                <a:gd name="T9" fmla="*/ 8 h 877"/>
                <a:gd name="T10" fmla="*/ 15 w 941"/>
                <a:gd name="T11" fmla="*/ 7 h 877"/>
                <a:gd name="T12" fmla="*/ 12 w 941"/>
                <a:gd name="T13" fmla="*/ 8 h 877"/>
                <a:gd name="T14" fmla="*/ 9 w 941"/>
                <a:gd name="T15" fmla="*/ 6 h 877"/>
                <a:gd name="T16" fmla="*/ 8 w 941"/>
                <a:gd name="T17" fmla="*/ 5 h 877"/>
                <a:gd name="T18" fmla="*/ 6 w 941"/>
                <a:gd name="T19" fmla="*/ 5 h 877"/>
                <a:gd name="T20" fmla="*/ 6 w 941"/>
                <a:gd name="T21" fmla="*/ 6 h 877"/>
                <a:gd name="T22" fmla="*/ 4 w 941"/>
                <a:gd name="T23" fmla="*/ 6 h 877"/>
                <a:gd name="T24" fmla="*/ 3 w 941"/>
                <a:gd name="T25" fmla="*/ 8 h 877"/>
                <a:gd name="T26" fmla="*/ 1 w 941"/>
                <a:gd name="T27" fmla="*/ 9 h 877"/>
                <a:gd name="T28" fmla="*/ 0 w 941"/>
                <a:gd name="T29" fmla="*/ 10 h 877"/>
                <a:gd name="T30" fmla="*/ 1 w 941"/>
                <a:gd name="T31" fmla="*/ 11 h 877"/>
                <a:gd name="T32" fmla="*/ 4 w 941"/>
                <a:gd name="T33" fmla="*/ 12 h 877"/>
                <a:gd name="T34" fmla="*/ 4 w 941"/>
                <a:gd name="T35" fmla="*/ 14 h 877"/>
                <a:gd name="T36" fmla="*/ 6 w 941"/>
                <a:gd name="T37" fmla="*/ 14 h 877"/>
                <a:gd name="T38" fmla="*/ 9 w 941"/>
                <a:gd name="T39" fmla="*/ 15 h 877"/>
                <a:gd name="T40" fmla="*/ 10 w 941"/>
                <a:gd name="T41" fmla="*/ 15 h 877"/>
                <a:gd name="T42" fmla="*/ 11 w 941"/>
                <a:gd name="T43" fmla="*/ 15 h 877"/>
                <a:gd name="T44" fmla="*/ 14 w 941"/>
                <a:gd name="T45" fmla="*/ 14 h 877"/>
                <a:gd name="T46" fmla="*/ 15 w 941"/>
                <a:gd name="T47" fmla="*/ 14 h 877"/>
                <a:gd name="T48" fmla="*/ 15 w 941"/>
                <a:gd name="T49" fmla="*/ 14 h 877"/>
                <a:gd name="T50" fmla="*/ 16 w 941"/>
                <a:gd name="T51" fmla="*/ 15 h 877"/>
                <a:gd name="T52" fmla="*/ 16 w 941"/>
                <a:gd name="T53" fmla="*/ 16 h 877"/>
                <a:gd name="T54" fmla="*/ 17 w 941"/>
                <a:gd name="T55" fmla="*/ 16 h 877"/>
                <a:gd name="T56" fmla="*/ 18 w 941"/>
                <a:gd name="T57" fmla="*/ 18 h 877"/>
                <a:gd name="T58" fmla="*/ 19 w 941"/>
                <a:gd name="T59" fmla="*/ 18 h 877"/>
                <a:gd name="T60" fmla="*/ 20 w 941"/>
                <a:gd name="T61" fmla="*/ 17 h 877"/>
                <a:gd name="T62" fmla="*/ 21 w 941"/>
                <a:gd name="T63" fmla="*/ 17 h 877"/>
                <a:gd name="T64" fmla="*/ 22 w 941"/>
                <a:gd name="T65" fmla="*/ 17 h 877"/>
                <a:gd name="T66" fmla="*/ 24 w 941"/>
                <a:gd name="T67" fmla="*/ 17 h 877"/>
                <a:gd name="T68" fmla="*/ 24 w 941"/>
                <a:gd name="T69" fmla="*/ 18 h 877"/>
                <a:gd name="T70" fmla="*/ 24 w 941"/>
                <a:gd name="T71" fmla="*/ 17 h 877"/>
                <a:gd name="T72" fmla="*/ 26 w 941"/>
                <a:gd name="T73" fmla="*/ 17 h 877"/>
                <a:gd name="T74" fmla="*/ 26 w 941"/>
                <a:gd name="T75" fmla="*/ 17 h 877"/>
                <a:gd name="T76" fmla="*/ 29 w 941"/>
                <a:gd name="T77" fmla="*/ 16 h 877"/>
                <a:gd name="T78" fmla="*/ 29 w 941"/>
                <a:gd name="T79" fmla="*/ 13 h 877"/>
                <a:gd name="T80" fmla="*/ 29 w 941"/>
                <a:gd name="T81" fmla="*/ 12 h 877"/>
                <a:gd name="T82" fmla="*/ 28 w 941"/>
                <a:gd name="T83" fmla="*/ 11 h 877"/>
                <a:gd name="T84" fmla="*/ 27 w 941"/>
                <a:gd name="T85" fmla="*/ 10 h 877"/>
                <a:gd name="T86" fmla="*/ 28 w 941"/>
                <a:gd name="T87" fmla="*/ 9 h 877"/>
                <a:gd name="T88" fmla="*/ 27 w 941"/>
                <a:gd name="T89" fmla="*/ 9 h 877"/>
                <a:gd name="T90" fmla="*/ 25 w 941"/>
                <a:gd name="T91" fmla="*/ 8 h 877"/>
                <a:gd name="T92" fmla="*/ 27 w 941"/>
                <a:gd name="T93" fmla="*/ 7 h 877"/>
                <a:gd name="T94" fmla="*/ 27 w 941"/>
                <a:gd name="T95" fmla="*/ 8 h 877"/>
                <a:gd name="T96" fmla="*/ 29 w 941"/>
                <a:gd name="T97" fmla="*/ 8 h 877"/>
                <a:gd name="T98" fmla="*/ 30 w 941"/>
                <a:gd name="T99" fmla="*/ 6 h 877"/>
                <a:gd name="T100" fmla="*/ 32 w 941"/>
                <a:gd name="T101" fmla="*/ 6 h 877"/>
                <a:gd name="T102" fmla="*/ 32 w 941"/>
                <a:gd name="T103" fmla="*/ 4 h 877"/>
                <a:gd name="T104" fmla="*/ 31 w 941"/>
                <a:gd name="T105" fmla="*/ 3 h 877"/>
                <a:gd name="T106" fmla="*/ 30 w 941"/>
                <a:gd name="T107" fmla="*/ 3 h 877"/>
                <a:gd name="T108" fmla="*/ 28 w 941"/>
                <a:gd name="T109" fmla="*/ 2 h 877"/>
                <a:gd name="T110" fmla="*/ 25 w 941"/>
                <a:gd name="T111" fmla="*/ 1 h 877"/>
                <a:gd name="T112" fmla="*/ 23 w 941"/>
                <a:gd name="T113" fmla="*/ 0 h 877"/>
                <a:gd name="T114" fmla="*/ 23 w 941"/>
                <a:gd name="T115" fmla="*/ 1 h 877"/>
                <a:gd name="T116" fmla="*/ 22 w 941"/>
                <a:gd name="T117" fmla="*/ 3 h 877"/>
                <a:gd name="T118" fmla="*/ 21 w 941"/>
                <a:gd name="T119" fmla="*/ 3 h 877"/>
                <a:gd name="T120" fmla="*/ 23 w 941"/>
                <a:gd name="T121" fmla="*/ 3 h 87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41" h="877">
                  <a:moveTo>
                    <a:pt x="701" y="200"/>
                  </a:moveTo>
                  <a:lnTo>
                    <a:pt x="671" y="215"/>
                  </a:lnTo>
                  <a:lnTo>
                    <a:pt x="657" y="246"/>
                  </a:lnTo>
                  <a:lnTo>
                    <a:pt x="627" y="261"/>
                  </a:lnTo>
                  <a:lnTo>
                    <a:pt x="612" y="261"/>
                  </a:lnTo>
                  <a:lnTo>
                    <a:pt x="582" y="292"/>
                  </a:lnTo>
                  <a:lnTo>
                    <a:pt x="597" y="307"/>
                  </a:lnTo>
                  <a:lnTo>
                    <a:pt x="582" y="338"/>
                  </a:lnTo>
                  <a:lnTo>
                    <a:pt x="537" y="353"/>
                  </a:lnTo>
                  <a:lnTo>
                    <a:pt x="522" y="369"/>
                  </a:lnTo>
                  <a:lnTo>
                    <a:pt x="448" y="369"/>
                  </a:lnTo>
                  <a:lnTo>
                    <a:pt x="433" y="353"/>
                  </a:lnTo>
                  <a:lnTo>
                    <a:pt x="418" y="338"/>
                  </a:lnTo>
                  <a:lnTo>
                    <a:pt x="358" y="369"/>
                  </a:lnTo>
                  <a:lnTo>
                    <a:pt x="343" y="338"/>
                  </a:lnTo>
                  <a:lnTo>
                    <a:pt x="254" y="307"/>
                  </a:lnTo>
                  <a:lnTo>
                    <a:pt x="254" y="292"/>
                  </a:lnTo>
                  <a:lnTo>
                    <a:pt x="239" y="261"/>
                  </a:lnTo>
                  <a:lnTo>
                    <a:pt x="209" y="261"/>
                  </a:lnTo>
                  <a:lnTo>
                    <a:pt x="194" y="246"/>
                  </a:lnTo>
                  <a:lnTo>
                    <a:pt x="179" y="231"/>
                  </a:lnTo>
                  <a:lnTo>
                    <a:pt x="164" y="292"/>
                  </a:lnTo>
                  <a:lnTo>
                    <a:pt x="104" y="292"/>
                  </a:lnTo>
                  <a:lnTo>
                    <a:pt x="119" y="323"/>
                  </a:lnTo>
                  <a:lnTo>
                    <a:pt x="90" y="338"/>
                  </a:lnTo>
                  <a:lnTo>
                    <a:pt x="104" y="369"/>
                  </a:lnTo>
                  <a:lnTo>
                    <a:pt x="90" y="430"/>
                  </a:lnTo>
                  <a:lnTo>
                    <a:pt x="45" y="461"/>
                  </a:lnTo>
                  <a:lnTo>
                    <a:pt x="30" y="446"/>
                  </a:lnTo>
                  <a:lnTo>
                    <a:pt x="0" y="476"/>
                  </a:lnTo>
                  <a:lnTo>
                    <a:pt x="15" y="492"/>
                  </a:lnTo>
                  <a:lnTo>
                    <a:pt x="30" y="523"/>
                  </a:lnTo>
                  <a:lnTo>
                    <a:pt x="75" y="553"/>
                  </a:lnTo>
                  <a:lnTo>
                    <a:pt x="119" y="584"/>
                  </a:lnTo>
                  <a:lnTo>
                    <a:pt x="119" y="630"/>
                  </a:lnTo>
                  <a:lnTo>
                    <a:pt x="134" y="676"/>
                  </a:lnTo>
                  <a:lnTo>
                    <a:pt x="164" y="692"/>
                  </a:lnTo>
                  <a:lnTo>
                    <a:pt x="194" y="692"/>
                  </a:lnTo>
                  <a:lnTo>
                    <a:pt x="209" y="707"/>
                  </a:lnTo>
                  <a:lnTo>
                    <a:pt x="254" y="722"/>
                  </a:lnTo>
                  <a:lnTo>
                    <a:pt x="298" y="738"/>
                  </a:lnTo>
                  <a:lnTo>
                    <a:pt x="298" y="722"/>
                  </a:lnTo>
                  <a:lnTo>
                    <a:pt x="313" y="738"/>
                  </a:lnTo>
                  <a:lnTo>
                    <a:pt x="328" y="738"/>
                  </a:lnTo>
                  <a:lnTo>
                    <a:pt x="358" y="722"/>
                  </a:lnTo>
                  <a:lnTo>
                    <a:pt x="403" y="692"/>
                  </a:lnTo>
                  <a:lnTo>
                    <a:pt x="418" y="707"/>
                  </a:lnTo>
                  <a:lnTo>
                    <a:pt x="433" y="692"/>
                  </a:lnTo>
                  <a:lnTo>
                    <a:pt x="448" y="692"/>
                  </a:lnTo>
                  <a:lnTo>
                    <a:pt x="448" y="707"/>
                  </a:lnTo>
                  <a:lnTo>
                    <a:pt x="477" y="707"/>
                  </a:lnTo>
                  <a:lnTo>
                    <a:pt x="477" y="722"/>
                  </a:lnTo>
                  <a:lnTo>
                    <a:pt x="492" y="768"/>
                  </a:lnTo>
                  <a:lnTo>
                    <a:pt x="477" y="784"/>
                  </a:lnTo>
                  <a:lnTo>
                    <a:pt x="477" y="815"/>
                  </a:lnTo>
                  <a:lnTo>
                    <a:pt x="492" y="799"/>
                  </a:lnTo>
                  <a:lnTo>
                    <a:pt x="507" y="861"/>
                  </a:lnTo>
                  <a:lnTo>
                    <a:pt x="537" y="861"/>
                  </a:lnTo>
                  <a:lnTo>
                    <a:pt x="552" y="876"/>
                  </a:lnTo>
                  <a:lnTo>
                    <a:pt x="567" y="861"/>
                  </a:lnTo>
                  <a:lnTo>
                    <a:pt x="567" y="845"/>
                  </a:lnTo>
                  <a:lnTo>
                    <a:pt x="582" y="830"/>
                  </a:lnTo>
                  <a:lnTo>
                    <a:pt x="597" y="830"/>
                  </a:lnTo>
                  <a:lnTo>
                    <a:pt x="627" y="815"/>
                  </a:lnTo>
                  <a:lnTo>
                    <a:pt x="642" y="830"/>
                  </a:lnTo>
                  <a:lnTo>
                    <a:pt x="642" y="845"/>
                  </a:lnTo>
                  <a:lnTo>
                    <a:pt x="671" y="861"/>
                  </a:lnTo>
                  <a:lnTo>
                    <a:pt x="701" y="845"/>
                  </a:lnTo>
                  <a:lnTo>
                    <a:pt x="701" y="861"/>
                  </a:lnTo>
                  <a:lnTo>
                    <a:pt x="716" y="876"/>
                  </a:lnTo>
                  <a:lnTo>
                    <a:pt x="716" y="861"/>
                  </a:lnTo>
                  <a:lnTo>
                    <a:pt x="716" y="845"/>
                  </a:lnTo>
                  <a:lnTo>
                    <a:pt x="761" y="830"/>
                  </a:lnTo>
                  <a:lnTo>
                    <a:pt x="761" y="815"/>
                  </a:lnTo>
                  <a:lnTo>
                    <a:pt x="776" y="830"/>
                  </a:lnTo>
                  <a:lnTo>
                    <a:pt x="776" y="815"/>
                  </a:lnTo>
                  <a:lnTo>
                    <a:pt x="806" y="815"/>
                  </a:lnTo>
                  <a:lnTo>
                    <a:pt x="850" y="753"/>
                  </a:lnTo>
                  <a:lnTo>
                    <a:pt x="880" y="645"/>
                  </a:lnTo>
                  <a:lnTo>
                    <a:pt x="865" y="630"/>
                  </a:lnTo>
                  <a:lnTo>
                    <a:pt x="850" y="615"/>
                  </a:lnTo>
                  <a:lnTo>
                    <a:pt x="865" y="599"/>
                  </a:lnTo>
                  <a:lnTo>
                    <a:pt x="865" y="584"/>
                  </a:lnTo>
                  <a:lnTo>
                    <a:pt x="836" y="538"/>
                  </a:lnTo>
                  <a:lnTo>
                    <a:pt x="806" y="523"/>
                  </a:lnTo>
                  <a:lnTo>
                    <a:pt x="806" y="492"/>
                  </a:lnTo>
                  <a:lnTo>
                    <a:pt x="821" y="461"/>
                  </a:lnTo>
                  <a:lnTo>
                    <a:pt x="836" y="461"/>
                  </a:lnTo>
                  <a:lnTo>
                    <a:pt x="836" y="446"/>
                  </a:lnTo>
                  <a:lnTo>
                    <a:pt x="806" y="430"/>
                  </a:lnTo>
                  <a:lnTo>
                    <a:pt x="791" y="461"/>
                  </a:lnTo>
                  <a:lnTo>
                    <a:pt x="746" y="415"/>
                  </a:lnTo>
                  <a:lnTo>
                    <a:pt x="761" y="400"/>
                  </a:lnTo>
                  <a:lnTo>
                    <a:pt x="806" y="353"/>
                  </a:lnTo>
                  <a:lnTo>
                    <a:pt x="821" y="369"/>
                  </a:lnTo>
                  <a:lnTo>
                    <a:pt x="806" y="400"/>
                  </a:lnTo>
                  <a:lnTo>
                    <a:pt x="821" y="384"/>
                  </a:lnTo>
                  <a:lnTo>
                    <a:pt x="865" y="369"/>
                  </a:lnTo>
                  <a:lnTo>
                    <a:pt x="865" y="323"/>
                  </a:lnTo>
                  <a:lnTo>
                    <a:pt x="895" y="323"/>
                  </a:lnTo>
                  <a:lnTo>
                    <a:pt x="910" y="277"/>
                  </a:lnTo>
                  <a:lnTo>
                    <a:pt x="940" y="277"/>
                  </a:lnTo>
                  <a:lnTo>
                    <a:pt x="910" y="215"/>
                  </a:lnTo>
                  <a:lnTo>
                    <a:pt x="940" y="200"/>
                  </a:lnTo>
                  <a:lnTo>
                    <a:pt x="940" y="123"/>
                  </a:lnTo>
                  <a:lnTo>
                    <a:pt x="910" y="123"/>
                  </a:lnTo>
                  <a:lnTo>
                    <a:pt x="895" y="138"/>
                  </a:lnTo>
                  <a:lnTo>
                    <a:pt x="880" y="138"/>
                  </a:lnTo>
                  <a:lnTo>
                    <a:pt x="821" y="92"/>
                  </a:lnTo>
                  <a:lnTo>
                    <a:pt x="821" y="108"/>
                  </a:lnTo>
                  <a:lnTo>
                    <a:pt x="791" y="77"/>
                  </a:lnTo>
                  <a:lnTo>
                    <a:pt x="746" y="31"/>
                  </a:lnTo>
                  <a:lnTo>
                    <a:pt x="701" y="0"/>
                  </a:lnTo>
                  <a:lnTo>
                    <a:pt x="671" y="0"/>
                  </a:lnTo>
                  <a:lnTo>
                    <a:pt x="657" y="46"/>
                  </a:lnTo>
                  <a:lnTo>
                    <a:pt x="671" y="46"/>
                  </a:lnTo>
                  <a:lnTo>
                    <a:pt x="671" y="77"/>
                  </a:lnTo>
                  <a:lnTo>
                    <a:pt x="657" y="123"/>
                  </a:lnTo>
                  <a:lnTo>
                    <a:pt x="642" y="138"/>
                  </a:lnTo>
                  <a:lnTo>
                    <a:pt x="627" y="138"/>
                  </a:lnTo>
                  <a:lnTo>
                    <a:pt x="642" y="169"/>
                  </a:lnTo>
                  <a:lnTo>
                    <a:pt x="671" y="169"/>
                  </a:lnTo>
                  <a:lnTo>
                    <a:pt x="701" y="20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29" name="Freeform 654"/>
            <p:cNvSpPr>
              <a:spLocks/>
            </p:cNvSpPr>
            <p:nvPr/>
          </p:nvSpPr>
          <p:spPr bwMode="auto">
            <a:xfrm>
              <a:off x="7867" y="1563"/>
              <a:ext cx="20" cy="11"/>
            </a:xfrm>
            <a:custGeom>
              <a:avLst/>
              <a:gdLst>
                <a:gd name="T0" fmla="*/ 2 w 46"/>
                <a:gd name="T1" fmla="*/ 0 h 32"/>
                <a:gd name="T2" fmla="*/ 0 w 46"/>
                <a:gd name="T3" fmla="*/ 0 h 32"/>
                <a:gd name="T4" fmla="*/ 0 w 46"/>
                <a:gd name="T5" fmla="*/ 0 h 32"/>
                <a:gd name="T6" fmla="*/ 1 w 46"/>
                <a:gd name="T7" fmla="*/ 0 h 32"/>
                <a:gd name="T8" fmla="*/ 2 w 46"/>
                <a:gd name="T9" fmla="*/ 0 h 32"/>
                <a:gd name="T10" fmla="*/ 2 w 46"/>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32">
                  <a:moveTo>
                    <a:pt x="45" y="0"/>
                  </a:moveTo>
                  <a:lnTo>
                    <a:pt x="15" y="0"/>
                  </a:lnTo>
                  <a:lnTo>
                    <a:pt x="0" y="31"/>
                  </a:lnTo>
                  <a:lnTo>
                    <a:pt x="30" y="31"/>
                  </a:lnTo>
                  <a:lnTo>
                    <a:pt x="45" y="16"/>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0" name="Line 655"/>
            <p:cNvSpPr>
              <a:spLocks noChangeShapeType="1"/>
            </p:cNvSpPr>
            <p:nvPr/>
          </p:nvSpPr>
          <p:spPr bwMode="auto">
            <a:xfrm>
              <a:off x="7591" y="1464"/>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1" name="Line 656"/>
            <p:cNvSpPr>
              <a:spLocks noChangeShapeType="1"/>
            </p:cNvSpPr>
            <p:nvPr/>
          </p:nvSpPr>
          <p:spPr bwMode="auto">
            <a:xfrm>
              <a:off x="7726" y="1499"/>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2" name="Line 657"/>
            <p:cNvSpPr>
              <a:spLocks noChangeShapeType="1"/>
            </p:cNvSpPr>
            <p:nvPr/>
          </p:nvSpPr>
          <p:spPr bwMode="auto">
            <a:xfrm flipV="1">
              <a:off x="7739" y="1493"/>
              <a:ext cx="0" cy="5"/>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3" name="Line 658"/>
            <p:cNvSpPr>
              <a:spLocks noChangeShapeType="1"/>
            </p:cNvSpPr>
            <p:nvPr/>
          </p:nvSpPr>
          <p:spPr bwMode="auto">
            <a:xfrm>
              <a:off x="7745" y="1493"/>
              <a:ext cx="8"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4" name="Line 659"/>
            <p:cNvSpPr>
              <a:spLocks noChangeShapeType="1"/>
            </p:cNvSpPr>
            <p:nvPr/>
          </p:nvSpPr>
          <p:spPr bwMode="auto">
            <a:xfrm>
              <a:off x="7745" y="1493"/>
              <a:ext cx="8"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5" name="Line 660"/>
            <p:cNvSpPr>
              <a:spLocks noChangeShapeType="1"/>
            </p:cNvSpPr>
            <p:nvPr/>
          </p:nvSpPr>
          <p:spPr bwMode="auto">
            <a:xfrm>
              <a:off x="7753" y="1493"/>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6" name="Line 661"/>
            <p:cNvSpPr>
              <a:spLocks noChangeShapeType="1"/>
            </p:cNvSpPr>
            <p:nvPr/>
          </p:nvSpPr>
          <p:spPr bwMode="auto">
            <a:xfrm flipV="1">
              <a:off x="7758" y="1487"/>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7" name="Line 662"/>
            <p:cNvSpPr>
              <a:spLocks noChangeShapeType="1"/>
            </p:cNvSpPr>
            <p:nvPr/>
          </p:nvSpPr>
          <p:spPr bwMode="auto">
            <a:xfrm>
              <a:off x="7758" y="1487"/>
              <a:ext cx="6"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8" name="Line 663"/>
            <p:cNvSpPr>
              <a:spLocks noChangeShapeType="1"/>
            </p:cNvSpPr>
            <p:nvPr/>
          </p:nvSpPr>
          <p:spPr bwMode="auto">
            <a:xfrm>
              <a:off x="7764" y="1493"/>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39" name="Line 664"/>
            <p:cNvSpPr>
              <a:spLocks noChangeShapeType="1"/>
            </p:cNvSpPr>
            <p:nvPr/>
          </p:nvSpPr>
          <p:spPr bwMode="auto">
            <a:xfrm>
              <a:off x="7597" y="1464"/>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40" name="Line 665"/>
            <p:cNvSpPr>
              <a:spLocks noChangeShapeType="1"/>
            </p:cNvSpPr>
            <p:nvPr/>
          </p:nvSpPr>
          <p:spPr bwMode="auto">
            <a:xfrm>
              <a:off x="7604" y="1459"/>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41" name="Line 666"/>
            <p:cNvSpPr>
              <a:spLocks noChangeShapeType="1"/>
            </p:cNvSpPr>
            <p:nvPr/>
          </p:nvSpPr>
          <p:spPr bwMode="auto">
            <a:xfrm>
              <a:off x="7611" y="1459"/>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42" name="Line 667"/>
            <p:cNvSpPr>
              <a:spLocks noChangeShapeType="1"/>
            </p:cNvSpPr>
            <p:nvPr/>
          </p:nvSpPr>
          <p:spPr bwMode="auto">
            <a:xfrm>
              <a:off x="7617" y="1464"/>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43" name="Freeform 668"/>
            <p:cNvSpPr>
              <a:spLocks/>
            </p:cNvSpPr>
            <p:nvPr/>
          </p:nvSpPr>
          <p:spPr bwMode="auto">
            <a:xfrm>
              <a:off x="7822" y="1533"/>
              <a:ext cx="58" cy="129"/>
            </a:xfrm>
            <a:custGeom>
              <a:avLst/>
              <a:gdLst>
                <a:gd name="T0" fmla="*/ 0 w 135"/>
                <a:gd name="T1" fmla="*/ 0 h 340"/>
                <a:gd name="T2" fmla="*/ 0 w 135"/>
                <a:gd name="T3" fmla="*/ 1 h 340"/>
                <a:gd name="T4" fmla="*/ 0 w 135"/>
                <a:gd name="T5" fmla="*/ 1 h 340"/>
                <a:gd name="T6" fmla="*/ 1 w 135"/>
                <a:gd name="T7" fmla="*/ 2 h 340"/>
                <a:gd name="T8" fmla="*/ 1 w 135"/>
                <a:gd name="T9" fmla="*/ 2 h 340"/>
                <a:gd name="T10" fmla="*/ 3 w 135"/>
                <a:gd name="T11" fmla="*/ 3 h 340"/>
                <a:gd name="T12" fmla="*/ 3 w 135"/>
                <a:gd name="T13" fmla="*/ 3 h 340"/>
                <a:gd name="T14" fmla="*/ 3 w 135"/>
                <a:gd name="T15" fmla="*/ 4 h 340"/>
                <a:gd name="T16" fmla="*/ 3 w 135"/>
                <a:gd name="T17" fmla="*/ 5 h 340"/>
                <a:gd name="T18" fmla="*/ 3 w 135"/>
                <a:gd name="T19" fmla="*/ 5 h 340"/>
                <a:gd name="T20" fmla="*/ 3 w 135"/>
                <a:gd name="T21" fmla="*/ 5 h 340"/>
                <a:gd name="T22" fmla="*/ 3 w 135"/>
                <a:gd name="T23" fmla="*/ 5 h 340"/>
                <a:gd name="T24" fmla="*/ 1 w 135"/>
                <a:gd name="T25" fmla="*/ 6 h 340"/>
                <a:gd name="T26" fmla="*/ 2 w 135"/>
                <a:gd name="T27" fmla="*/ 6 h 340"/>
                <a:gd name="T28" fmla="*/ 1 w 135"/>
                <a:gd name="T29" fmla="*/ 6 h 340"/>
                <a:gd name="T30" fmla="*/ 2 w 135"/>
                <a:gd name="T31" fmla="*/ 7 h 340"/>
                <a:gd name="T32" fmla="*/ 3 w 135"/>
                <a:gd name="T33" fmla="*/ 7 h 340"/>
                <a:gd name="T34" fmla="*/ 3 w 135"/>
                <a:gd name="T35" fmla="*/ 6 h 340"/>
                <a:gd name="T36" fmla="*/ 4 w 135"/>
                <a:gd name="T37" fmla="*/ 5 h 340"/>
                <a:gd name="T38" fmla="*/ 5 w 135"/>
                <a:gd name="T39" fmla="*/ 5 h 340"/>
                <a:gd name="T40" fmla="*/ 4 w 135"/>
                <a:gd name="T41" fmla="*/ 4 h 340"/>
                <a:gd name="T42" fmla="*/ 3 w 135"/>
                <a:gd name="T43" fmla="*/ 3 h 340"/>
                <a:gd name="T44" fmla="*/ 2 w 135"/>
                <a:gd name="T45" fmla="*/ 2 h 340"/>
                <a:gd name="T46" fmla="*/ 1 w 135"/>
                <a:gd name="T47" fmla="*/ 2 h 340"/>
                <a:gd name="T48" fmla="*/ 3 w 135"/>
                <a:gd name="T49" fmla="*/ 1 h 340"/>
                <a:gd name="T50" fmla="*/ 3 w 135"/>
                <a:gd name="T51" fmla="*/ 1 h 340"/>
                <a:gd name="T52" fmla="*/ 2 w 135"/>
                <a:gd name="T53" fmla="*/ 1 h 340"/>
                <a:gd name="T54" fmla="*/ 2 w 135"/>
                <a:gd name="T55" fmla="*/ 0 h 340"/>
                <a:gd name="T56" fmla="*/ 1 w 135"/>
                <a:gd name="T57" fmla="*/ 0 h 340"/>
                <a:gd name="T58" fmla="*/ 0 w 135"/>
                <a:gd name="T59" fmla="*/ 0 h 340"/>
                <a:gd name="T60" fmla="*/ 0 w 135"/>
                <a:gd name="T61" fmla="*/ 0 h 3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35" h="340">
                  <a:moveTo>
                    <a:pt x="0" y="15"/>
                  </a:moveTo>
                  <a:lnTo>
                    <a:pt x="0" y="46"/>
                  </a:lnTo>
                  <a:lnTo>
                    <a:pt x="15" y="46"/>
                  </a:lnTo>
                  <a:lnTo>
                    <a:pt x="30" y="77"/>
                  </a:lnTo>
                  <a:lnTo>
                    <a:pt x="45" y="108"/>
                  </a:lnTo>
                  <a:lnTo>
                    <a:pt x="74" y="154"/>
                  </a:lnTo>
                  <a:lnTo>
                    <a:pt x="89" y="170"/>
                  </a:lnTo>
                  <a:lnTo>
                    <a:pt x="89" y="200"/>
                  </a:lnTo>
                  <a:lnTo>
                    <a:pt x="89" y="247"/>
                  </a:lnTo>
                  <a:lnTo>
                    <a:pt x="89" y="262"/>
                  </a:lnTo>
                  <a:lnTo>
                    <a:pt x="74" y="247"/>
                  </a:lnTo>
                  <a:lnTo>
                    <a:pt x="74" y="262"/>
                  </a:lnTo>
                  <a:lnTo>
                    <a:pt x="45" y="293"/>
                  </a:lnTo>
                  <a:lnTo>
                    <a:pt x="60" y="293"/>
                  </a:lnTo>
                  <a:lnTo>
                    <a:pt x="45" y="308"/>
                  </a:lnTo>
                  <a:lnTo>
                    <a:pt x="60" y="339"/>
                  </a:lnTo>
                  <a:lnTo>
                    <a:pt x="74" y="339"/>
                  </a:lnTo>
                  <a:lnTo>
                    <a:pt x="89" y="293"/>
                  </a:lnTo>
                  <a:lnTo>
                    <a:pt x="119" y="262"/>
                  </a:lnTo>
                  <a:lnTo>
                    <a:pt x="134" y="231"/>
                  </a:lnTo>
                  <a:lnTo>
                    <a:pt x="119" y="185"/>
                  </a:lnTo>
                  <a:lnTo>
                    <a:pt x="104" y="154"/>
                  </a:lnTo>
                  <a:lnTo>
                    <a:pt x="60" y="108"/>
                  </a:lnTo>
                  <a:lnTo>
                    <a:pt x="45" y="77"/>
                  </a:lnTo>
                  <a:lnTo>
                    <a:pt x="74" y="62"/>
                  </a:lnTo>
                  <a:lnTo>
                    <a:pt x="89" y="46"/>
                  </a:lnTo>
                  <a:lnTo>
                    <a:pt x="60" y="31"/>
                  </a:lnTo>
                  <a:lnTo>
                    <a:pt x="60" y="15"/>
                  </a:lnTo>
                  <a:lnTo>
                    <a:pt x="45" y="0"/>
                  </a:lnTo>
                  <a:lnTo>
                    <a:pt x="15" y="15"/>
                  </a:lnTo>
                  <a:lnTo>
                    <a:pt x="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44" name="Freeform 669"/>
            <p:cNvSpPr>
              <a:spLocks/>
            </p:cNvSpPr>
            <p:nvPr/>
          </p:nvSpPr>
          <p:spPr bwMode="auto">
            <a:xfrm>
              <a:off x="7828" y="1610"/>
              <a:ext cx="33" cy="35"/>
            </a:xfrm>
            <a:custGeom>
              <a:avLst/>
              <a:gdLst>
                <a:gd name="T0" fmla="*/ 0 w 75"/>
                <a:gd name="T1" fmla="*/ 1 h 93"/>
                <a:gd name="T2" fmla="*/ 0 w 75"/>
                <a:gd name="T3" fmla="*/ 1 h 93"/>
                <a:gd name="T4" fmla="*/ 0 w 75"/>
                <a:gd name="T5" fmla="*/ 2 h 93"/>
                <a:gd name="T6" fmla="*/ 1 w 75"/>
                <a:gd name="T7" fmla="*/ 2 h 93"/>
                <a:gd name="T8" fmla="*/ 2 w 75"/>
                <a:gd name="T9" fmla="*/ 1 h 93"/>
                <a:gd name="T10" fmla="*/ 2 w 75"/>
                <a:gd name="T11" fmla="*/ 1 h 93"/>
                <a:gd name="T12" fmla="*/ 3 w 75"/>
                <a:gd name="T13" fmla="*/ 1 h 93"/>
                <a:gd name="T14" fmla="*/ 3 w 75"/>
                <a:gd name="T15" fmla="*/ 1 h 93"/>
                <a:gd name="T16" fmla="*/ 3 w 75"/>
                <a:gd name="T17" fmla="*/ 0 h 93"/>
                <a:gd name="T18" fmla="*/ 2 w 75"/>
                <a:gd name="T19" fmla="*/ 0 h 93"/>
                <a:gd name="T20" fmla="*/ 2 w 75"/>
                <a:gd name="T21" fmla="*/ 0 h 93"/>
                <a:gd name="T22" fmla="*/ 0 w 75"/>
                <a:gd name="T23" fmla="*/ 0 h 93"/>
                <a:gd name="T24" fmla="*/ 0 w 75"/>
                <a:gd name="T25" fmla="*/ 1 h 93"/>
                <a:gd name="T26" fmla="*/ 0 w 75"/>
                <a:gd name="T27" fmla="*/ 1 h 9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5" h="93">
                  <a:moveTo>
                    <a:pt x="0" y="61"/>
                  </a:moveTo>
                  <a:lnTo>
                    <a:pt x="15" y="61"/>
                  </a:lnTo>
                  <a:lnTo>
                    <a:pt x="15" y="77"/>
                  </a:lnTo>
                  <a:lnTo>
                    <a:pt x="30" y="92"/>
                  </a:lnTo>
                  <a:lnTo>
                    <a:pt x="59" y="61"/>
                  </a:lnTo>
                  <a:lnTo>
                    <a:pt x="59" y="46"/>
                  </a:lnTo>
                  <a:lnTo>
                    <a:pt x="74" y="61"/>
                  </a:lnTo>
                  <a:lnTo>
                    <a:pt x="74" y="46"/>
                  </a:lnTo>
                  <a:lnTo>
                    <a:pt x="74" y="0"/>
                  </a:lnTo>
                  <a:lnTo>
                    <a:pt x="59" y="0"/>
                  </a:lnTo>
                  <a:lnTo>
                    <a:pt x="44" y="0"/>
                  </a:lnTo>
                  <a:lnTo>
                    <a:pt x="15" y="0"/>
                  </a:lnTo>
                  <a:lnTo>
                    <a:pt x="0" y="31"/>
                  </a:lnTo>
                  <a:lnTo>
                    <a:pt x="0" y="6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45" name="Freeform 670"/>
            <p:cNvSpPr>
              <a:spLocks/>
            </p:cNvSpPr>
            <p:nvPr/>
          </p:nvSpPr>
          <p:spPr bwMode="auto">
            <a:xfrm>
              <a:off x="7739" y="1493"/>
              <a:ext cx="65" cy="152"/>
            </a:xfrm>
            <a:custGeom>
              <a:avLst/>
              <a:gdLst>
                <a:gd name="T0" fmla="*/ 5 w 151"/>
                <a:gd name="T1" fmla="*/ 3 h 401"/>
                <a:gd name="T2" fmla="*/ 4 w 151"/>
                <a:gd name="T3" fmla="*/ 3 h 401"/>
                <a:gd name="T4" fmla="*/ 3 w 151"/>
                <a:gd name="T5" fmla="*/ 2 h 401"/>
                <a:gd name="T6" fmla="*/ 3 w 151"/>
                <a:gd name="T7" fmla="*/ 2 h 401"/>
                <a:gd name="T8" fmla="*/ 3 w 151"/>
                <a:gd name="T9" fmla="*/ 2 h 401"/>
                <a:gd name="T10" fmla="*/ 3 w 151"/>
                <a:gd name="T11" fmla="*/ 1 h 401"/>
                <a:gd name="T12" fmla="*/ 3 w 151"/>
                <a:gd name="T13" fmla="*/ 0 h 401"/>
                <a:gd name="T14" fmla="*/ 3 w 151"/>
                <a:gd name="T15" fmla="*/ 0 h 401"/>
                <a:gd name="T16" fmla="*/ 2 w 151"/>
                <a:gd name="T17" fmla="*/ 0 h 401"/>
                <a:gd name="T18" fmla="*/ 1 w 151"/>
                <a:gd name="T19" fmla="*/ 1 h 401"/>
                <a:gd name="T20" fmla="*/ 1 w 151"/>
                <a:gd name="T21" fmla="*/ 1 h 401"/>
                <a:gd name="T22" fmla="*/ 1 w 151"/>
                <a:gd name="T23" fmla="*/ 2 h 401"/>
                <a:gd name="T24" fmla="*/ 0 w 151"/>
                <a:gd name="T25" fmla="*/ 2 h 401"/>
                <a:gd name="T26" fmla="*/ 0 w 151"/>
                <a:gd name="T27" fmla="*/ 3 h 401"/>
                <a:gd name="T28" fmla="*/ 0 w 151"/>
                <a:gd name="T29" fmla="*/ 3 h 401"/>
                <a:gd name="T30" fmla="*/ 0 w 151"/>
                <a:gd name="T31" fmla="*/ 3 h 401"/>
                <a:gd name="T32" fmla="*/ 0 w 151"/>
                <a:gd name="T33" fmla="*/ 3 h 401"/>
                <a:gd name="T34" fmla="*/ 0 w 151"/>
                <a:gd name="T35" fmla="*/ 4 h 401"/>
                <a:gd name="T36" fmla="*/ 1 w 151"/>
                <a:gd name="T37" fmla="*/ 4 h 401"/>
                <a:gd name="T38" fmla="*/ 2 w 151"/>
                <a:gd name="T39" fmla="*/ 5 h 401"/>
                <a:gd name="T40" fmla="*/ 1 w 151"/>
                <a:gd name="T41" fmla="*/ 6 h 401"/>
                <a:gd name="T42" fmla="*/ 3 w 151"/>
                <a:gd name="T43" fmla="*/ 6 h 401"/>
                <a:gd name="T44" fmla="*/ 3 w 151"/>
                <a:gd name="T45" fmla="*/ 5 h 401"/>
                <a:gd name="T46" fmla="*/ 4 w 151"/>
                <a:gd name="T47" fmla="*/ 6 h 401"/>
                <a:gd name="T48" fmla="*/ 4 w 151"/>
                <a:gd name="T49" fmla="*/ 6 h 401"/>
                <a:gd name="T50" fmla="*/ 5 w 151"/>
                <a:gd name="T51" fmla="*/ 8 h 401"/>
                <a:gd name="T52" fmla="*/ 5 w 151"/>
                <a:gd name="T53" fmla="*/ 8 h 401"/>
                <a:gd name="T54" fmla="*/ 5 w 151"/>
                <a:gd name="T55" fmla="*/ 8 h 401"/>
                <a:gd name="T56" fmla="*/ 5 w 151"/>
                <a:gd name="T57" fmla="*/ 6 h 401"/>
                <a:gd name="T58" fmla="*/ 5 w 151"/>
                <a:gd name="T59" fmla="*/ 5 h 401"/>
                <a:gd name="T60" fmla="*/ 3 w 151"/>
                <a:gd name="T61" fmla="*/ 5 h 401"/>
                <a:gd name="T62" fmla="*/ 4 w 151"/>
                <a:gd name="T63" fmla="*/ 4 h 401"/>
                <a:gd name="T64" fmla="*/ 5 w 151"/>
                <a:gd name="T65" fmla="*/ 4 h 401"/>
                <a:gd name="T66" fmla="*/ 5 w 151"/>
                <a:gd name="T67" fmla="*/ 3 h 4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1" h="401">
                  <a:moveTo>
                    <a:pt x="150" y="154"/>
                  </a:moveTo>
                  <a:lnTo>
                    <a:pt x="120" y="154"/>
                  </a:lnTo>
                  <a:lnTo>
                    <a:pt x="105" y="92"/>
                  </a:lnTo>
                  <a:lnTo>
                    <a:pt x="90" y="108"/>
                  </a:lnTo>
                  <a:lnTo>
                    <a:pt x="90" y="77"/>
                  </a:lnTo>
                  <a:lnTo>
                    <a:pt x="105" y="62"/>
                  </a:lnTo>
                  <a:lnTo>
                    <a:pt x="90" y="15"/>
                  </a:lnTo>
                  <a:lnTo>
                    <a:pt x="90" y="0"/>
                  </a:lnTo>
                  <a:lnTo>
                    <a:pt x="60" y="0"/>
                  </a:lnTo>
                  <a:lnTo>
                    <a:pt x="45" y="46"/>
                  </a:lnTo>
                  <a:lnTo>
                    <a:pt x="30" y="62"/>
                  </a:lnTo>
                  <a:lnTo>
                    <a:pt x="30" y="108"/>
                  </a:lnTo>
                  <a:lnTo>
                    <a:pt x="15" y="108"/>
                  </a:lnTo>
                  <a:lnTo>
                    <a:pt x="15" y="154"/>
                  </a:lnTo>
                  <a:lnTo>
                    <a:pt x="0" y="154"/>
                  </a:lnTo>
                  <a:lnTo>
                    <a:pt x="15" y="169"/>
                  </a:lnTo>
                  <a:lnTo>
                    <a:pt x="0" y="169"/>
                  </a:lnTo>
                  <a:lnTo>
                    <a:pt x="15" y="200"/>
                  </a:lnTo>
                  <a:lnTo>
                    <a:pt x="30" y="200"/>
                  </a:lnTo>
                  <a:lnTo>
                    <a:pt x="60" y="246"/>
                  </a:lnTo>
                  <a:lnTo>
                    <a:pt x="45" y="277"/>
                  </a:lnTo>
                  <a:lnTo>
                    <a:pt x="75" y="277"/>
                  </a:lnTo>
                  <a:lnTo>
                    <a:pt x="90" y="262"/>
                  </a:lnTo>
                  <a:lnTo>
                    <a:pt x="120" y="308"/>
                  </a:lnTo>
                  <a:lnTo>
                    <a:pt x="120" y="323"/>
                  </a:lnTo>
                  <a:lnTo>
                    <a:pt x="135" y="369"/>
                  </a:lnTo>
                  <a:lnTo>
                    <a:pt x="135" y="400"/>
                  </a:lnTo>
                  <a:lnTo>
                    <a:pt x="150" y="369"/>
                  </a:lnTo>
                  <a:lnTo>
                    <a:pt x="135" y="292"/>
                  </a:lnTo>
                  <a:lnTo>
                    <a:pt x="135" y="262"/>
                  </a:lnTo>
                  <a:lnTo>
                    <a:pt x="105" y="215"/>
                  </a:lnTo>
                  <a:lnTo>
                    <a:pt x="120" y="185"/>
                  </a:lnTo>
                  <a:lnTo>
                    <a:pt x="150" y="185"/>
                  </a:lnTo>
                  <a:lnTo>
                    <a:pt x="150" y="154"/>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46" name="Freeform 671"/>
            <p:cNvSpPr>
              <a:spLocks/>
            </p:cNvSpPr>
            <p:nvPr/>
          </p:nvSpPr>
          <p:spPr bwMode="auto">
            <a:xfrm>
              <a:off x="7804" y="1539"/>
              <a:ext cx="57" cy="71"/>
            </a:xfrm>
            <a:custGeom>
              <a:avLst/>
              <a:gdLst>
                <a:gd name="T0" fmla="*/ 0 w 134"/>
                <a:gd name="T1" fmla="*/ 1 h 186"/>
                <a:gd name="T2" fmla="*/ 0 w 134"/>
                <a:gd name="T3" fmla="*/ 1 h 186"/>
                <a:gd name="T4" fmla="*/ 0 w 134"/>
                <a:gd name="T5" fmla="*/ 2 h 186"/>
                <a:gd name="T6" fmla="*/ 0 w 134"/>
                <a:gd name="T7" fmla="*/ 2 h 186"/>
                <a:gd name="T8" fmla="*/ 1 w 134"/>
                <a:gd name="T9" fmla="*/ 2 h 186"/>
                <a:gd name="T10" fmla="*/ 1 w 134"/>
                <a:gd name="T11" fmla="*/ 3 h 186"/>
                <a:gd name="T12" fmla="*/ 2 w 134"/>
                <a:gd name="T13" fmla="*/ 2 h 186"/>
                <a:gd name="T14" fmla="*/ 3 w 134"/>
                <a:gd name="T15" fmla="*/ 3 h 186"/>
                <a:gd name="T16" fmla="*/ 3 w 134"/>
                <a:gd name="T17" fmla="*/ 3 h 186"/>
                <a:gd name="T18" fmla="*/ 3 w 134"/>
                <a:gd name="T19" fmla="*/ 4 h 186"/>
                <a:gd name="T20" fmla="*/ 4 w 134"/>
                <a:gd name="T21" fmla="*/ 4 h 186"/>
                <a:gd name="T22" fmla="*/ 4 w 134"/>
                <a:gd name="T23" fmla="*/ 4 h 186"/>
                <a:gd name="T24" fmla="*/ 4 w 134"/>
                <a:gd name="T25" fmla="*/ 3 h 186"/>
                <a:gd name="T26" fmla="*/ 4 w 134"/>
                <a:gd name="T27" fmla="*/ 3 h 186"/>
                <a:gd name="T28" fmla="*/ 3 w 134"/>
                <a:gd name="T29" fmla="*/ 2 h 186"/>
                <a:gd name="T30" fmla="*/ 3 w 134"/>
                <a:gd name="T31" fmla="*/ 1 h 186"/>
                <a:gd name="T32" fmla="*/ 2 w 134"/>
                <a:gd name="T33" fmla="*/ 1 h 186"/>
                <a:gd name="T34" fmla="*/ 1 w 134"/>
                <a:gd name="T35" fmla="*/ 1 h 186"/>
                <a:gd name="T36" fmla="*/ 1 w 134"/>
                <a:gd name="T37" fmla="*/ 0 h 186"/>
                <a:gd name="T38" fmla="*/ 1 w 134"/>
                <a:gd name="T39" fmla="*/ 0 h 186"/>
                <a:gd name="T40" fmla="*/ 1 w 134"/>
                <a:gd name="T41" fmla="*/ 1 h 186"/>
                <a:gd name="T42" fmla="*/ 0 w 134"/>
                <a:gd name="T43" fmla="*/ 1 h 186"/>
                <a:gd name="T44" fmla="*/ 0 w 134"/>
                <a:gd name="T45" fmla="*/ 1 h 18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4" h="186">
                  <a:moveTo>
                    <a:pt x="0" y="31"/>
                  </a:moveTo>
                  <a:lnTo>
                    <a:pt x="0" y="62"/>
                  </a:lnTo>
                  <a:lnTo>
                    <a:pt x="0" y="77"/>
                  </a:lnTo>
                  <a:lnTo>
                    <a:pt x="15" y="77"/>
                  </a:lnTo>
                  <a:lnTo>
                    <a:pt x="30" y="108"/>
                  </a:lnTo>
                  <a:lnTo>
                    <a:pt x="44" y="123"/>
                  </a:lnTo>
                  <a:lnTo>
                    <a:pt x="59" y="108"/>
                  </a:lnTo>
                  <a:lnTo>
                    <a:pt x="74" y="123"/>
                  </a:lnTo>
                  <a:lnTo>
                    <a:pt x="89" y="139"/>
                  </a:lnTo>
                  <a:lnTo>
                    <a:pt x="103" y="170"/>
                  </a:lnTo>
                  <a:lnTo>
                    <a:pt x="118" y="185"/>
                  </a:lnTo>
                  <a:lnTo>
                    <a:pt x="133" y="185"/>
                  </a:lnTo>
                  <a:lnTo>
                    <a:pt x="133" y="154"/>
                  </a:lnTo>
                  <a:lnTo>
                    <a:pt x="118" y="139"/>
                  </a:lnTo>
                  <a:lnTo>
                    <a:pt x="89" y="93"/>
                  </a:lnTo>
                  <a:lnTo>
                    <a:pt x="74" y="62"/>
                  </a:lnTo>
                  <a:lnTo>
                    <a:pt x="59" y="31"/>
                  </a:lnTo>
                  <a:lnTo>
                    <a:pt x="44" y="31"/>
                  </a:lnTo>
                  <a:lnTo>
                    <a:pt x="44" y="0"/>
                  </a:lnTo>
                  <a:lnTo>
                    <a:pt x="30" y="15"/>
                  </a:lnTo>
                  <a:lnTo>
                    <a:pt x="30" y="31"/>
                  </a:lnTo>
                  <a:lnTo>
                    <a:pt x="15" y="46"/>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47" name="Oval 672"/>
            <p:cNvSpPr>
              <a:spLocks noChangeArrowheads="1"/>
            </p:cNvSpPr>
            <p:nvPr/>
          </p:nvSpPr>
          <p:spPr bwMode="auto">
            <a:xfrm>
              <a:off x="7918" y="1527"/>
              <a:ext cx="1"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048" name="Oval 673"/>
            <p:cNvSpPr>
              <a:spLocks noChangeArrowheads="1"/>
            </p:cNvSpPr>
            <p:nvPr/>
          </p:nvSpPr>
          <p:spPr bwMode="auto">
            <a:xfrm>
              <a:off x="7906" y="1527"/>
              <a:ext cx="5"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049" name="Freeform 674"/>
            <p:cNvSpPr>
              <a:spLocks/>
            </p:cNvSpPr>
            <p:nvPr/>
          </p:nvSpPr>
          <p:spPr bwMode="auto">
            <a:xfrm>
              <a:off x="7745" y="1226"/>
              <a:ext cx="13" cy="35"/>
            </a:xfrm>
            <a:custGeom>
              <a:avLst/>
              <a:gdLst>
                <a:gd name="T0" fmla="*/ 0 w 30"/>
                <a:gd name="T1" fmla="*/ 0 h 93"/>
                <a:gd name="T2" fmla="*/ 0 w 30"/>
                <a:gd name="T3" fmla="*/ 1 h 93"/>
                <a:gd name="T4" fmla="*/ 0 w 30"/>
                <a:gd name="T5" fmla="*/ 2 h 93"/>
                <a:gd name="T6" fmla="*/ 1 w 30"/>
                <a:gd name="T7" fmla="*/ 2 h 93"/>
                <a:gd name="T8" fmla="*/ 1 w 30"/>
                <a:gd name="T9" fmla="*/ 1 h 93"/>
                <a:gd name="T10" fmla="*/ 0 w 30"/>
                <a:gd name="T11" fmla="*/ 0 h 9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93">
                  <a:moveTo>
                    <a:pt x="15" y="0"/>
                  </a:moveTo>
                  <a:lnTo>
                    <a:pt x="15" y="46"/>
                  </a:lnTo>
                  <a:lnTo>
                    <a:pt x="0" y="92"/>
                  </a:lnTo>
                  <a:lnTo>
                    <a:pt x="29" y="92"/>
                  </a:lnTo>
                  <a:lnTo>
                    <a:pt x="29" y="46"/>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0" name="Line 675"/>
            <p:cNvSpPr>
              <a:spLocks noChangeShapeType="1"/>
            </p:cNvSpPr>
            <p:nvPr/>
          </p:nvSpPr>
          <p:spPr bwMode="auto">
            <a:xfrm>
              <a:off x="7963" y="1383"/>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1" name="Line 676"/>
            <p:cNvSpPr>
              <a:spLocks noChangeShapeType="1"/>
            </p:cNvSpPr>
            <p:nvPr/>
          </p:nvSpPr>
          <p:spPr bwMode="auto">
            <a:xfrm>
              <a:off x="7970" y="1383"/>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2" name="Line 677"/>
            <p:cNvSpPr>
              <a:spLocks noChangeShapeType="1"/>
            </p:cNvSpPr>
            <p:nvPr/>
          </p:nvSpPr>
          <p:spPr bwMode="auto">
            <a:xfrm flipV="1">
              <a:off x="7970" y="1376"/>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3" name="Line 678"/>
            <p:cNvSpPr>
              <a:spLocks noChangeShapeType="1"/>
            </p:cNvSpPr>
            <p:nvPr/>
          </p:nvSpPr>
          <p:spPr bwMode="auto">
            <a:xfrm>
              <a:off x="7970" y="1377"/>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4" name="Line 679"/>
            <p:cNvSpPr>
              <a:spLocks noChangeShapeType="1"/>
            </p:cNvSpPr>
            <p:nvPr/>
          </p:nvSpPr>
          <p:spPr bwMode="auto">
            <a:xfrm>
              <a:off x="7970" y="1377"/>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5" name="Line 680"/>
            <p:cNvSpPr>
              <a:spLocks noChangeShapeType="1"/>
            </p:cNvSpPr>
            <p:nvPr/>
          </p:nvSpPr>
          <p:spPr bwMode="auto">
            <a:xfrm>
              <a:off x="7976" y="1377"/>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6" name="Line 681"/>
            <p:cNvSpPr>
              <a:spLocks noChangeShapeType="1"/>
            </p:cNvSpPr>
            <p:nvPr/>
          </p:nvSpPr>
          <p:spPr bwMode="auto">
            <a:xfrm>
              <a:off x="7976" y="1377"/>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7" name="Freeform 682"/>
            <p:cNvSpPr>
              <a:spLocks/>
            </p:cNvSpPr>
            <p:nvPr/>
          </p:nvSpPr>
          <p:spPr bwMode="auto">
            <a:xfrm>
              <a:off x="7963" y="1377"/>
              <a:ext cx="26" cy="40"/>
            </a:xfrm>
            <a:custGeom>
              <a:avLst/>
              <a:gdLst>
                <a:gd name="T0" fmla="*/ 1 w 61"/>
                <a:gd name="T1" fmla="*/ 0 h 108"/>
                <a:gd name="T2" fmla="*/ 0 w 61"/>
                <a:gd name="T3" fmla="*/ 0 h 108"/>
                <a:gd name="T4" fmla="*/ 0 w 61"/>
                <a:gd name="T5" fmla="*/ 0 h 108"/>
                <a:gd name="T6" fmla="*/ 0 w 61"/>
                <a:gd name="T7" fmla="*/ 1 h 108"/>
                <a:gd name="T8" fmla="*/ 0 w 61"/>
                <a:gd name="T9" fmla="*/ 1 h 108"/>
                <a:gd name="T10" fmla="*/ 0 w 61"/>
                <a:gd name="T11" fmla="*/ 2 h 108"/>
                <a:gd name="T12" fmla="*/ 2 w 61"/>
                <a:gd name="T13" fmla="*/ 1 h 108"/>
                <a:gd name="T14" fmla="*/ 2 w 61"/>
                <a:gd name="T15" fmla="*/ 1 h 108"/>
                <a:gd name="T16" fmla="*/ 2 w 61"/>
                <a:gd name="T17" fmla="*/ 0 h 108"/>
                <a:gd name="T18" fmla="*/ 1 w 61"/>
                <a:gd name="T19" fmla="*/ 0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108">
                  <a:moveTo>
                    <a:pt x="30" y="0"/>
                  </a:moveTo>
                  <a:lnTo>
                    <a:pt x="0" y="15"/>
                  </a:lnTo>
                  <a:lnTo>
                    <a:pt x="15" y="31"/>
                  </a:lnTo>
                  <a:lnTo>
                    <a:pt x="0" y="46"/>
                  </a:lnTo>
                  <a:lnTo>
                    <a:pt x="15" y="46"/>
                  </a:lnTo>
                  <a:lnTo>
                    <a:pt x="15" y="107"/>
                  </a:lnTo>
                  <a:lnTo>
                    <a:pt x="60" y="76"/>
                  </a:lnTo>
                  <a:lnTo>
                    <a:pt x="60" y="46"/>
                  </a:lnTo>
                  <a:lnTo>
                    <a:pt x="60" y="31"/>
                  </a:lnTo>
                  <a:lnTo>
                    <a:pt x="3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8" name="Freeform 683"/>
            <p:cNvSpPr>
              <a:spLocks/>
            </p:cNvSpPr>
            <p:nvPr/>
          </p:nvSpPr>
          <p:spPr bwMode="auto">
            <a:xfrm>
              <a:off x="7944" y="1330"/>
              <a:ext cx="32" cy="53"/>
            </a:xfrm>
            <a:custGeom>
              <a:avLst/>
              <a:gdLst>
                <a:gd name="T0" fmla="*/ 3 w 75"/>
                <a:gd name="T1" fmla="*/ 0 h 139"/>
                <a:gd name="T2" fmla="*/ 1 w 75"/>
                <a:gd name="T3" fmla="*/ 0 h 139"/>
                <a:gd name="T4" fmla="*/ 1 w 75"/>
                <a:gd name="T5" fmla="*/ 1 h 139"/>
                <a:gd name="T6" fmla="*/ 0 w 75"/>
                <a:gd name="T7" fmla="*/ 1 h 139"/>
                <a:gd name="T8" fmla="*/ 0 w 75"/>
                <a:gd name="T9" fmla="*/ 2 h 139"/>
                <a:gd name="T10" fmla="*/ 0 w 75"/>
                <a:gd name="T11" fmla="*/ 2 h 139"/>
                <a:gd name="T12" fmla="*/ 0 w 75"/>
                <a:gd name="T13" fmla="*/ 3 h 139"/>
                <a:gd name="T14" fmla="*/ 1 w 75"/>
                <a:gd name="T15" fmla="*/ 3 h 139"/>
                <a:gd name="T16" fmla="*/ 1 w 75"/>
                <a:gd name="T17" fmla="*/ 3 h 139"/>
                <a:gd name="T18" fmla="*/ 3 w 75"/>
                <a:gd name="T19" fmla="*/ 3 h 139"/>
                <a:gd name="T20" fmla="*/ 2 w 75"/>
                <a:gd name="T21" fmla="*/ 2 h 139"/>
                <a:gd name="T22" fmla="*/ 1 w 75"/>
                <a:gd name="T23" fmla="*/ 2 h 139"/>
                <a:gd name="T24" fmla="*/ 3 w 75"/>
                <a:gd name="T25" fmla="*/ 1 h 139"/>
                <a:gd name="T26" fmla="*/ 2 w 75"/>
                <a:gd name="T27" fmla="*/ 1 h 139"/>
                <a:gd name="T28" fmla="*/ 3 w 75"/>
                <a:gd name="T29" fmla="*/ 0 h 1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5" h="139">
                  <a:moveTo>
                    <a:pt x="74" y="0"/>
                  </a:moveTo>
                  <a:lnTo>
                    <a:pt x="44" y="0"/>
                  </a:lnTo>
                  <a:lnTo>
                    <a:pt x="30" y="46"/>
                  </a:lnTo>
                  <a:lnTo>
                    <a:pt x="0" y="46"/>
                  </a:lnTo>
                  <a:lnTo>
                    <a:pt x="0" y="92"/>
                  </a:lnTo>
                  <a:lnTo>
                    <a:pt x="15" y="107"/>
                  </a:lnTo>
                  <a:lnTo>
                    <a:pt x="0" y="123"/>
                  </a:lnTo>
                  <a:lnTo>
                    <a:pt x="30" y="138"/>
                  </a:lnTo>
                  <a:lnTo>
                    <a:pt x="44" y="138"/>
                  </a:lnTo>
                  <a:lnTo>
                    <a:pt x="74" y="123"/>
                  </a:lnTo>
                  <a:lnTo>
                    <a:pt x="59" y="107"/>
                  </a:lnTo>
                  <a:lnTo>
                    <a:pt x="44" y="92"/>
                  </a:lnTo>
                  <a:lnTo>
                    <a:pt x="74" y="46"/>
                  </a:lnTo>
                  <a:lnTo>
                    <a:pt x="59" y="31"/>
                  </a:lnTo>
                  <a:lnTo>
                    <a:pt x="74"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59" name="Freeform 684"/>
            <p:cNvSpPr>
              <a:spLocks/>
            </p:cNvSpPr>
            <p:nvPr/>
          </p:nvSpPr>
          <p:spPr bwMode="auto">
            <a:xfrm>
              <a:off x="8002" y="1337"/>
              <a:ext cx="70" cy="75"/>
            </a:xfrm>
            <a:custGeom>
              <a:avLst/>
              <a:gdLst>
                <a:gd name="T0" fmla="*/ 4 w 165"/>
                <a:gd name="T1" fmla="*/ 0 h 200"/>
                <a:gd name="T2" fmla="*/ 3 w 165"/>
                <a:gd name="T3" fmla="*/ 1 h 200"/>
                <a:gd name="T4" fmla="*/ 4 w 165"/>
                <a:gd name="T5" fmla="*/ 1 h 200"/>
                <a:gd name="T6" fmla="*/ 4 w 165"/>
                <a:gd name="T7" fmla="*/ 2 h 200"/>
                <a:gd name="T8" fmla="*/ 3 w 165"/>
                <a:gd name="T9" fmla="*/ 2 h 200"/>
                <a:gd name="T10" fmla="*/ 3 w 165"/>
                <a:gd name="T11" fmla="*/ 2 h 200"/>
                <a:gd name="T12" fmla="*/ 3 w 165"/>
                <a:gd name="T13" fmla="*/ 3 h 200"/>
                <a:gd name="T14" fmla="*/ 2 w 165"/>
                <a:gd name="T15" fmla="*/ 3 h 200"/>
                <a:gd name="T16" fmla="*/ 1 w 165"/>
                <a:gd name="T17" fmla="*/ 3 h 200"/>
                <a:gd name="T18" fmla="*/ 0 w 165"/>
                <a:gd name="T19" fmla="*/ 4 h 200"/>
                <a:gd name="T20" fmla="*/ 0 w 165"/>
                <a:gd name="T21" fmla="*/ 4 h 200"/>
                <a:gd name="T22" fmla="*/ 1 w 165"/>
                <a:gd name="T23" fmla="*/ 4 h 200"/>
                <a:gd name="T24" fmla="*/ 3 w 165"/>
                <a:gd name="T25" fmla="*/ 4 h 200"/>
                <a:gd name="T26" fmla="*/ 3 w 165"/>
                <a:gd name="T27" fmla="*/ 4 h 200"/>
                <a:gd name="T28" fmla="*/ 3 w 165"/>
                <a:gd name="T29" fmla="*/ 4 h 200"/>
                <a:gd name="T30" fmla="*/ 3 w 165"/>
                <a:gd name="T31" fmla="*/ 3 h 200"/>
                <a:gd name="T32" fmla="*/ 4 w 165"/>
                <a:gd name="T33" fmla="*/ 4 h 200"/>
                <a:gd name="T34" fmla="*/ 4 w 165"/>
                <a:gd name="T35" fmla="*/ 3 h 200"/>
                <a:gd name="T36" fmla="*/ 6 w 165"/>
                <a:gd name="T37" fmla="*/ 3 h 200"/>
                <a:gd name="T38" fmla="*/ 5 w 165"/>
                <a:gd name="T39" fmla="*/ 2 h 200"/>
                <a:gd name="T40" fmla="*/ 6 w 165"/>
                <a:gd name="T41" fmla="*/ 2 h 200"/>
                <a:gd name="T42" fmla="*/ 5 w 165"/>
                <a:gd name="T43" fmla="*/ 1 h 200"/>
                <a:gd name="T44" fmla="*/ 4 w 165"/>
                <a:gd name="T45" fmla="*/ 0 h 2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65" h="200">
                  <a:moveTo>
                    <a:pt x="119" y="0"/>
                  </a:moveTo>
                  <a:lnTo>
                    <a:pt x="104" y="31"/>
                  </a:lnTo>
                  <a:lnTo>
                    <a:pt x="119" y="46"/>
                  </a:lnTo>
                  <a:lnTo>
                    <a:pt x="119" y="92"/>
                  </a:lnTo>
                  <a:lnTo>
                    <a:pt x="104" y="122"/>
                  </a:lnTo>
                  <a:lnTo>
                    <a:pt x="89" y="107"/>
                  </a:lnTo>
                  <a:lnTo>
                    <a:pt x="75" y="153"/>
                  </a:lnTo>
                  <a:lnTo>
                    <a:pt x="60" y="153"/>
                  </a:lnTo>
                  <a:lnTo>
                    <a:pt x="30" y="153"/>
                  </a:lnTo>
                  <a:lnTo>
                    <a:pt x="0" y="199"/>
                  </a:lnTo>
                  <a:lnTo>
                    <a:pt x="15" y="199"/>
                  </a:lnTo>
                  <a:lnTo>
                    <a:pt x="30" y="199"/>
                  </a:lnTo>
                  <a:lnTo>
                    <a:pt x="75" y="184"/>
                  </a:lnTo>
                  <a:lnTo>
                    <a:pt x="89" y="199"/>
                  </a:lnTo>
                  <a:lnTo>
                    <a:pt x="104" y="184"/>
                  </a:lnTo>
                  <a:lnTo>
                    <a:pt x="104" y="168"/>
                  </a:lnTo>
                  <a:lnTo>
                    <a:pt x="119" y="184"/>
                  </a:lnTo>
                  <a:lnTo>
                    <a:pt x="134" y="168"/>
                  </a:lnTo>
                  <a:lnTo>
                    <a:pt x="164" y="153"/>
                  </a:lnTo>
                  <a:lnTo>
                    <a:pt x="149" y="77"/>
                  </a:lnTo>
                  <a:lnTo>
                    <a:pt x="164" y="77"/>
                  </a:lnTo>
                  <a:lnTo>
                    <a:pt x="149" y="31"/>
                  </a:lnTo>
                  <a:lnTo>
                    <a:pt x="11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0" name="Freeform 685"/>
            <p:cNvSpPr>
              <a:spLocks/>
            </p:cNvSpPr>
            <p:nvPr/>
          </p:nvSpPr>
          <p:spPr bwMode="auto">
            <a:xfrm>
              <a:off x="8033" y="1290"/>
              <a:ext cx="39" cy="47"/>
            </a:xfrm>
            <a:custGeom>
              <a:avLst/>
              <a:gdLst>
                <a:gd name="T0" fmla="*/ 0 w 91"/>
                <a:gd name="T1" fmla="*/ 0 h 125"/>
                <a:gd name="T2" fmla="*/ 1 w 91"/>
                <a:gd name="T3" fmla="*/ 1 h 125"/>
                <a:gd name="T4" fmla="*/ 0 w 91"/>
                <a:gd name="T5" fmla="*/ 1 h 125"/>
                <a:gd name="T6" fmla="*/ 0 w 91"/>
                <a:gd name="T7" fmla="*/ 2 h 125"/>
                <a:gd name="T8" fmla="*/ 0 w 91"/>
                <a:gd name="T9" fmla="*/ 2 h 125"/>
                <a:gd name="T10" fmla="*/ 1 w 91"/>
                <a:gd name="T11" fmla="*/ 3 h 125"/>
                <a:gd name="T12" fmla="*/ 1 w 91"/>
                <a:gd name="T13" fmla="*/ 2 h 125"/>
                <a:gd name="T14" fmla="*/ 1 w 91"/>
                <a:gd name="T15" fmla="*/ 2 h 125"/>
                <a:gd name="T16" fmla="*/ 3 w 91"/>
                <a:gd name="T17" fmla="*/ 2 h 125"/>
                <a:gd name="T18" fmla="*/ 3 w 91"/>
                <a:gd name="T19" fmla="*/ 1 h 125"/>
                <a:gd name="T20" fmla="*/ 3 w 91"/>
                <a:gd name="T21" fmla="*/ 1 h 125"/>
                <a:gd name="T22" fmla="*/ 3 w 91"/>
                <a:gd name="T23" fmla="*/ 0 h 125"/>
                <a:gd name="T24" fmla="*/ 2 w 91"/>
                <a:gd name="T25" fmla="*/ 0 h 125"/>
                <a:gd name="T26" fmla="*/ 0 w 91"/>
                <a:gd name="T27" fmla="*/ 0 h 1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1" h="125">
                  <a:moveTo>
                    <a:pt x="15" y="0"/>
                  </a:moveTo>
                  <a:lnTo>
                    <a:pt x="30" y="62"/>
                  </a:lnTo>
                  <a:lnTo>
                    <a:pt x="15" y="62"/>
                  </a:lnTo>
                  <a:lnTo>
                    <a:pt x="0" y="78"/>
                  </a:lnTo>
                  <a:lnTo>
                    <a:pt x="0" y="109"/>
                  </a:lnTo>
                  <a:lnTo>
                    <a:pt x="30" y="124"/>
                  </a:lnTo>
                  <a:lnTo>
                    <a:pt x="45" y="93"/>
                  </a:lnTo>
                  <a:lnTo>
                    <a:pt x="30" y="78"/>
                  </a:lnTo>
                  <a:lnTo>
                    <a:pt x="75" y="78"/>
                  </a:lnTo>
                  <a:lnTo>
                    <a:pt x="75" y="62"/>
                  </a:lnTo>
                  <a:lnTo>
                    <a:pt x="90" y="47"/>
                  </a:lnTo>
                  <a:lnTo>
                    <a:pt x="75" y="16"/>
                  </a:lnTo>
                  <a:lnTo>
                    <a:pt x="60" y="16"/>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1" name="Freeform 686"/>
            <p:cNvSpPr>
              <a:spLocks/>
            </p:cNvSpPr>
            <p:nvPr/>
          </p:nvSpPr>
          <p:spPr bwMode="auto">
            <a:xfrm>
              <a:off x="8002" y="1417"/>
              <a:ext cx="12" cy="24"/>
            </a:xfrm>
            <a:custGeom>
              <a:avLst/>
              <a:gdLst>
                <a:gd name="T0" fmla="*/ 0 w 30"/>
                <a:gd name="T1" fmla="*/ 0 h 63"/>
                <a:gd name="T2" fmla="*/ 0 w 30"/>
                <a:gd name="T3" fmla="*/ 1 h 63"/>
                <a:gd name="T4" fmla="*/ 0 w 30"/>
                <a:gd name="T5" fmla="*/ 0 h 63"/>
                <a:gd name="T6" fmla="*/ 0 w 30"/>
                <a:gd name="T7" fmla="*/ 1 h 63"/>
                <a:gd name="T8" fmla="*/ 1 w 30"/>
                <a:gd name="T9" fmla="*/ 1 h 63"/>
                <a:gd name="T10" fmla="*/ 1 w 30"/>
                <a:gd name="T11" fmla="*/ 0 h 63"/>
                <a:gd name="T12" fmla="*/ 0 w 30"/>
                <a:gd name="T13" fmla="*/ 0 h 63"/>
                <a:gd name="T14" fmla="*/ 0 w 30"/>
                <a:gd name="T15" fmla="*/ 0 h 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63">
                  <a:moveTo>
                    <a:pt x="0" y="16"/>
                  </a:moveTo>
                  <a:lnTo>
                    <a:pt x="0" y="31"/>
                  </a:lnTo>
                  <a:lnTo>
                    <a:pt x="15" y="16"/>
                  </a:lnTo>
                  <a:lnTo>
                    <a:pt x="15" y="62"/>
                  </a:lnTo>
                  <a:lnTo>
                    <a:pt x="29" y="62"/>
                  </a:lnTo>
                  <a:lnTo>
                    <a:pt x="29" y="16"/>
                  </a:lnTo>
                  <a:lnTo>
                    <a:pt x="15"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2" name="Freeform 687"/>
            <p:cNvSpPr>
              <a:spLocks/>
            </p:cNvSpPr>
            <p:nvPr/>
          </p:nvSpPr>
          <p:spPr bwMode="auto">
            <a:xfrm>
              <a:off x="8013" y="1411"/>
              <a:ext cx="20" cy="13"/>
            </a:xfrm>
            <a:custGeom>
              <a:avLst/>
              <a:gdLst>
                <a:gd name="T0" fmla="*/ 0 w 46"/>
                <a:gd name="T1" fmla="*/ 1 h 32"/>
                <a:gd name="T2" fmla="*/ 1 w 46"/>
                <a:gd name="T3" fmla="*/ 0 h 32"/>
                <a:gd name="T4" fmla="*/ 2 w 46"/>
                <a:gd name="T5" fmla="*/ 0 h 32"/>
                <a:gd name="T6" fmla="*/ 1 w 46"/>
                <a:gd name="T7" fmla="*/ 0 h 32"/>
                <a:gd name="T8" fmla="*/ 0 w 46"/>
                <a:gd name="T9" fmla="*/ 0 h 32"/>
                <a:gd name="T10" fmla="*/ 0 w 46"/>
                <a:gd name="T11" fmla="*/ 0 h 32"/>
                <a:gd name="T12" fmla="*/ 0 w 46"/>
                <a:gd name="T13" fmla="*/ 1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32">
                  <a:moveTo>
                    <a:pt x="15" y="31"/>
                  </a:moveTo>
                  <a:lnTo>
                    <a:pt x="30" y="16"/>
                  </a:lnTo>
                  <a:lnTo>
                    <a:pt x="45" y="0"/>
                  </a:lnTo>
                  <a:lnTo>
                    <a:pt x="30" y="0"/>
                  </a:lnTo>
                  <a:lnTo>
                    <a:pt x="15" y="0"/>
                  </a:lnTo>
                  <a:lnTo>
                    <a:pt x="0" y="16"/>
                  </a:lnTo>
                  <a:lnTo>
                    <a:pt x="15"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3" name="Freeform 688"/>
            <p:cNvSpPr>
              <a:spLocks/>
            </p:cNvSpPr>
            <p:nvPr/>
          </p:nvSpPr>
          <p:spPr bwMode="auto">
            <a:xfrm>
              <a:off x="7656" y="1656"/>
              <a:ext cx="13" cy="30"/>
            </a:xfrm>
            <a:custGeom>
              <a:avLst/>
              <a:gdLst>
                <a:gd name="T0" fmla="*/ 0 w 30"/>
                <a:gd name="T1" fmla="*/ 0 h 78"/>
                <a:gd name="T2" fmla="*/ 0 w 30"/>
                <a:gd name="T3" fmla="*/ 1 h 78"/>
                <a:gd name="T4" fmla="*/ 0 w 30"/>
                <a:gd name="T5" fmla="*/ 1 h 78"/>
                <a:gd name="T6" fmla="*/ 0 w 30"/>
                <a:gd name="T7" fmla="*/ 2 h 78"/>
                <a:gd name="T8" fmla="*/ 1 w 30"/>
                <a:gd name="T9" fmla="*/ 1 h 78"/>
                <a:gd name="T10" fmla="*/ 1 w 30"/>
                <a:gd name="T11" fmla="*/ 1 h 78"/>
                <a:gd name="T12" fmla="*/ 0 w 30"/>
                <a:gd name="T13" fmla="*/ 0 h 78"/>
                <a:gd name="T14" fmla="*/ 0 w 30"/>
                <a:gd name="T15" fmla="*/ 0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78">
                  <a:moveTo>
                    <a:pt x="0" y="0"/>
                  </a:moveTo>
                  <a:lnTo>
                    <a:pt x="0" y="31"/>
                  </a:lnTo>
                  <a:lnTo>
                    <a:pt x="0" y="62"/>
                  </a:lnTo>
                  <a:lnTo>
                    <a:pt x="15" y="77"/>
                  </a:lnTo>
                  <a:lnTo>
                    <a:pt x="29" y="62"/>
                  </a:lnTo>
                  <a:lnTo>
                    <a:pt x="29" y="46"/>
                  </a:lnTo>
                  <a:lnTo>
                    <a:pt x="15" y="15"/>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4" name="Freeform 689"/>
            <p:cNvSpPr>
              <a:spLocks/>
            </p:cNvSpPr>
            <p:nvPr/>
          </p:nvSpPr>
          <p:spPr bwMode="auto">
            <a:xfrm>
              <a:off x="7950" y="1511"/>
              <a:ext cx="13" cy="23"/>
            </a:xfrm>
            <a:custGeom>
              <a:avLst/>
              <a:gdLst>
                <a:gd name="T0" fmla="*/ 0 w 30"/>
                <a:gd name="T1" fmla="*/ 0 h 62"/>
                <a:gd name="T2" fmla="*/ 0 w 30"/>
                <a:gd name="T3" fmla="*/ 0 h 62"/>
                <a:gd name="T4" fmla="*/ 0 w 30"/>
                <a:gd name="T5" fmla="*/ 0 h 62"/>
                <a:gd name="T6" fmla="*/ 0 w 30"/>
                <a:gd name="T7" fmla="*/ 1 h 62"/>
                <a:gd name="T8" fmla="*/ 0 w 30"/>
                <a:gd name="T9" fmla="*/ 1 h 62"/>
                <a:gd name="T10" fmla="*/ 1 w 30"/>
                <a:gd name="T11" fmla="*/ 1 h 62"/>
                <a:gd name="T12" fmla="*/ 1 w 30"/>
                <a:gd name="T13" fmla="*/ 0 h 62"/>
                <a:gd name="T14" fmla="*/ 0 w 30"/>
                <a:gd name="T15" fmla="*/ 0 h 6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62">
                  <a:moveTo>
                    <a:pt x="15" y="0"/>
                  </a:moveTo>
                  <a:lnTo>
                    <a:pt x="0" y="0"/>
                  </a:lnTo>
                  <a:lnTo>
                    <a:pt x="0" y="15"/>
                  </a:lnTo>
                  <a:lnTo>
                    <a:pt x="15" y="61"/>
                  </a:lnTo>
                  <a:lnTo>
                    <a:pt x="15" y="46"/>
                  </a:lnTo>
                  <a:lnTo>
                    <a:pt x="29" y="46"/>
                  </a:lnTo>
                  <a:lnTo>
                    <a:pt x="29" y="0"/>
                  </a:lnTo>
                  <a:lnTo>
                    <a:pt x="1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5" name="Freeform 690"/>
            <p:cNvSpPr>
              <a:spLocks/>
            </p:cNvSpPr>
            <p:nvPr/>
          </p:nvSpPr>
          <p:spPr bwMode="auto">
            <a:xfrm>
              <a:off x="7892" y="1673"/>
              <a:ext cx="65" cy="53"/>
            </a:xfrm>
            <a:custGeom>
              <a:avLst/>
              <a:gdLst>
                <a:gd name="T0" fmla="*/ 0 w 151"/>
                <a:gd name="T1" fmla="*/ 3 h 140"/>
                <a:gd name="T2" fmla="*/ 0 w 151"/>
                <a:gd name="T3" fmla="*/ 3 h 140"/>
                <a:gd name="T4" fmla="*/ 1 w 151"/>
                <a:gd name="T5" fmla="*/ 3 h 140"/>
                <a:gd name="T6" fmla="*/ 1 w 151"/>
                <a:gd name="T7" fmla="*/ 3 h 140"/>
                <a:gd name="T8" fmla="*/ 3 w 151"/>
                <a:gd name="T9" fmla="*/ 3 h 140"/>
                <a:gd name="T10" fmla="*/ 3 w 151"/>
                <a:gd name="T11" fmla="*/ 2 h 140"/>
                <a:gd name="T12" fmla="*/ 3 w 151"/>
                <a:gd name="T13" fmla="*/ 1 h 140"/>
                <a:gd name="T14" fmla="*/ 5 w 151"/>
                <a:gd name="T15" fmla="*/ 2 h 140"/>
                <a:gd name="T16" fmla="*/ 5 w 151"/>
                <a:gd name="T17" fmla="*/ 1 h 140"/>
                <a:gd name="T18" fmla="*/ 5 w 151"/>
                <a:gd name="T19" fmla="*/ 1 h 140"/>
                <a:gd name="T20" fmla="*/ 5 w 151"/>
                <a:gd name="T21" fmla="*/ 1 h 140"/>
                <a:gd name="T22" fmla="*/ 5 w 151"/>
                <a:gd name="T23" fmla="*/ 1 h 140"/>
                <a:gd name="T24" fmla="*/ 4 w 151"/>
                <a:gd name="T25" fmla="*/ 0 h 140"/>
                <a:gd name="T26" fmla="*/ 3 w 151"/>
                <a:gd name="T27" fmla="*/ 0 h 140"/>
                <a:gd name="T28" fmla="*/ 3 w 151"/>
                <a:gd name="T29" fmla="*/ 1 h 140"/>
                <a:gd name="T30" fmla="*/ 3 w 151"/>
                <a:gd name="T31" fmla="*/ 1 h 140"/>
                <a:gd name="T32" fmla="*/ 3 w 151"/>
                <a:gd name="T33" fmla="*/ 1 h 140"/>
                <a:gd name="T34" fmla="*/ 1 w 151"/>
                <a:gd name="T35" fmla="*/ 2 h 140"/>
                <a:gd name="T36" fmla="*/ 0 w 151"/>
                <a:gd name="T37" fmla="*/ 2 h 140"/>
                <a:gd name="T38" fmla="*/ 0 w 151"/>
                <a:gd name="T39" fmla="*/ 3 h 140"/>
                <a:gd name="T40" fmla="*/ 0 w 151"/>
                <a:gd name="T41" fmla="*/ 3 h 1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1" h="140">
                  <a:moveTo>
                    <a:pt x="0" y="124"/>
                  </a:moveTo>
                  <a:lnTo>
                    <a:pt x="0" y="139"/>
                  </a:lnTo>
                  <a:lnTo>
                    <a:pt x="30" y="139"/>
                  </a:lnTo>
                  <a:lnTo>
                    <a:pt x="45" y="124"/>
                  </a:lnTo>
                  <a:lnTo>
                    <a:pt x="90" y="124"/>
                  </a:lnTo>
                  <a:lnTo>
                    <a:pt x="105" y="77"/>
                  </a:lnTo>
                  <a:lnTo>
                    <a:pt x="105" y="62"/>
                  </a:lnTo>
                  <a:lnTo>
                    <a:pt x="135" y="77"/>
                  </a:lnTo>
                  <a:lnTo>
                    <a:pt x="150" y="62"/>
                  </a:lnTo>
                  <a:lnTo>
                    <a:pt x="135" y="46"/>
                  </a:lnTo>
                  <a:lnTo>
                    <a:pt x="150" y="31"/>
                  </a:lnTo>
                  <a:lnTo>
                    <a:pt x="135" y="31"/>
                  </a:lnTo>
                  <a:lnTo>
                    <a:pt x="120" y="0"/>
                  </a:lnTo>
                  <a:lnTo>
                    <a:pt x="105" y="15"/>
                  </a:lnTo>
                  <a:lnTo>
                    <a:pt x="90" y="46"/>
                  </a:lnTo>
                  <a:lnTo>
                    <a:pt x="90" y="62"/>
                  </a:lnTo>
                  <a:lnTo>
                    <a:pt x="75" y="62"/>
                  </a:lnTo>
                  <a:lnTo>
                    <a:pt x="45" y="93"/>
                  </a:lnTo>
                  <a:lnTo>
                    <a:pt x="15" y="93"/>
                  </a:lnTo>
                  <a:lnTo>
                    <a:pt x="15" y="124"/>
                  </a:lnTo>
                  <a:lnTo>
                    <a:pt x="0" y="124"/>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6" name="Freeform 691"/>
            <p:cNvSpPr>
              <a:spLocks/>
            </p:cNvSpPr>
            <p:nvPr/>
          </p:nvSpPr>
          <p:spPr bwMode="auto">
            <a:xfrm>
              <a:off x="7809" y="1673"/>
              <a:ext cx="39" cy="47"/>
            </a:xfrm>
            <a:custGeom>
              <a:avLst/>
              <a:gdLst>
                <a:gd name="T0" fmla="*/ 0 w 91"/>
                <a:gd name="T1" fmla="*/ 0 h 124"/>
                <a:gd name="T2" fmla="*/ 0 w 91"/>
                <a:gd name="T3" fmla="*/ 1 h 124"/>
                <a:gd name="T4" fmla="*/ 1 w 91"/>
                <a:gd name="T5" fmla="*/ 2 h 124"/>
                <a:gd name="T6" fmla="*/ 2 w 91"/>
                <a:gd name="T7" fmla="*/ 3 h 124"/>
                <a:gd name="T8" fmla="*/ 3 w 91"/>
                <a:gd name="T9" fmla="*/ 2 h 124"/>
                <a:gd name="T10" fmla="*/ 3 w 91"/>
                <a:gd name="T11" fmla="*/ 2 h 124"/>
                <a:gd name="T12" fmla="*/ 3 w 91"/>
                <a:gd name="T13" fmla="*/ 2 h 124"/>
                <a:gd name="T14" fmla="*/ 3 w 91"/>
                <a:gd name="T15" fmla="*/ 1 h 124"/>
                <a:gd name="T16" fmla="*/ 3 w 91"/>
                <a:gd name="T17" fmla="*/ 1 h 124"/>
                <a:gd name="T18" fmla="*/ 1 w 91"/>
                <a:gd name="T19" fmla="*/ 1 h 124"/>
                <a:gd name="T20" fmla="*/ 1 w 91"/>
                <a:gd name="T21" fmla="*/ 0 h 124"/>
                <a:gd name="T22" fmla="*/ 0 w 91"/>
                <a:gd name="T23" fmla="*/ 0 h 1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91" h="124">
                  <a:moveTo>
                    <a:pt x="0" y="0"/>
                  </a:moveTo>
                  <a:lnTo>
                    <a:pt x="15" y="31"/>
                  </a:lnTo>
                  <a:lnTo>
                    <a:pt x="30" y="92"/>
                  </a:lnTo>
                  <a:lnTo>
                    <a:pt x="60" y="123"/>
                  </a:lnTo>
                  <a:lnTo>
                    <a:pt x="75" y="108"/>
                  </a:lnTo>
                  <a:lnTo>
                    <a:pt x="90" y="108"/>
                  </a:lnTo>
                  <a:lnTo>
                    <a:pt x="75" y="77"/>
                  </a:lnTo>
                  <a:lnTo>
                    <a:pt x="75" y="62"/>
                  </a:lnTo>
                  <a:lnTo>
                    <a:pt x="75" y="46"/>
                  </a:lnTo>
                  <a:lnTo>
                    <a:pt x="45" y="31"/>
                  </a:lnTo>
                  <a:lnTo>
                    <a:pt x="30" y="15"/>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7" name="Freeform 692"/>
            <p:cNvSpPr>
              <a:spLocks/>
            </p:cNvSpPr>
            <p:nvPr/>
          </p:nvSpPr>
          <p:spPr bwMode="auto">
            <a:xfrm>
              <a:off x="7784" y="1563"/>
              <a:ext cx="70" cy="123"/>
            </a:xfrm>
            <a:custGeom>
              <a:avLst/>
              <a:gdLst>
                <a:gd name="T0" fmla="*/ 1 w 165"/>
                <a:gd name="T1" fmla="*/ 0 h 324"/>
                <a:gd name="T2" fmla="*/ 0 w 165"/>
                <a:gd name="T3" fmla="*/ 0 h 324"/>
                <a:gd name="T4" fmla="*/ 0 w 165"/>
                <a:gd name="T5" fmla="*/ 1 h 324"/>
                <a:gd name="T6" fmla="*/ 1 w 165"/>
                <a:gd name="T7" fmla="*/ 2 h 324"/>
                <a:gd name="T8" fmla="*/ 1 w 165"/>
                <a:gd name="T9" fmla="*/ 2 h 324"/>
                <a:gd name="T10" fmla="*/ 1 w 165"/>
                <a:gd name="T11" fmla="*/ 4 h 324"/>
                <a:gd name="T12" fmla="*/ 1 w 165"/>
                <a:gd name="T13" fmla="*/ 5 h 324"/>
                <a:gd name="T14" fmla="*/ 1 w 165"/>
                <a:gd name="T15" fmla="*/ 5 h 324"/>
                <a:gd name="T16" fmla="*/ 1 w 165"/>
                <a:gd name="T17" fmla="*/ 5 h 324"/>
                <a:gd name="T18" fmla="*/ 2 w 165"/>
                <a:gd name="T19" fmla="*/ 6 h 324"/>
                <a:gd name="T20" fmla="*/ 3 w 165"/>
                <a:gd name="T21" fmla="*/ 6 h 324"/>
                <a:gd name="T22" fmla="*/ 3 w 165"/>
                <a:gd name="T23" fmla="*/ 7 h 324"/>
                <a:gd name="T24" fmla="*/ 3 w 165"/>
                <a:gd name="T25" fmla="*/ 6 h 324"/>
                <a:gd name="T26" fmla="*/ 3 w 165"/>
                <a:gd name="T27" fmla="*/ 6 h 324"/>
                <a:gd name="T28" fmla="*/ 3 w 165"/>
                <a:gd name="T29" fmla="*/ 5 h 324"/>
                <a:gd name="T30" fmla="*/ 2 w 165"/>
                <a:gd name="T31" fmla="*/ 5 h 324"/>
                <a:gd name="T32" fmla="*/ 1 w 165"/>
                <a:gd name="T33" fmla="*/ 5 h 324"/>
                <a:gd name="T34" fmla="*/ 1 w 165"/>
                <a:gd name="T35" fmla="*/ 5 h 324"/>
                <a:gd name="T36" fmla="*/ 2 w 165"/>
                <a:gd name="T37" fmla="*/ 4 h 324"/>
                <a:gd name="T38" fmla="*/ 2 w 165"/>
                <a:gd name="T39" fmla="*/ 3 h 324"/>
                <a:gd name="T40" fmla="*/ 2 w 165"/>
                <a:gd name="T41" fmla="*/ 3 h 324"/>
                <a:gd name="T42" fmla="*/ 3 w 165"/>
                <a:gd name="T43" fmla="*/ 3 h 324"/>
                <a:gd name="T44" fmla="*/ 3 w 165"/>
                <a:gd name="T45" fmla="*/ 4 h 324"/>
                <a:gd name="T46" fmla="*/ 3 w 165"/>
                <a:gd name="T47" fmla="*/ 3 h 324"/>
                <a:gd name="T48" fmla="*/ 4 w 165"/>
                <a:gd name="T49" fmla="*/ 3 h 324"/>
                <a:gd name="T50" fmla="*/ 5 w 165"/>
                <a:gd name="T51" fmla="*/ 3 h 324"/>
                <a:gd name="T52" fmla="*/ 6 w 165"/>
                <a:gd name="T53" fmla="*/ 3 h 324"/>
                <a:gd name="T54" fmla="*/ 5 w 165"/>
                <a:gd name="T55" fmla="*/ 2 h 324"/>
                <a:gd name="T56" fmla="*/ 4 w 165"/>
                <a:gd name="T57" fmla="*/ 2 h 324"/>
                <a:gd name="T58" fmla="*/ 4 w 165"/>
                <a:gd name="T59" fmla="*/ 1 h 324"/>
                <a:gd name="T60" fmla="*/ 3 w 165"/>
                <a:gd name="T61" fmla="*/ 1 h 324"/>
                <a:gd name="T62" fmla="*/ 3 w 165"/>
                <a:gd name="T63" fmla="*/ 1 h 324"/>
                <a:gd name="T64" fmla="*/ 3 w 165"/>
                <a:gd name="T65" fmla="*/ 1 h 324"/>
                <a:gd name="T66" fmla="*/ 2 w 165"/>
                <a:gd name="T67" fmla="*/ 0 h 324"/>
                <a:gd name="T68" fmla="*/ 1 w 165"/>
                <a:gd name="T69" fmla="*/ 0 h 324"/>
                <a:gd name="T70" fmla="*/ 1 w 165"/>
                <a:gd name="T71" fmla="*/ 0 h 3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5" h="324">
                  <a:moveTo>
                    <a:pt x="45" y="0"/>
                  </a:moveTo>
                  <a:lnTo>
                    <a:pt x="15" y="0"/>
                  </a:lnTo>
                  <a:lnTo>
                    <a:pt x="0" y="31"/>
                  </a:lnTo>
                  <a:lnTo>
                    <a:pt x="30" y="77"/>
                  </a:lnTo>
                  <a:lnTo>
                    <a:pt x="30" y="108"/>
                  </a:lnTo>
                  <a:lnTo>
                    <a:pt x="45" y="185"/>
                  </a:lnTo>
                  <a:lnTo>
                    <a:pt x="30" y="215"/>
                  </a:lnTo>
                  <a:lnTo>
                    <a:pt x="30" y="261"/>
                  </a:lnTo>
                  <a:lnTo>
                    <a:pt x="45" y="261"/>
                  </a:lnTo>
                  <a:lnTo>
                    <a:pt x="60" y="292"/>
                  </a:lnTo>
                  <a:lnTo>
                    <a:pt x="89" y="308"/>
                  </a:lnTo>
                  <a:lnTo>
                    <a:pt x="104" y="323"/>
                  </a:lnTo>
                  <a:lnTo>
                    <a:pt x="89" y="292"/>
                  </a:lnTo>
                  <a:lnTo>
                    <a:pt x="75" y="277"/>
                  </a:lnTo>
                  <a:lnTo>
                    <a:pt x="75" y="261"/>
                  </a:lnTo>
                  <a:lnTo>
                    <a:pt x="60" y="246"/>
                  </a:lnTo>
                  <a:lnTo>
                    <a:pt x="45" y="246"/>
                  </a:lnTo>
                  <a:lnTo>
                    <a:pt x="45" y="231"/>
                  </a:lnTo>
                  <a:lnTo>
                    <a:pt x="60" y="185"/>
                  </a:lnTo>
                  <a:lnTo>
                    <a:pt x="60" y="154"/>
                  </a:lnTo>
                  <a:lnTo>
                    <a:pt x="60" y="138"/>
                  </a:lnTo>
                  <a:lnTo>
                    <a:pt x="75" y="154"/>
                  </a:lnTo>
                  <a:lnTo>
                    <a:pt x="104" y="185"/>
                  </a:lnTo>
                  <a:lnTo>
                    <a:pt x="104" y="154"/>
                  </a:lnTo>
                  <a:lnTo>
                    <a:pt x="119" y="123"/>
                  </a:lnTo>
                  <a:lnTo>
                    <a:pt x="149" y="123"/>
                  </a:lnTo>
                  <a:lnTo>
                    <a:pt x="164" y="123"/>
                  </a:lnTo>
                  <a:lnTo>
                    <a:pt x="149" y="108"/>
                  </a:lnTo>
                  <a:lnTo>
                    <a:pt x="134" y="77"/>
                  </a:lnTo>
                  <a:lnTo>
                    <a:pt x="119" y="62"/>
                  </a:lnTo>
                  <a:lnTo>
                    <a:pt x="104" y="46"/>
                  </a:lnTo>
                  <a:lnTo>
                    <a:pt x="89" y="62"/>
                  </a:lnTo>
                  <a:lnTo>
                    <a:pt x="75" y="46"/>
                  </a:lnTo>
                  <a:lnTo>
                    <a:pt x="60" y="15"/>
                  </a:lnTo>
                  <a:lnTo>
                    <a:pt x="45" y="15"/>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8" name="Freeform 693"/>
            <p:cNvSpPr>
              <a:spLocks/>
            </p:cNvSpPr>
            <p:nvPr/>
          </p:nvSpPr>
          <p:spPr bwMode="auto">
            <a:xfrm>
              <a:off x="7880" y="1696"/>
              <a:ext cx="77" cy="76"/>
            </a:xfrm>
            <a:custGeom>
              <a:avLst/>
              <a:gdLst>
                <a:gd name="T0" fmla="*/ 6 w 181"/>
                <a:gd name="T1" fmla="*/ 0 h 200"/>
                <a:gd name="T2" fmla="*/ 6 w 181"/>
                <a:gd name="T3" fmla="*/ 1 h 200"/>
                <a:gd name="T4" fmla="*/ 6 w 181"/>
                <a:gd name="T5" fmla="*/ 1 h 200"/>
                <a:gd name="T6" fmla="*/ 6 w 181"/>
                <a:gd name="T7" fmla="*/ 2 h 200"/>
                <a:gd name="T8" fmla="*/ 6 w 181"/>
                <a:gd name="T9" fmla="*/ 2 h 200"/>
                <a:gd name="T10" fmla="*/ 6 w 181"/>
                <a:gd name="T11" fmla="*/ 2 h 200"/>
                <a:gd name="T12" fmla="*/ 4 w 181"/>
                <a:gd name="T13" fmla="*/ 3 h 200"/>
                <a:gd name="T14" fmla="*/ 5 w 181"/>
                <a:gd name="T15" fmla="*/ 3 h 200"/>
                <a:gd name="T16" fmla="*/ 4 w 181"/>
                <a:gd name="T17" fmla="*/ 4 h 200"/>
                <a:gd name="T18" fmla="*/ 3 w 181"/>
                <a:gd name="T19" fmla="*/ 4 h 200"/>
                <a:gd name="T20" fmla="*/ 3 w 181"/>
                <a:gd name="T21" fmla="*/ 4 h 200"/>
                <a:gd name="T22" fmla="*/ 3 w 181"/>
                <a:gd name="T23" fmla="*/ 3 h 200"/>
                <a:gd name="T24" fmla="*/ 2 w 181"/>
                <a:gd name="T25" fmla="*/ 4 h 200"/>
                <a:gd name="T26" fmla="*/ 1 w 181"/>
                <a:gd name="T27" fmla="*/ 3 h 200"/>
                <a:gd name="T28" fmla="*/ 1 w 181"/>
                <a:gd name="T29" fmla="*/ 3 h 200"/>
                <a:gd name="T30" fmla="*/ 0 w 181"/>
                <a:gd name="T31" fmla="*/ 2 h 200"/>
                <a:gd name="T32" fmla="*/ 0 w 181"/>
                <a:gd name="T33" fmla="*/ 2 h 200"/>
                <a:gd name="T34" fmla="*/ 1 w 181"/>
                <a:gd name="T35" fmla="*/ 1 h 200"/>
                <a:gd name="T36" fmla="*/ 1 w 181"/>
                <a:gd name="T37" fmla="*/ 2 h 200"/>
                <a:gd name="T38" fmla="*/ 2 w 181"/>
                <a:gd name="T39" fmla="*/ 2 h 200"/>
                <a:gd name="T40" fmla="*/ 3 w 181"/>
                <a:gd name="T41" fmla="*/ 1 h 200"/>
                <a:gd name="T42" fmla="*/ 4 w 181"/>
                <a:gd name="T43" fmla="*/ 1 h 200"/>
                <a:gd name="T44" fmla="*/ 4 w 181"/>
                <a:gd name="T45" fmla="*/ 0 h 200"/>
                <a:gd name="T46" fmla="*/ 4 w 181"/>
                <a:gd name="T47" fmla="*/ 0 h 200"/>
                <a:gd name="T48" fmla="*/ 6 w 181"/>
                <a:gd name="T49" fmla="*/ 0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81" h="200">
                  <a:moveTo>
                    <a:pt x="165" y="15"/>
                  </a:moveTo>
                  <a:lnTo>
                    <a:pt x="180" y="46"/>
                  </a:lnTo>
                  <a:lnTo>
                    <a:pt x="180" y="61"/>
                  </a:lnTo>
                  <a:lnTo>
                    <a:pt x="180" y="77"/>
                  </a:lnTo>
                  <a:lnTo>
                    <a:pt x="165" y="92"/>
                  </a:lnTo>
                  <a:lnTo>
                    <a:pt x="165" y="122"/>
                  </a:lnTo>
                  <a:lnTo>
                    <a:pt x="135" y="153"/>
                  </a:lnTo>
                  <a:lnTo>
                    <a:pt x="150" y="153"/>
                  </a:lnTo>
                  <a:lnTo>
                    <a:pt x="135" y="184"/>
                  </a:lnTo>
                  <a:lnTo>
                    <a:pt x="105" y="199"/>
                  </a:lnTo>
                  <a:lnTo>
                    <a:pt x="105" y="184"/>
                  </a:lnTo>
                  <a:lnTo>
                    <a:pt x="75" y="168"/>
                  </a:lnTo>
                  <a:lnTo>
                    <a:pt x="60" y="184"/>
                  </a:lnTo>
                  <a:lnTo>
                    <a:pt x="30" y="168"/>
                  </a:lnTo>
                  <a:lnTo>
                    <a:pt x="30" y="138"/>
                  </a:lnTo>
                  <a:lnTo>
                    <a:pt x="0" y="107"/>
                  </a:lnTo>
                  <a:lnTo>
                    <a:pt x="0" y="92"/>
                  </a:lnTo>
                  <a:lnTo>
                    <a:pt x="30" y="61"/>
                  </a:lnTo>
                  <a:lnTo>
                    <a:pt x="30" y="77"/>
                  </a:lnTo>
                  <a:lnTo>
                    <a:pt x="60" y="77"/>
                  </a:lnTo>
                  <a:lnTo>
                    <a:pt x="75" y="61"/>
                  </a:lnTo>
                  <a:lnTo>
                    <a:pt x="120" y="61"/>
                  </a:lnTo>
                  <a:lnTo>
                    <a:pt x="135" y="15"/>
                  </a:lnTo>
                  <a:lnTo>
                    <a:pt x="135" y="0"/>
                  </a:lnTo>
                  <a:lnTo>
                    <a:pt x="165"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69" name="Freeform 694"/>
            <p:cNvSpPr>
              <a:spLocks/>
            </p:cNvSpPr>
            <p:nvPr/>
          </p:nvSpPr>
          <p:spPr bwMode="auto">
            <a:xfrm>
              <a:off x="7784" y="1684"/>
              <a:ext cx="77" cy="94"/>
            </a:xfrm>
            <a:custGeom>
              <a:avLst/>
              <a:gdLst>
                <a:gd name="T0" fmla="*/ 0 w 179"/>
                <a:gd name="T1" fmla="*/ 0 h 247"/>
                <a:gd name="T2" fmla="*/ 1 w 179"/>
                <a:gd name="T3" fmla="*/ 0 h 247"/>
                <a:gd name="T4" fmla="*/ 1 w 179"/>
                <a:gd name="T5" fmla="*/ 1 h 247"/>
                <a:gd name="T6" fmla="*/ 3 w 179"/>
                <a:gd name="T7" fmla="*/ 1 h 247"/>
                <a:gd name="T8" fmla="*/ 3 w 179"/>
                <a:gd name="T9" fmla="*/ 2 h 247"/>
                <a:gd name="T10" fmla="*/ 5 w 179"/>
                <a:gd name="T11" fmla="*/ 2 h 247"/>
                <a:gd name="T12" fmla="*/ 5 w 179"/>
                <a:gd name="T13" fmla="*/ 3 h 247"/>
                <a:gd name="T14" fmla="*/ 5 w 179"/>
                <a:gd name="T15" fmla="*/ 3 h 247"/>
                <a:gd name="T16" fmla="*/ 6 w 179"/>
                <a:gd name="T17" fmla="*/ 4 h 247"/>
                <a:gd name="T18" fmla="*/ 6 w 179"/>
                <a:gd name="T19" fmla="*/ 5 h 247"/>
                <a:gd name="T20" fmla="*/ 5 w 179"/>
                <a:gd name="T21" fmla="*/ 5 h 247"/>
                <a:gd name="T22" fmla="*/ 3 w 179"/>
                <a:gd name="T23" fmla="*/ 4 h 247"/>
                <a:gd name="T24" fmla="*/ 3 w 179"/>
                <a:gd name="T25" fmla="*/ 3 h 247"/>
                <a:gd name="T26" fmla="*/ 2 w 179"/>
                <a:gd name="T27" fmla="*/ 2 h 247"/>
                <a:gd name="T28" fmla="*/ 2 w 179"/>
                <a:gd name="T29" fmla="*/ 2 h 247"/>
                <a:gd name="T30" fmla="*/ 0 w 179"/>
                <a:gd name="T31" fmla="*/ 1 h 247"/>
                <a:gd name="T32" fmla="*/ 0 w 179"/>
                <a:gd name="T33" fmla="*/ 0 h 247"/>
                <a:gd name="T34" fmla="*/ 0 w 179"/>
                <a:gd name="T35" fmla="*/ 0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9" h="247">
                  <a:moveTo>
                    <a:pt x="0" y="0"/>
                  </a:moveTo>
                  <a:lnTo>
                    <a:pt x="30" y="0"/>
                  </a:lnTo>
                  <a:lnTo>
                    <a:pt x="45" y="31"/>
                  </a:lnTo>
                  <a:lnTo>
                    <a:pt x="74" y="46"/>
                  </a:lnTo>
                  <a:lnTo>
                    <a:pt x="89" y="77"/>
                  </a:lnTo>
                  <a:lnTo>
                    <a:pt x="134" y="108"/>
                  </a:lnTo>
                  <a:lnTo>
                    <a:pt x="134" y="138"/>
                  </a:lnTo>
                  <a:lnTo>
                    <a:pt x="148" y="154"/>
                  </a:lnTo>
                  <a:lnTo>
                    <a:pt x="178" y="185"/>
                  </a:lnTo>
                  <a:lnTo>
                    <a:pt x="163" y="246"/>
                  </a:lnTo>
                  <a:lnTo>
                    <a:pt x="148" y="246"/>
                  </a:lnTo>
                  <a:lnTo>
                    <a:pt x="104" y="200"/>
                  </a:lnTo>
                  <a:lnTo>
                    <a:pt x="89" y="154"/>
                  </a:lnTo>
                  <a:lnTo>
                    <a:pt x="59" y="108"/>
                  </a:lnTo>
                  <a:lnTo>
                    <a:pt x="59" y="92"/>
                  </a:lnTo>
                  <a:lnTo>
                    <a:pt x="15" y="46"/>
                  </a:lnTo>
                  <a:lnTo>
                    <a:pt x="0" y="15"/>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0" name="Freeform 695"/>
            <p:cNvSpPr>
              <a:spLocks/>
            </p:cNvSpPr>
            <p:nvPr/>
          </p:nvSpPr>
          <p:spPr bwMode="auto">
            <a:xfrm>
              <a:off x="8059" y="1737"/>
              <a:ext cx="77" cy="76"/>
            </a:xfrm>
            <a:custGeom>
              <a:avLst/>
              <a:gdLst>
                <a:gd name="T0" fmla="*/ 6 w 180"/>
                <a:gd name="T1" fmla="*/ 1 h 201"/>
                <a:gd name="T2" fmla="*/ 6 w 180"/>
                <a:gd name="T3" fmla="*/ 4 h 201"/>
                <a:gd name="T4" fmla="*/ 4 w 180"/>
                <a:gd name="T5" fmla="*/ 4 h 201"/>
                <a:gd name="T6" fmla="*/ 4 w 180"/>
                <a:gd name="T7" fmla="*/ 3 h 201"/>
                <a:gd name="T8" fmla="*/ 1 w 180"/>
                <a:gd name="T9" fmla="*/ 1 h 201"/>
                <a:gd name="T10" fmla="*/ 1 w 180"/>
                <a:gd name="T11" fmla="*/ 2 h 201"/>
                <a:gd name="T12" fmla="*/ 0 w 180"/>
                <a:gd name="T13" fmla="*/ 1 h 201"/>
                <a:gd name="T14" fmla="*/ 1 w 180"/>
                <a:gd name="T15" fmla="*/ 1 h 201"/>
                <a:gd name="T16" fmla="*/ 0 w 180"/>
                <a:gd name="T17" fmla="*/ 0 h 201"/>
                <a:gd name="T18" fmla="*/ 0 w 180"/>
                <a:gd name="T19" fmla="*/ 0 h 201"/>
                <a:gd name="T20" fmla="*/ 1 w 180"/>
                <a:gd name="T21" fmla="*/ 0 h 201"/>
                <a:gd name="T22" fmla="*/ 1 w 180"/>
                <a:gd name="T23" fmla="*/ 0 h 201"/>
                <a:gd name="T24" fmla="*/ 2 w 180"/>
                <a:gd name="T25" fmla="*/ 1 h 201"/>
                <a:gd name="T26" fmla="*/ 3 w 180"/>
                <a:gd name="T27" fmla="*/ 1 h 201"/>
                <a:gd name="T28" fmla="*/ 3 w 180"/>
                <a:gd name="T29" fmla="*/ 1 h 201"/>
                <a:gd name="T30" fmla="*/ 4 w 180"/>
                <a:gd name="T31" fmla="*/ 1 h 201"/>
                <a:gd name="T32" fmla="*/ 6 w 180"/>
                <a:gd name="T33" fmla="*/ 1 h 2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0" h="201">
                  <a:moveTo>
                    <a:pt x="179" y="46"/>
                  </a:moveTo>
                  <a:lnTo>
                    <a:pt x="179" y="200"/>
                  </a:lnTo>
                  <a:lnTo>
                    <a:pt x="134" y="185"/>
                  </a:lnTo>
                  <a:lnTo>
                    <a:pt x="119" y="123"/>
                  </a:lnTo>
                  <a:lnTo>
                    <a:pt x="45" y="62"/>
                  </a:lnTo>
                  <a:lnTo>
                    <a:pt x="30" y="77"/>
                  </a:lnTo>
                  <a:lnTo>
                    <a:pt x="15" y="46"/>
                  </a:lnTo>
                  <a:lnTo>
                    <a:pt x="30" y="46"/>
                  </a:lnTo>
                  <a:lnTo>
                    <a:pt x="0" y="15"/>
                  </a:lnTo>
                  <a:lnTo>
                    <a:pt x="0" y="0"/>
                  </a:lnTo>
                  <a:lnTo>
                    <a:pt x="30" y="0"/>
                  </a:lnTo>
                  <a:lnTo>
                    <a:pt x="45" y="15"/>
                  </a:lnTo>
                  <a:lnTo>
                    <a:pt x="60" y="46"/>
                  </a:lnTo>
                  <a:lnTo>
                    <a:pt x="75" y="62"/>
                  </a:lnTo>
                  <a:lnTo>
                    <a:pt x="90" y="46"/>
                  </a:lnTo>
                  <a:lnTo>
                    <a:pt x="119" y="31"/>
                  </a:lnTo>
                  <a:lnTo>
                    <a:pt x="179" y="4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1" name="Freeform 696"/>
            <p:cNvSpPr>
              <a:spLocks/>
            </p:cNvSpPr>
            <p:nvPr/>
          </p:nvSpPr>
          <p:spPr bwMode="auto">
            <a:xfrm>
              <a:off x="7963" y="1720"/>
              <a:ext cx="46" cy="58"/>
            </a:xfrm>
            <a:custGeom>
              <a:avLst/>
              <a:gdLst>
                <a:gd name="T0" fmla="*/ 4 w 106"/>
                <a:gd name="T1" fmla="*/ 0 h 155"/>
                <a:gd name="T2" fmla="*/ 3 w 106"/>
                <a:gd name="T3" fmla="*/ 0 h 155"/>
                <a:gd name="T4" fmla="*/ 1 w 106"/>
                <a:gd name="T5" fmla="*/ 0 h 155"/>
                <a:gd name="T6" fmla="*/ 1 w 106"/>
                <a:gd name="T7" fmla="*/ 1 h 155"/>
                <a:gd name="T8" fmla="*/ 2 w 106"/>
                <a:gd name="T9" fmla="*/ 1 h 155"/>
                <a:gd name="T10" fmla="*/ 2 w 106"/>
                <a:gd name="T11" fmla="*/ 1 h 155"/>
                <a:gd name="T12" fmla="*/ 2 w 106"/>
                <a:gd name="T13" fmla="*/ 1 h 155"/>
                <a:gd name="T14" fmla="*/ 2 w 106"/>
                <a:gd name="T15" fmla="*/ 1 h 155"/>
                <a:gd name="T16" fmla="*/ 2 w 106"/>
                <a:gd name="T17" fmla="*/ 2 h 155"/>
                <a:gd name="T18" fmla="*/ 2 w 106"/>
                <a:gd name="T19" fmla="*/ 3 h 155"/>
                <a:gd name="T20" fmla="*/ 2 w 106"/>
                <a:gd name="T21" fmla="*/ 2 h 155"/>
                <a:gd name="T22" fmla="*/ 1 w 106"/>
                <a:gd name="T23" fmla="*/ 2 h 155"/>
                <a:gd name="T24" fmla="*/ 1 w 106"/>
                <a:gd name="T25" fmla="*/ 3 h 155"/>
                <a:gd name="T26" fmla="*/ 0 w 106"/>
                <a:gd name="T27" fmla="*/ 3 h 155"/>
                <a:gd name="T28" fmla="*/ 0 w 106"/>
                <a:gd name="T29" fmla="*/ 2 h 155"/>
                <a:gd name="T30" fmla="*/ 0 w 106"/>
                <a:gd name="T31" fmla="*/ 2 h 155"/>
                <a:gd name="T32" fmla="*/ 0 w 106"/>
                <a:gd name="T33" fmla="*/ 1 h 155"/>
                <a:gd name="T34" fmla="*/ 0 w 106"/>
                <a:gd name="T35" fmla="*/ 0 h 155"/>
                <a:gd name="T36" fmla="*/ 1 w 106"/>
                <a:gd name="T37" fmla="*/ 0 h 155"/>
                <a:gd name="T38" fmla="*/ 3 w 106"/>
                <a:gd name="T39" fmla="*/ 0 h 155"/>
                <a:gd name="T40" fmla="*/ 4 w 106"/>
                <a:gd name="T41" fmla="*/ 0 h 15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6" h="155">
                  <a:moveTo>
                    <a:pt x="105" y="0"/>
                  </a:moveTo>
                  <a:lnTo>
                    <a:pt x="90" y="15"/>
                  </a:lnTo>
                  <a:lnTo>
                    <a:pt x="30" y="15"/>
                  </a:lnTo>
                  <a:lnTo>
                    <a:pt x="30" y="62"/>
                  </a:lnTo>
                  <a:lnTo>
                    <a:pt x="45" y="46"/>
                  </a:lnTo>
                  <a:lnTo>
                    <a:pt x="60" y="46"/>
                  </a:lnTo>
                  <a:lnTo>
                    <a:pt x="45" y="77"/>
                  </a:lnTo>
                  <a:lnTo>
                    <a:pt x="60" y="77"/>
                  </a:lnTo>
                  <a:lnTo>
                    <a:pt x="60" y="123"/>
                  </a:lnTo>
                  <a:lnTo>
                    <a:pt x="45" y="139"/>
                  </a:lnTo>
                  <a:lnTo>
                    <a:pt x="45" y="92"/>
                  </a:lnTo>
                  <a:lnTo>
                    <a:pt x="30" y="92"/>
                  </a:lnTo>
                  <a:lnTo>
                    <a:pt x="30" y="154"/>
                  </a:lnTo>
                  <a:lnTo>
                    <a:pt x="0" y="154"/>
                  </a:lnTo>
                  <a:lnTo>
                    <a:pt x="15" y="108"/>
                  </a:lnTo>
                  <a:lnTo>
                    <a:pt x="0" y="108"/>
                  </a:lnTo>
                  <a:lnTo>
                    <a:pt x="15" y="46"/>
                  </a:lnTo>
                  <a:lnTo>
                    <a:pt x="15" y="15"/>
                  </a:lnTo>
                  <a:lnTo>
                    <a:pt x="30" y="0"/>
                  </a:lnTo>
                  <a:lnTo>
                    <a:pt x="75" y="0"/>
                  </a:lnTo>
                  <a:lnTo>
                    <a:pt x="10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2" name="Freeform 697"/>
            <p:cNvSpPr>
              <a:spLocks/>
            </p:cNvSpPr>
            <p:nvPr/>
          </p:nvSpPr>
          <p:spPr bwMode="auto">
            <a:xfrm>
              <a:off x="7860" y="1778"/>
              <a:ext cx="65" cy="29"/>
            </a:xfrm>
            <a:custGeom>
              <a:avLst/>
              <a:gdLst>
                <a:gd name="T0" fmla="*/ 0 w 152"/>
                <a:gd name="T1" fmla="*/ 1 h 77"/>
                <a:gd name="T2" fmla="*/ 0 w 152"/>
                <a:gd name="T3" fmla="*/ 0 h 77"/>
                <a:gd name="T4" fmla="*/ 2 w 152"/>
                <a:gd name="T5" fmla="*/ 0 h 77"/>
                <a:gd name="T6" fmla="*/ 3 w 152"/>
                <a:gd name="T7" fmla="*/ 1 h 77"/>
                <a:gd name="T8" fmla="*/ 3 w 152"/>
                <a:gd name="T9" fmla="*/ 0 h 77"/>
                <a:gd name="T10" fmla="*/ 4 w 152"/>
                <a:gd name="T11" fmla="*/ 1 h 77"/>
                <a:gd name="T12" fmla="*/ 5 w 152"/>
                <a:gd name="T13" fmla="*/ 1 h 77"/>
                <a:gd name="T14" fmla="*/ 5 w 152"/>
                <a:gd name="T15" fmla="*/ 1 h 77"/>
                <a:gd name="T16" fmla="*/ 5 w 152"/>
                <a:gd name="T17" fmla="*/ 2 h 77"/>
                <a:gd name="T18" fmla="*/ 3 w 152"/>
                <a:gd name="T19" fmla="*/ 1 h 77"/>
                <a:gd name="T20" fmla="*/ 3 w 152"/>
                <a:gd name="T21" fmla="*/ 1 h 77"/>
                <a:gd name="T22" fmla="*/ 2 w 152"/>
                <a:gd name="T23" fmla="*/ 1 h 77"/>
                <a:gd name="T24" fmla="*/ 0 w 152"/>
                <a:gd name="T25" fmla="*/ 1 h 77"/>
                <a:gd name="T26" fmla="*/ 0 w 152"/>
                <a:gd name="T27" fmla="*/ 1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2" h="77">
                  <a:moveTo>
                    <a:pt x="0" y="30"/>
                  </a:moveTo>
                  <a:lnTo>
                    <a:pt x="15" y="0"/>
                  </a:lnTo>
                  <a:lnTo>
                    <a:pt x="60" y="15"/>
                  </a:lnTo>
                  <a:lnTo>
                    <a:pt x="76" y="30"/>
                  </a:lnTo>
                  <a:lnTo>
                    <a:pt x="91" y="15"/>
                  </a:lnTo>
                  <a:lnTo>
                    <a:pt x="121" y="30"/>
                  </a:lnTo>
                  <a:lnTo>
                    <a:pt x="136" y="30"/>
                  </a:lnTo>
                  <a:lnTo>
                    <a:pt x="151" y="46"/>
                  </a:lnTo>
                  <a:lnTo>
                    <a:pt x="151" y="76"/>
                  </a:lnTo>
                  <a:lnTo>
                    <a:pt x="91" y="61"/>
                  </a:lnTo>
                  <a:lnTo>
                    <a:pt x="76" y="46"/>
                  </a:lnTo>
                  <a:lnTo>
                    <a:pt x="60" y="61"/>
                  </a:lnTo>
                  <a:lnTo>
                    <a:pt x="15" y="30"/>
                  </a:lnTo>
                  <a:lnTo>
                    <a:pt x="0" y="3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3" name="Freeform 698"/>
            <p:cNvSpPr>
              <a:spLocks/>
            </p:cNvSpPr>
            <p:nvPr/>
          </p:nvSpPr>
          <p:spPr bwMode="auto">
            <a:xfrm>
              <a:off x="8020" y="1708"/>
              <a:ext cx="20" cy="29"/>
            </a:xfrm>
            <a:custGeom>
              <a:avLst/>
              <a:gdLst>
                <a:gd name="T0" fmla="*/ 1 w 45"/>
                <a:gd name="T1" fmla="*/ 2 h 77"/>
                <a:gd name="T2" fmla="*/ 0 w 45"/>
                <a:gd name="T3" fmla="*/ 0 h 77"/>
                <a:gd name="T4" fmla="*/ 0 w 45"/>
                <a:gd name="T5" fmla="*/ 0 h 77"/>
                <a:gd name="T6" fmla="*/ 2 w 45"/>
                <a:gd name="T7" fmla="*/ 2 h 77"/>
                <a:gd name="T8" fmla="*/ 1 w 45"/>
                <a:gd name="T9" fmla="*/ 2 h 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77">
                  <a:moveTo>
                    <a:pt x="29" y="76"/>
                  </a:moveTo>
                  <a:lnTo>
                    <a:pt x="0" y="15"/>
                  </a:lnTo>
                  <a:lnTo>
                    <a:pt x="15" y="0"/>
                  </a:lnTo>
                  <a:lnTo>
                    <a:pt x="44" y="76"/>
                  </a:lnTo>
                  <a:lnTo>
                    <a:pt x="29" y="7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4" name="Freeform 699"/>
            <p:cNvSpPr>
              <a:spLocks/>
            </p:cNvSpPr>
            <p:nvPr/>
          </p:nvSpPr>
          <p:spPr bwMode="auto">
            <a:xfrm>
              <a:off x="7970" y="1800"/>
              <a:ext cx="19" cy="7"/>
            </a:xfrm>
            <a:custGeom>
              <a:avLst/>
              <a:gdLst>
                <a:gd name="T0" fmla="*/ 0 w 45"/>
                <a:gd name="T1" fmla="*/ 0 h 17"/>
                <a:gd name="T2" fmla="*/ 1 w 45"/>
                <a:gd name="T3" fmla="*/ 0 h 17"/>
                <a:gd name="T4" fmla="*/ 1 w 45"/>
                <a:gd name="T5" fmla="*/ 0 h 17"/>
                <a:gd name="T6" fmla="*/ 0 w 45"/>
                <a:gd name="T7" fmla="*/ 0 h 17"/>
                <a:gd name="T8" fmla="*/ 0 w 45"/>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17">
                  <a:moveTo>
                    <a:pt x="0" y="0"/>
                  </a:moveTo>
                  <a:lnTo>
                    <a:pt x="44" y="0"/>
                  </a:lnTo>
                  <a:lnTo>
                    <a:pt x="44" y="16"/>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5" name="Freeform 700"/>
            <p:cNvSpPr>
              <a:spLocks/>
            </p:cNvSpPr>
            <p:nvPr/>
          </p:nvSpPr>
          <p:spPr bwMode="auto">
            <a:xfrm>
              <a:off x="7996" y="1806"/>
              <a:ext cx="25" cy="13"/>
            </a:xfrm>
            <a:custGeom>
              <a:avLst/>
              <a:gdLst>
                <a:gd name="T0" fmla="*/ 0 w 60"/>
                <a:gd name="T1" fmla="*/ 1 h 32"/>
                <a:gd name="T2" fmla="*/ 0 w 60"/>
                <a:gd name="T3" fmla="*/ 0 h 32"/>
                <a:gd name="T4" fmla="*/ 0 w 60"/>
                <a:gd name="T5" fmla="*/ 0 h 32"/>
                <a:gd name="T6" fmla="*/ 2 w 60"/>
                <a:gd name="T7" fmla="*/ 0 h 32"/>
                <a:gd name="T8" fmla="*/ 1 w 60"/>
                <a:gd name="T9" fmla="*/ 0 h 32"/>
                <a:gd name="T10" fmla="*/ 0 w 60"/>
                <a:gd name="T11" fmla="*/ 1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 h="32">
                  <a:moveTo>
                    <a:pt x="0" y="31"/>
                  </a:moveTo>
                  <a:lnTo>
                    <a:pt x="0" y="16"/>
                  </a:lnTo>
                  <a:lnTo>
                    <a:pt x="15" y="0"/>
                  </a:lnTo>
                  <a:lnTo>
                    <a:pt x="59" y="0"/>
                  </a:lnTo>
                  <a:lnTo>
                    <a:pt x="30" y="16"/>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6" name="Freeform 701"/>
            <p:cNvSpPr>
              <a:spLocks/>
            </p:cNvSpPr>
            <p:nvPr/>
          </p:nvSpPr>
          <p:spPr bwMode="auto">
            <a:xfrm>
              <a:off x="8027" y="1754"/>
              <a:ext cx="26" cy="12"/>
            </a:xfrm>
            <a:custGeom>
              <a:avLst/>
              <a:gdLst>
                <a:gd name="T0" fmla="*/ 0 w 60"/>
                <a:gd name="T1" fmla="*/ 0 h 32"/>
                <a:gd name="T2" fmla="*/ 0 w 60"/>
                <a:gd name="T3" fmla="*/ 1 h 32"/>
                <a:gd name="T4" fmla="*/ 1 w 60"/>
                <a:gd name="T5" fmla="*/ 0 h 32"/>
                <a:gd name="T6" fmla="*/ 2 w 60"/>
                <a:gd name="T7" fmla="*/ 0 h 32"/>
                <a:gd name="T8" fmla="*/ 2 w 60"/>
                <a:gd name="T9" fmla="*/ 0 h 32"/>
                <a:gd name="T10" fmla="*/ 0 w 60"/>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 h="32">
                  <a:moveTo>
                    <a:pt x="0" y="16"/>
                  </a:moveTo>
                  <a:lnTo>
                    <a:pt x="15" y="31"/>
                  </a:lnTo>
                  <a:lnTo>
                    <a:pt x="30" y="16"/>
                  </a:lnTo>
                  <a:lnTo>
                    <a:pt x="59" y="16"/>
                  </a:lnTo>
                  <a:lnTo>
                    <a:pt x="59" y="0"/>
                  </a:lnTo>
                  <a:lnTo>
                    <a:pt x="0" y="16"/>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7" name="Freeform 702"/>
            <p:cNvSpPr>
              <a:spLocks/>
            </p:cNvSpPr>
            <p:nvPr/>
          </p:nvSpPr>
          <p:spPr bwMode="auto">
            <a:xfrm>
              <a:off x="7937" y="1796"/>
              <a:ext cx="20" cy="11"/>
            </a:xfrm>
            <a:custGeom>
              <a:avLst/>
              <a:gdLst>
                <a:gd name="T0" fmla="*/ 0 w 46"/>
                <a:gd name="T1" fmla="*/ 0 h 31"/>
                <a:gd name="T2" fmla="*/ 0 w 46"/>
                <a:gd name="T3" fmla="*/ 0 h 31"/>
                <a:gd name="T4" fmla="*/ 2 w 46"/>
                <a:gd name="T5" fmla="*/ 0 h 31"/>
                <a:gd name="T6" fmla="*/ 0 w 46"/>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 h="31">
                  <a:moveTo>
                    <a:pt x="0" y="0"/>
                  </a:moveTo>
                  <a:lnTo>
                    <a:pt x="0" y="30"/>
                  </a:lnTo>
                  <a:lnTo>
                    <a:pt x="45" y="3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8" name="Freeform 703"/>
            <p:cNvSpPr>
              <a:spLocks/>
            </p:cNvSpPr>
            <p:nvPr/>
          </p:nvSpPr>
          <p:spPr bwMode="auto">
            <a:xfrm>
              <a:off x="7963" y="1812"/>
              <a:ext cx="13" cy="7"/>
            </a:xfrm>
            <a:custGeom>
              <a:avLst/>
              <a:gdLst>
                <a:gd name="T0" fmla="*/ 0 w 32"/>
                <a:gd name="T1" fmla="*/ 0 h 17"/>
                <a:gd name="T2" fmla="*/ 1 w 32"/>
                <a:gd name="T3" fmla="*/ 0 h 17"/>
                <a:gd name="T4" fmla="*/ 1 w 32"/>
                <a:gd name="T5" fmla="*/ 0 h 17"/>
                <a:gd name="T6" fmla="*/ 0 w 32"/>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17">
                  <a:moveTo>
                    <a:pt x="0" y="0"/>
                  </a:moveTo>
                  <a:lnTo>
                    <a:pt x="31" y="0"/>
                  </a:lnTo>
                  <a:lnTo>
                    <a:pt x="31"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79" name="Freeform 704"/>
            <p:cNvSpPr>
              <a:spLocks/>
            </p:cNvSpPr>
            <p:nvPr/>
          </p:nvSpPr>
          <p:spPr bwMode="auto">
            <a:xfrm>
              <a:off x="8104" y="1796"/>
              <a:ext cx="14" cy="11"/>
            </a:xfrm>
            <a:custGeom>
              <a:avLst/>
              <a:gdLst>
                <a:gd name="T0" fmla="*/ 0 w 32"/>
                <a:gd name="T1" fmla="*/ 0 h 31"/>
                <a:gd name="T2" fmla="*/ 1 w 32"/>
                <a:gd name="T3" fmla="*/ 0 h 31"/>
                <a:gd name="T4" fmla="*/ 0 w 32"/>
                <a:gd name="T5" fmla="*/ 0 h 31"/>
                <a:gd name="T6" fmla="*/ 0 w 32"/>
                <a:gd name="T7" fmla="*/ 0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31">
                  <a:moveTo>
                    <a:pt x="0" y="0"/>
                  </a:moveTo>
                  <a:lnTo>
                    <a:pt x="31" y="30"/>
                  </a:lnTo>
                  <a:lnTo>
                    <a:pt x="16" y="3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80" name="Freeform 705"/>
            <p:cNvSpPr>
              <a:spLocks/>
            </p:cNvSpPr>
            <p:nvPr/>
          </p:nvSpPr>
          <p:spPr bwMode="auto">
            <a:xfrm>
              <a:off x="8008" y="1760"/>
              <a:ext cx="13" cy="7"/>
            </a:xfrm>
            <a:custGeom>
              <a:avLst/>
              <a:gdLst>
                <a:gd name="T0" fmla="*/ 0 w 31"/>
                <a:gd name="T1" fmla="*/ 0 h 17"/>
                <a:gd name="T2" fmla="*/ 1 w 31"/>
                <a:gd name="T3" fmla="*/ 0 h 17"/>
                <a:gd name="T4" fmla="*/ 0 w 31"/>
                <a:gd name="T5" fmla="*/ 0 h 17"/>
                <a:gd name="T6" fmla="*/ 0 w 31"/>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17">
                  <a:moveTo>
                    <a:pt x="0" y="0"/>
                  </a:moveTo>
                  <a:lnTo>
                    <a:pt x="30" y="0"/>
                  </a:lnTo>
                  <a:lnTo>
                    <a:pt x="15"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81" name="Line 706"/>
            <p:cNvSpPr>
              <a:spLocks noChangeShapeType="1"/>
            </p:cNvSpPr>
            <p:nvPr/>
          </p:nvSpPr>
          <p:spPr bwMode="auto">
            <a:xfrm>
              <a:off x="7860" y="1743"/>
              <a:ext cx="7" cy="11"/>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82" name="Oval 707"/>
            <p:cNvSpPr>
              <a:spLocks noChangeArrowheads="1"/>
            </p:cNvSpPr>
            <p:nvPr/>
          </p:nvSpPr>
          <p:spPr bwMode="auto">
            <a:xfrm>
              <a:off x="7835" y="1708"/>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083" name="Oval 708"/>
            <p:cNvSpPr>
              <a:spLocks noChangeArrowheads="1"/>
            </p:cNvSpPr>
            <p:nvPr/>
          </p:nvSpPr>
          <p:spPr bwMode="auto">
            <a:xfrm>
              <a:off x="7925" y="1684"/>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084" name="Oval 709"/>
            <p:cNvSpPr>
              <a:spLocks noChangeArrowheads="1"/>
            </p:cNvSpPr>
            <p:nvPr/>
          </p:nvSpPr>
          <p:spPr bwMode="auto">
            <a:xfrm>
              <a:off x="7611" y="1690"/>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085" name="Freeform 710"/>
            <p:cNvSpPr>
              <a:spLocks/>
            </p:cNvSpPr>
            <p:nvPr/>
          </p:nvSpPr>
          <p:spPr bwMode="auto">
            <a:xfrm>
              <a:off x="7963" y="1563"/>
              <a:ext cx="33" cy="53"/>
            </a:xfrm>
            <a:custGeom>
              <a:avLst/>
              <a:gdLst>
                <a:gd name="T0" fmla="*/ 1 w 77"/>
                <a:gd name="T1" fmla="*/ 0 h 140"/>
                <a:gd name="T2" fmla="*/ 0 w 77"/>
                <a:gd name="T3" fmla="*/ 0 h 140"/>
                <a:gd name="T4" fmla="*/ 0 w 77"/>
                <a:gd name="T5" fmla="*/ 1 h 140"/>
                <a:gd name="T6" fmla="*/ 0 w 77"/>
                <a:gd name="T7" fmla="*/ 2 h 140"/>
                <a:gd name="T8" fmla="*/ 0 w 77"/>
                <a:gd name="T9" fmla="*/ 1 h 140"/>
                <a:gd name="T10" fmla="*/ 0 w 77"/>
                <a:gd name="T11" fmla="*/ 2 h 140"/>
                <a:gd name="T12" fmla="*/ 0 w 77"/>
                <a:gd name="T13" fmla="*/ 2 h 140"/>
                <a:gd name="T14" fmla="*/ 1 w 77"/>
                <a:gd name="T15" fmla="*/ 2 h 140"/>
                <a:gd name="T16" fmla="*/ 1 w 77"/>
                <a:gd name="T17" fmla="*/ 3 h 140"/>
                <a:gd name="T18" fmla="*/ 2 w 77"/>
                <a:gd name="T19" fmla="*/ 3 h 140"/>
                <a:gd name="T20" fmla="*/ 3 w 77"/>
                <a:gd name="T21" fmla="*/ 3 h 140"/>
                <a:gd name="T22" fmla="*/ 3 w 77"/>
                <a:gd name="T23" fmla="*/ 2 h 140"/>
                <a:gd name="T24" fmla="*/ 2 w 77"/>
                <a:gd name="T25" fmla="*/ 2 h 140"/>
                <a:gd name="T26" fmla="*/ 1 w 77"/>
                <a:gd name="T27" fmla="*/ 2 h 140"/>
                <a:gd name="T28" fmla="*/ 2 w 77"/>
                <a:gd name="T29" fmla="*/ 1 h 140"/>
                <a:gd name="T30" fmla="*/ 1 w 77"/>
                <a:gd name="T31" fmla="*/ 1 h 140"/>
                <a:gd name="T32" fmla="*/ 1 w 77"/>
                <a:gd name="T33" fmla="*/ 0 h 1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7" h="140">
                  <a:moveTo>
                    <a:pt x="30" y="15"/>
                  </a:moveTo>
                  <a:lnTo>
                    <a:pt x="15" y="0"/>
                  </a:lnTo>
                  <a:lnTo>
                    <a:pt x="0" y="46"/>
                  </a:lnTo>
                  <a:lnTo>
                    <a:pt x="0" y="77"/>
                  </a:lnTo>
                  <a:lnTo>
                    <a:pt x="0" y="62"/>
                  </a:lnTo>
                  <a:lnTo>
                    <a:pt x="0" y="93"/>
                  </a:lnTo>
                  <a:lnTo>
                    <a:pt x="0" y="108"/>
                  </a:lnTo>
                  <a:lnTo>
                    <a:pt x="30" y="108"/>
                  </a:lnTo>
                  <a:lnTo>
                    <a:pt x="30" y="124"/>
                  </a:lnTo>
                  <a:lnTo>
                    <a:pt x="61" y="124"/>
                  </a:lnTo>
                  <a:lnTo>
                    <a:pt x="76" y="139"/>
                  </a:lnTo>
                  <a:lnTo>
                    <a:pt x="76" y="108"/>
                  </a:lnTo>
                  <a:lnTo>
                    <a:pt x="46" y="108"/>
                  </a:lnTo>
                  <a:lnTo>
                    <a:pt x="30" y="77"/>
                  </a:lnTo>
                  <a:lnTo>
                    <a:pt x="46" y="46"/>
                  </a:lnTo>
                  <a:lnTo>
                    <a:pt x="30" y="31"/>
                  </a:lnTo>
                  <a:lnTo>
                    <a:pt x="30" y="15"/>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86" name="Freeform 711"/>
            <p:cNvSpPr>
              <a:spLocks/>
            </p:cNvSpPr>
            <p:nvPr/>
          </p:nvSpPr>
          <p:spPr bwMode="auto">
            <a:xfrm>
              <a:off x="7982" y="1644"/>
              <a:ext cx="39" cy="30"/>
            </a:xfrm>
            <a:custGeom>
              <a:avLst/>
              <a:gdLst>
                <a:gd name="T0" fmla="*/ 2 w 91"/>
                <a:gd name="T1" fmla="*/ 0 h 77"/>
                <a:gd name="T2" fmla="*/ 1 w 91"/>
                <a:gd name="T3" fmla="*/ 1 h 77"/>
                <a:gd name="T4" fmla="*/ 0 w 91"/>
                <a:gd name="T5" fmla="*/ 1 h 77"/>
                <a:gd name="T6" fmla="*/ 0 w 91"/>
                <a:gd name="T7" fmla="*/ 2 h 77"/>
                <a:gd name="T8" fmla="*/ 1 w 91"/>
                <a:gd name="T9" fmla="*/ 1 h 77"/>
                <a:gd name="T10" fmla="*/ 1 w 91"/>
                <a:gd name="T11" fmla="*/ 1 h 77"/>
                <a:gd name="T12" fmla="*/ 1 w 91"/>
                <a:gd name="T13" fmla="*/ 2 h 77"/>
                <a:gd name="T14" fmla="*/ 3 w 91"/>
                <a:gd name="T15" fmla="*/ 2 h 77"/>
                <a:gd name="T16" fmla="*/ 3 w 91"/>
                <a:gd name="T17" fmla="*/ 2 h 77"/>
                <a:gd name="T18" fmla="*/ 3 w 91"/>
                <a:gd name="T19" fmla="*/ 2 h 77"/>
                <a:gd name="T20" fmla="*/ 3 w 91"/>
                <a:gd name="T21" fmla="*/ 2 h 77"/>
                <a:gd name="T22" fmla="*/ 3 w 91"/>
                <a:gd name="T23" fmla="*/ 0 h 77"/>
                <a:gd name="T24" fmla="*/ 2 w 91"/>
                <a:gd name="T25" fmla="*/ 0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77">
                  <a:moveTo>
                    <a:pt x="60" y="0"/>
                  </a:moveTo>
                  <a:lnTo>
                    <a:pt x="45" y="30"/>
                  </a:lnTo>
                  <a:lnTo>
                    <a:pt x="15" y="30"/>
                  </a:lnTo>
                  <a:lnTo>
                    <a:pt x="0" y="61"/>
                  </a:lnTo>
                  <a:lnTo>
                    <a:pt x="30" y="46"/>
                  </a:lnTo>
                  <a:lnTo>
                    <a:pt x="45" y="46"/>
                  </a:lnTo>
                  <a:lnTo>
                    <a:pt x="45" y="76"/>
                  </a:lnTo>
                  <a:lnTo>
                    <a:pt x="75" y="76"/>
                  </a:lnTo>
                  <a:lnTo>
                    <a:pt x="75" y="61"/>
                  </a:lnTo>
                  <a:lnTo>
                    <a:pt x="90" y="76"/>
                  </a:lnTo>
                  <a:lnTo>
                    <a:pt x="90" y="61"/>
                  </a:lnTo>
                  <a:lnTo>
                    <a:pt x="75" y="15"/>
                  </a:lnTo>
                  <a:lnTo>
                    <a:pt x="6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87" name="Freeform 712"/>
            <p:cNvSpPr>
              <a:spLocks/>
            </p:cNvSpPr>
            <p:nvPr/>
          </p:nvSpPr>
          <p:spPr bwMode="auto">
            <a:xfrm>
              <a:off x="7950" y="1633"/>
              <a:ext cx="13" cy="29"/>
            </a:xfrm>
            <a:custGeom>
              <a:avLst/>
              <a:gdLst>
                <a:gd name="T0" fmla="*/ 1 w 30"/>
                <a:gd name="T1" fmla="*/ 0 h 78"/>
                <a:gd name="T2" fmla="*/ 0 w 30"/>
                <a:gd name="T3" fmla="*/ 0 h 78"/>
                <a:gd name="T4" fmla="*/ 0 w 30"/>
                <a:gd name="T5" fmla="*/ 1 h 78"/>
                <a:gd name="T6" fmla="*/ 0 w 30"/>
                <a:gd name="T7" fmla="*/ 0 h 78"/>
                <a:gd name="T8" fmla="*/ 1 w 30"/>
                <a:gd name="T9" fmla="*/ 0 h 7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78">
                  <a:moveTo>
                    <a:pt x="29" y="0"/>
                  </a:moveTo>
                  <a:lnTo>
                    <a:pt x="15" y="31"/>
                  </a:lnTo>
                  <a:lnTo>
                    <a:pt x="0" y="77"/>
                  </a:lnTo>
                  <a:lnTo>
                    <a:pt x="15" y="31"/>
                  </a:lnTo>
                  <a:lnTo>
                    <a:pt x="29"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88" name="Freeform 713"/>
            <p:cNvSpPr>
              <a:spLocks/>
            </p:cNvSpPr>
            <p:nvPr/>
          </p:nvSpPr>
          <p:spPr bwMode="auto">
            <a:xfrm>
              <a:off x="7988" y="1639"/>
              <a:ext cx="8" cy="6"/>
            </a:xfrm>
            <a:custGeom>
              <a:avLst/>
              <a:gdLst>
                <a:gd name="T0" fmla="*/ 1 w 17"/>
                <a:gd name="T1" fmla="*/ 0 h 17"/>
                <a:gd name="T2" fmla="*/ 0 w 17"/>
                <a:gd name="T3" fmla="*/ 0 h 17"/>
                <a:gd name="T4" fmla="*/ 1 w 17"/>
                <a:gd name="T5" fmla="*/ 0 h 17"/>
                <a:gd name="T6" fmla="*/ 1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16" y="0"/>
                  </a:moveTo>
                  <a:lnTo>
                    <a:pt x="0" y="16"/>
                  </a:lnTo>
                  <a:lnTo>
                    <a:pt x="16" y="16"/>
                  </a:lnTo>
                  <a:lnTo>
                    <a:pt x="16"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89" name="Freeform 714"/>
            <p:cNvSpPr>
              <a:spLocks/>
            </p:cNvSpPr>
            <p:nvPr/>
          </p:nvSpPr>
          <p:spPr bwMode="auto">
            <a:xfrm>
              <a:off x="8002" y="1621"/>
              <a:ext cx="7" cy="6"/>
            </a:xfrm>
            <a:custGeom>
              <a:avLst/>
              <a:gdLst>
                <a:gd name="T0" fmla="*/ 0 w 18"/>
                <a:gd name="T1" fmla="*/ 0 h 17"/>
                <a:gd name="T2" fmla="*/ 0 w 18"/>
                <a:gd name="T3" fmla="*/ 0 h 17"/>
                <a:gd name="T4" fmla="*/ 0 w 18"/>
                <a:gd name="T5" fmla="*/ 0 h 17"/>
                <a:gd name="T6" fmla="*/ 0 w 18"/>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17">
                  <a:moveTo>
                    <a:pt x="17" y="0"/>
                  </a:moveTo>
                  <a:lnTo>
                    <a:pt x="0" y="0"/>
                  </a:lnTo>
                  <a:lnTo>
                    <a:pt x="17" y="16"/>
                  </a:lnTo>
                  <a:lnTo>
                    <a:pt x="17"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90" name="Freeform 715"/>
            <p:cNvSpPr>
              <a:spLocks/>
            </p:cNvSpPr>
            <p:nvPr/>
          </p:nvSpPr>
          <p:spPr bwMode="auto">
            <a:xfrm>
              <a:off x="7982" y="1627"/>
              <a:ext cx="7" cy="12"/>
            </a:xfrm>
            <a:custGeom>
              <a:avLst/>
              <a:gdLst>
                <a:gd name="T0" fmla="*/ 0 w 17"/>
                <a:gd name="T1" fmla="*/ 1 h 31"/>
                <a:gd name="T2" fmla="*/ 0 w 17"/>
                <a:gd name="T3" fmla="*/ 0 h 31"/>
                <a:gd name="T4" fmla="*/ 0 w 17"/>
                <a:gd name="T5" fmla="*/ 0 h 31"/>
                <a:gd name="T6" fmla="*/ 0 w 17"/>
                <a:gd name="T7" fmla="*/ 1 h 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1">
                  <a:moveTo>
                    <a:pt x="0" y="30"/>
                  </a:moveTo>
                  <a:lnTo>
                    <a:pt x="16" y="15"/>
                  </a:lnTo>
                  <a:lnTo>
                    <a:pt x="0" y="0"/>
                  </a:lnTo>
                  <a:lnTo>
                    <a:pt x="0" y="3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91" name="Line 716"/>
            <p:cNvSpPr>
              <a:spLocks noChangeShapeType="1"/>
            </p:cNvSpPr>
            <p:nvPr/>
          </p:nvSpPr>
          <p:spPr bwMode="auto">
            <a:xfrm flipH="1">
              <a:off x="7996" y="1639"/>
              <a:ext cx="6"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92" name="Line 717"/>
            <p:cNvSpPr>
              <a:spLocks noChangeShapeType="1"/>
            </p:cNvSpPr>
            <p:nvPr/>
          </p:nvSpPr>
          <p:spPr bwMode="auto">
            <a:xfrm>
              <a:off x="7976" y="1615"/>
              <a:ext cx="0" cy="6"/>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93" name="Oval 718"/>
            <p:cNvSpPr>
              <a:spLocks noChangeArrowheads="1"/>
            </p:cNvSpPr>
            <p:nvPr/>
          </p:nvSpPr>
          <p:spPr bwMode="auto">
            <a:xfrm>
              <a:off x="8053" y="1650"/>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094" name="Oval 719"/>
            <p:cNvSpPr>
              <a:spLocks noChangeArrowheads="1"/>
            </p:cNvSpPr>
            <p:nvPr/>
          </p:nvSpPr>
          <p:spPr bwMode="auto">
            <a:xfrm>
              <a:off x="8078" y="1539"/>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095" name="Oval 720"/>
            <p:cNvSpPr>
              <a:spLocks noChangeArrowheads="1"/>
            </p:cNvSpPr>
            <p:nvPr/>
          </p:nvSpPr>
          <p:spPr bwMode="auto">
            <a:xfrm>
              <a:off x="8111" y="1569"/>
              <a:ext cx="0"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096" name="Freeform 721"/>
            <p:cNvSpPr>
              <a:spLocks/>
            </p:cNvSpPr>
            <p:nvPr/>
          </p:nvSpPr>
          <p:spPr bwMode="auto">
            <a:xfrm>
              <a:off x="7892" y="1830"/>
              <a:ext cx="302" cy="274"/>
            </a:xfrm>
            <a:custGeom>
              <a:avLst/>
              <a:gdLst>
                <a:gd name="T0" fmla="*/ 19 w 702"/>
                <a:gd name="T1" fmla="*/ 3 h 724"/>
                <a:gd name="T2" fmla="*/ 16 w 702"/>
                <a:gd name="T3" fmla="*/ 2 h 724"/>
                <a:gd name="T4" fmla="*/ 15 w 702"/>
                <a:gd name="T5" fmla="*/ 1 h 724"/>
                <a:gd name="T6" fmla="*/ 16 w 702"/>
                <a:gd name="T7" fmla="*/ 1 h 724"/>
                <a:gd name="T8" fmla="*/ 16 w 702"/>
                <a:gd name="T9" fmla="*/ 1 h 724"/>
                <a:gd name="T10" fmla="*/ 13 w 702"/>
                <a:gd name="T11" fmla="*/ 0 h 724"/>
                <a:gd name="T12" fmla="*/ 13 w 702"/>
                <a:gd name="T13" fmla="*/ 1 h 724"/>
                <a:gd name="T14" fmla="*/ 12 w 702"/>
                <a:gd name="T15" fmla="*/ 2 h 724"/>
                <a:gd name="T16" fmla="*/ 11 w 702"/>
                <a:gd name="T17" fmla="*/ 2 h 724"/>
                <a:gd name="T18" fmla="*/ 10 w 702"/>
                <a:gd name="T19" fmla="*/ 1 h 724"/>
                <a:gd name="T20" fmla="*/ 8 w 702"/>
                <a:gd name="T21" fmla="*/ 2 h 724"/>
                <a:gd name="T22" fmla="*/ 8 w 702"/>
                <a:gd name="T23" fmla="*/ 2 h 724"/>
                <a:gd name="T24" fmla="*/ 7 w 702"/>
                <a:gd name="T25" fmla="*/ 3 h 724"/>
                <a:gd name="T26" fmla="*/ 6 w 702"/>
                <a:gd name="T27" fmla="*/ 4 h 724"/>
                <a:gd name="T28" fmla="*/ 1 w 702"/>
                <a:gd name="T29" fmla="*/ 5 h 724"/>
                <a:gd name="T30" fmla="*/ 0 w 702"/>
                <a:gd name="T31" fmla="*/ 8 h 724"/>
                <a:gd name="T32" fmla="*/ 0 w 702"/>
                <a:gd name="T33" fmla="*/ 11 h 724"/>
                <a:gd name="T34" fmla="*/ 1 w 702"/>
                <a:gd name="T35" fmla="*/ 11 h 724"/>
                <a:gd name="T36" fmla="*/ 5 w 702"/>
                <a:gd name="T37" fmla="*/ 11 h 724"/>
                <a:gd name="T38" fmla="*/ 9 w 702"/>
                <a:gd name="T39" fmla="*/ 10 h 724"/>
                <a:gd name="T40" fmla="*/ 12 w 702"/>
                <a:gd name="T41" fmla="*/ 12 h 724"/>
                <a:gd name="T42" fmla="*/ 12 w 702"/>
                <a:gd name="T43" fmla="*/ 12 h 724"/>
                <a:gd name="T44" fmla="*/ 13 w 702"/>
                <a:gd name="T45" fmla="*/ 14 h 724"/>
                <a:gd name="T46" fmla="*/ 16 w 702"/>
                <a:gd name="T47" fmla="*/ 14 h 724"/>
                <a:gd name="T48" fmla="*/ 18 w 702"/>
                <a:gd name="T49" fmla="*/ 14 h 724"/>
                <a:gd name="T50" fmla="*/ 19 w 702"/>
                <a:gd name="T51" fmla="*/ 14 h 724"/>
                <a:gd name="T52" fmla="*/ 22 w 702"/>
                <a:gd name="T53" fmla="*/ 12 h 724"/>
                <a:gd name="T54" fmla="*/ 24 w 702"/>
                <a:gd name="T55" fmla="*/ 9 h 724"/>
                <a:gd name="T56" fmla="*/ 24 w 702"/>
                <a:gd name="T57" fmla="*/ 8 h 724"/>
                <a:gd name="T58" fmla="*/ 23 w 702"/>
                <a:gd name="T59" fmla="*/ 6 h 724"/>
                <a:gd name="T60" fmla="*/ 22 w 702"/>
                <a:gd name="T61" fmla="*/ 5 h 724"/>
                <a:gd name="T62" fmla="*/ 21 w 702"/>
                <a:gd name="T63" fmla="*/ 2 h 724"/>
                <a:gd name="T64" fmla="*/ 19 w 702"/>
                <a:gd name="T65" fmla="*/ 0 h 7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02" h="724">
                  <a:moveTo>
                    <a:pt x="567" y="0"/>
                  </a:moveTo>
                  <a:lnTo>
                    <a:pt x="552" y="123"/>
                  </a:lnTo>
                  <a:lnTo>
                    <a:pt x="522" y="169"/>
                  </a:lnTo>
                  <a:lnTo>
                    <a:pt x="477" y="108"/>
                  </a:lnTo>
                  <a:lnTo>
                    <a:pt x="447" y="92"/>
                  </a:lnTo>
                  <a:lnTo>
                    <a:pt x="447" y="62"/>
                  </a:lnTo>
                  <a:lnTo>
                    <a:pt x="462" y="62"/>
                  </a:lnTo>
                  <a:lnTo>
                    <a:pt x="477" y="46"/>
                  </a:lnTo>
                  <a:lnTo>
                    <a:pt x="477" y="31"/>
                  </a:lnTo>
                  <a:lnTo>
                    <a:pt x="462" y="46"/>
                  </a:lnTo>
                  <a:lnTo>
                    <a:pt x="418" y="15"/>
                  </a:lnTo>
                  <a:lnTo>
                    <a:pt x="388" y="15"/>
                  </a:lnTo>
                  <a:lnTo>
                    <a:pt x="388" y="31"/>
                  </a:lnTo>
                  <a:lnTo>
                    <a:pt x="373" y="31"/>
                  </a:lnTo>
                  <a:lnTo>
                    <a:pt x="343" y="77"/>
                  </a:lnTo>
                  <a:lnTo>
                    <a:pt x="343" y="92"/>
                  </a:lnTo>
                  <a:lnTo>
                    <a:pt x="328" y="77"/>
                  </a:lnTo>
                  <a:lnTo>
                    <a:pt x="313" y="92"/>
                  </a:lnTo>
                  <a:lnTo>
                    <a:pt x="313" y="62"/>
                  </a:lnTo>
                  <a:lnTo>
                    <a:pt x="298" y="62"/>
                  </a:lnTo>
                  <a:lnTo>
                    <a:pt x="283" y="77"/>
                  </a:lnTo>
                  <a:lnTo>
                    <a:pt x="224" y="108"/>
                  </a:lnTo>
                  <a:lnTo>
                    <a:pt x="224" y="123"/>
                  </a:lnTo>
                  <a:lnTo>
                    <a:pt x="224" y="108"/>
                  </a:lnTo>
                  <a:lnTo>
                    <a:pt x="194" y="123"/>
                  </a:lnTo>
                  <a:lnTo>
                    <a:pt x="209" y="154"/>
                  </a:lnTo>
                  <a:lnTo>
                    <a:pt x="194" y="169"/>
                  </a:lnTo>
                  <a:lnTo>
                    <a:pt x="179" y="185"/>
                  </a:lnTo>
                  <a:lnTo>
                    <a:pt x="149" y="200"/>
                  </a:lnTo>
                  <a:lnTo>
                    <a:pt x="30" y="231"/>
                  </a:lnTo>
                  <a:lnTo>
                    <a:pt x="15" y="338"/>
                  </a:lnTo>
                  <a:lnTo>
                    <a:pt x="15" y="400"/>
                  </a:lnTo>
                  <a:lnTo>
                    <a:pt x="15" y="461"/>
                  </a:lnTo>
                  <a:lnTo>
                    <a:pt x="0" y="508"/>
                  </a:lnTo>
                  <a:lnTo>
                    <a:pt x="15" y="538"/>
                  </a:lnTo>
                  <a:lnTo>
                    <a:pt x="45" y="554"/>
                  </a:lnTo>
                  <a:lnTo>
                    <a:pt x="89" y="523"/>
                  </a:lnTo>
                  <a:lnTo>
                    <a:pt x="149" y="538"/>
                  </a:lnTo>
                  <a:lnTo>
                    <a:pt x="164" y="508"/>
                  </a:lnTo>
                  <a:lnTo>
                    <a:pt x="283" y="492"/>
                  </a:lnTo>
                  <a:lnTo>
                    <a:pt x="328" y="523"/>
                  </a:lnTo>
                  <a:lnTo>
                    <a:pt x="343" y="585"/>
                  </a:lnTo>
                  <a:lnTo>
                    <a:pt x="388" y="538"/>
                  </a:lnTo>
                  <a:lnTo>
                    <a:pt x="358" y="600"/>
                  </a:lnTo>
                  <a:lnTo>
                    <a:pt x="388" y="585"/>
                  </a:lnTo>
                  <a:lnTo>
                    <a:pt x="388" y="661"/>
                  </a:lnTo>
                  <a:lnTo>
                    <a:pt x="433" y="708"/>
                  </a:lnTo>
                  <a:lnTo>
                    <a:pt x="477" y="692"/>
                  </a:lnTo>
                  <a:lnTo>
                    <a:pt x="492" y="723"/>
                  </a:lnTo>
                  <a:lnTo>
                    <a:pt x="522" y="708"/>
                  </a:lnTo>
                  <a:lnTo>
                    <a:pt x="552" y="708"/>
                  </a:lnTo>
                  <a:lnTo>
                    <a:pt x="567" y="677"/>
                  </a:lnTo>
                  <a:lnTo>
                    <a:pt x="612" y="600"/>
                  </a:lnTo>
                  <a:lnTo>
                    <a:pt x="641" y="585"/>
                  </a:lnTo>
                  <a:lnTo>
                    <a:pt x="671" y="538"/>
                  </a:lnTo>
                  <a:lnTo>
                    <a:pt x="701" y="461"/>
                  </a:lnTo>
                  <a:lnTo>
                    <a:pt x="701" y="446"/>
                  </a:lnTo>
                  <a:lnTo>
                    <a:pt x="701" y="400"/>
                  </a:lnTo>
                  <a:lnTo>
                    <a:pt x="686" y="338"/>
                  </a:lnTo>
                  <a:lnTo>
                    <a:pt x="671" y="308"/>
                  </a:lnTo>
                  <a:lnTo>
                    <a:pt x="656" y="308"/>
                  </a:lnTo>
                  <a:lnTo>
                    <a:pt x="656" y="262"/>
                  </a:lnTo>
                  <a:lnTo>
                    <a:pt x="626" y="200"/>
                  </a:lnTo>
                  <a:lnTo>
                    <a:pt x="612" y="108"/>
                  </a:lnTo>
                  <a:lnTo>
                    <a:pt x="597" y="92"/>
                  </a:lnTo>
                  <a:lnTo>
                    <a:pt x="567"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97" name="Freeform 722"/>
            <p:cNvSpPr>
              <a:spLocks/>
            </p:cNvSpPr>
            <p:nvPr/>
          </p:nvSpPr>
          <p:spPr bwMode="auto">
            <a:xfrm>
              <a:off x="8078" y="2127"/>
              <a:ext cx="26" cy="29"/>
            </a:xfrm>
            <a:custGeom>
              <a:avLst/>
              <a:gdLst>
                <a:gd name="T0" fmla="*/ 0 w 60"/>
                <a:gd name="T1" fmla="*/ 0 h 78"/>
                <a:gd name="T2" fmla="*/ 0 w 60"/>
                <a:gd name="T3" fmla="*/ 1 h 78"/>
                <a:gd name="T4" fmla="*/ 0 w 60"/>
                <a:gd name="T5" fmla="*/ 1 h 78"/>
                <a:gd name="T6" fmla="*/ 1 w 60"/>
                <a:gd name="T7" fmla="*/ 1 h 78"/>
                <a:gd name="T8" fmla="*/ 2 w 60"/>
                <a:gd name="T9" fmla="*/ 0 h 78"/>
                <a:gd name="T10" fmla="*/ 2 w 60"/>
                <a:gd name="T11" fmla="*/ 0 h 78"/>
                <a:gd name="T12" fmla="*/ 1 w 60"/>
                <a:gd name="T13" fmla="*/ 0 h 78"/>
                <a:gd name="T14" fmla="*/ 0 w 60"/>
                <a:gd name="T15" fmla="*/ 0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0" h="78">
                  <a:moveTo>
                    <a:pt x="0" y="0"/>
                  </a:moveTo>
                  <a:lnTo>
                    <a:pt x="0" y="46"/>
                  </a:lnTo>
                  <a:lnTo>
                    <a:pt x="0" y="77"/>
                  </a:lnTo>
                  <a:lnTo>
                    <a:pt x="30" y="77"/>
                  </a:lnTo>
                  <a:lnTo>
                    <a:pt x="59" y="15"/>
                  </a:lnTo>
                  <a:lnTo>
                    <a:pt x="59" y="0"/>
                  </a:lnTo>
                  <a:lnTo>
                    <a:pt x="30"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98" name="Freeform 723"/>
            <p:cNvSpPr>
              <a:spLocks/>
            </p:cNvSpPr>
            <p:nvPr/>
          </p:nvSpPr>
          <p:spPr bwMode="auto">
            <a:xfrm>
              <a:off x="8213" y="2161"/>
              <a:ext cx="77" cy="65"/>
            </a:xfrm>
            <a:custGeom>
              <a:avLst/>
              <a:gdLst>
                <a:gd name="T0" fmla="*/ 1 w 181"/>
                <a:gd name="T1" fmla="*/ 4 h 170"/>
                <a:gd name="T2" fmla="*/ 1 w 181"/>
                <a:gd name="T3" fmla="*/ 3 h 170"/>
                <a:gd name="T4" fmla="*/ 2 w 181"/>
                <a:gd name="T5" fmla="*/ 3 h 170"/>
                <a:gd name="T6" fmla="*/ 3 w 181"/>
                <a:gd name="T7" fmla="*/ 2 h 170"/>
                <a:gd name="T8" fmla="*/ 4 w 181"/>
                <a:gd name="T9" fmla="*/ 2 h 170"/>
                <a:gd name="T10" fmla="*/ 4 w 181"/>
                <a:gd name="T11" fmla="*/ 2 h 170"/>
                <a:gd name="T12" fmla="*/ 4 w 181"/>
                <a:gd name="T13" fmla="*/ 2 h 170"/>
                <a:gd name="T14" fmla="*/ 6 w 181"/>
                <a:gd name="T15" fmla="*/ 1 h 170"/>
                <a:gd name="T16" fmla="*/ 6 w 181"/>
                <a:gd name="T17" fmla="*/ 0 h 170"/>
                <a:gd name="T18" fmla="*/ 6 w 181"/>
                <a:gd name="T19" fmla="*/ 0 h 170"/>
                <a:gd name="T20" fmla="*/ 6 w 181"/>
                <a:gd name="T21" fmla="*/ 0 h 170"/>
                <a:gd name="T22" fmla="*/ 4 w 181"/>
                <a:gd name="T23" fmla="*/ 1 h 170"/>
                <a:gd name="T24" fmla="*/ 3 w 181"/>
                <a:gd name="T25" fmla="*/ 1 h 170"/>
                <a:gd name="T26" fmla="*/ 2 w 181"/>
                <a:gd name="T27" fmla="*/ 1 h 170"/>
                <a:gd name="T28" fmla="*/ 1 w 181"/>
                <a:gd name="T29" fmla="*/ 2 h 170"/>
                <a:gd name="T30" fmla="*/ 0 w 181"/>
                <a:gd name="T31" fmla="*/ 3 h 170"/>
                <a:gd name="T32" fmla="*/ 0 w 181"/>
                <a:gd name="T33" fmla="*/ 3 h 170"/>
                <a:gd name="T34" fmla="*/ 1 w 181"/>
                <a:gd name="T35" fmla="*/ 4 h 1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1" h="170">
                  <a:moveTo>
                    <a:pt x="30" y="169"/>
                  </a:moveTo>
                  <a:lnTo>
                    <a:pt x="45" y="154"/>
                  </a:lnTo>
                  <a:lnTo>
                    <a:pt x="60" y="138"/>
                  </a:lnTo>
                  <a:lnTo>
                    <a:pt x="90" y="108"/>
                  </a:lnTo>
                  <a:lnTo>
                    <a:pt x="120" y="92"/>
                  </a:lnTo>
                  <a:lnTo>
                    <a:pt x="135" y="92"/>
                  </a:lnTo>
                  <a:lnTo>
                    <a:pt x="135" y="77"/>
                  </a:lnTo>
                  <a:lnTo>
                    <a:pt x="180" y="31"/>
                  </a:lnTo>
                  <a:lnTo>
                    <a:pt x="180" y="15"/>
                  </a:lnTo>
                  <a:lnTo>
                    <a:pt x="165" y="15"/>
                  </a:lnTo>
                  <a:lnTo>
                    <a:pt x="165" y="0"/>
                  </a:lnTo>
                  <a:lnTo>
                    <a:pt x="120" y="46"/>
                  </a:lnTo>
                  <a:lnTo>
                    <a:pt x="75" y="61"/>
                  </a:lnTo>
                  <a:lnTo>
                    <a:pt x="60" y="61"/>
                  </a:lnTo>
                  <a:lnTo>
                    <a:pt x="30" y="92"/>
                  </a:lnTo>
                  <a:lnTo>
                    <a:pt x="0" y="123"/>
                  </a:lnTo>
                  <a:lnTo>
                    <a:pt x="15" y="138"/>
                  </a:lnTo>
                  <a:lnTo>
                    <a:pt x="30" y="169"/>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099" name="Freeform 724"/>
            <p:cNvSpPr>
              <a:spLocks/>
            </p:cNvSpPr>
            <p:nvPr/>
          </p:nvSpPr>
          <p:spPr bwMode="auto">
            <a:xfrm>
              <a:off x="8296" y="2091"/>
              <a:ext cx="46" cy="83"/>
            </a:xfrm>
            <a:custGeom>
              <a:avLst/>
              <a:gdLst>
                <a:gd name="T0" fmla="*/ 2 w 106"/>
                <a:gd name="T1" fmla="*/ 0 h 217"/>
                <a:gd name="T2" fmla="*/ 1 w 106"/>
                <a:gd name="T3" fmla="*/ 0 h 217"/>
                <a:gd name="T4" fmla="*/ 2 w 106"/>
                <a:gd name="T5" fmla="*/ 1 h 217"/>
                <a:gd name="T6" fmla="*/ 1 w 106"/>
                <a:gd name="T7" fmla="*/ 3 h 217"/>
                <a:gd name="T8" fmla="*/ 0 w 106"/>
                <a:gd name="T9" fmla="*/ 3 h 217"/>
                <a:gd name="T10" fmla="*/ 0 w 106"/>
                <a:gd name="T11" fmla="*/ 4 h 217"/>
                <a:gd name="T12" fmla="*/ 0 w 106"/>
                <a:gd name="T13" fmla="*/ 4 h 217"/>
                <a:gd name="T14" fmla="*/ 0 w 106"/>
                <a:gd name="T15" fmla="*/ 5 h 217"/>
                <a:gd name="T16" fmla="*/ 2 w 106"/>
                <a:gd name="T17" fmla="*/ 4 h 217"/>
                <a:gd name="T18" fmla="*/ 2 w 106"/>
                <a:gd name="T19" fmla="*/ 3 h 217"/>
                <a:gd name="T20" fmla="*/ 3 w 106"/>
                <a:gd name="T21" fmla="*/ 3 h 217"/>
                <a:gd name="T22" fmla="*/ 4 w 106"/>
                <a:gd name="T23" fmla="*/ 2 h 217"/>
                <a:gd name="T24" fmla="*/ 3 w 106"/>
                <a:gd name="T25" fmla="*/ 2 h 217"/>
                <a:gd name="T26" fmla="*/ 3 w 106"/>
                <a:gd name="T27" fmla="*/ 1 h 217"/>
                <a:gd name="T28" fmla="*/ 3 w 106"/>
                <a:gd name="T29" fmla="*/ 2 h 217"/>
                <a:gd name="T30" fmla="*/ 2 w 106"/>
                <a:gd name="T31" fmla="*/ 1 h 217"/>
                <a:gd name="T32" fmla="*/ 2 w 106"/>
                <a:gd name="T33" fmla="*/ 0 h 2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6" h="217">
                  <a:moveTo>
                    <a:pt x="45" y="0"/>
                  </a:moveTo>
                  <a:lnTo>
                    <a:pt x="30" y="0"/>
                  </a:lnTo>
                  <a:lnTo>
                    <a:pt x="45" y="62"/>
                  </a:lnTo>
                  <a:lnTo>
                    <a:pt x="30" y="123"/>
                  </a:lnTo>
                  <a:lnTo>
                    <a:pt x="0" y="139"/>
                  </a:lnTo>
                  <a:lnTo>
                    <a:pt x="15" y="185"/>
                  </a:lnTo>
                  <a:lnTo>
                    <a:pt x="0" y="201"/>
                  </a:lnTo>
                  <a:lnTo>
                    <a:pt x="0" y="216"/>
                  </a:lnTo>
                  <a:lnTo>
                    <a:pt x="60" y="170"/>
                  </a:lnTo>
                  <a:lnTo>
                    <a:pt x="60" y="139"/>
                  </a:lnTo>
                  <a:lnTo>
                    <a:pt x="75" y="139"/>
                  </a:lnTo>
                  <a:lnTo>
                    <a:pt x="105" y="93"/>
                  </a:lnTo>
                  <a:lnTo>
                    <a:pt x="75" y="93"/>
                  </a:lnTo>
                  <a:lnTo>
                    <a:pt x="75" y="62"/>
                  </a:lnTo>
                  <a:lnTo>
                    <a:pt x="75" y="77"/>
                  </a:lnTo>
                  <a:lnTo>
                    <a:pt x="60" y="46"/>
                  </a:lnTo>
                  <a:lnTo>
                    <a:pt x="45"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00" name="Oval 725"/>
            <p:cNvSpPr>
              <a:spLocks noChangeArrowheads="1"/>
            </p:cNvSpPr>
            <p:nvPr/>
          </p:nvSpPr>
          <p:spPr bwMode="auto">
            <a:xfrm>
              <a:off x="8322" y="1871"/>
              <a:ext cx="6"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01" name="Oval 726"/>
            <p:cNvSpPr>
              <a:spLocks noChangeArrowheads="1"/>
            </p:cNvSpPr>
            <p:nvPr/>
          </p:nvSpPr>
          <p:spPr bwMode="auto">
            <a:xfrm>
              <a:off x="8297" y="1959"/>
              <a:ext cx="6"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02" name="Oval 727"/>
            <p:cNvSpPr>
              <a:spLocks noChangeArrowheads="1"/>
            </p:cNvSpPr>
            <p:nvPr/>
          </p:nvSpPr>
          <p:spPr bwMode="auto">
            <a:xfrm>
              <a:off x="8354" y="1895"/>
              <a:ext cx="5"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03" name="Oval 728"/>
            <p:cNvSpPr>
              <a:spLocks noChangeArrowheads="1"/>
            </p:cNvSpPr>
            <p:nvPr/>
          </p:nvSpPr>
          <p:spPr bwMode="auto">
            <a:xfrm>
              <a:off x="8380" y="1911"/>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04" name="Oval 729"/>
            <p:cNvSpPr>
              <a:spLocks noChangeArrowheads="1"/>
            </p:cNvSpPr>
            <p:nvPr/>
          </p:nvSpPr>
          <p:spPr bwMode="auto">
            <a:xfrm>
              <a:off x="8380" y="1929"/>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05" name="Freeform 730"/>
            <p:cNvSpPr>
              <a:spLocks/>
            </p:cNvSpPr>
            <p:nvPr/>
          </p:nvSpPr>
          <p:spPr bwMode="auto">
            <a:xfrm>
              <a:off x="8289" y="1958"/>
              <a:ext cx="20" cy="12"/>
            </a:xfrm>
            <a:custGeom>
              <a:avLst/>
              <a:gdLst>
                <a:gd name="T0" fmla="*/ 0 w 46"/>
                <a:gd name="T1" fmla="*/ 0 h 32"/>
                <a:gd name="T2" fmla="*/ 1 w 46"/>
                <a:gd name="T3" fmla="*/ 1 h 32"/>
                <a:gd name="T4" fmla="*/ 2 w 46"/>
                <a:gd name="T5" fmla="*/ 1 h 32"/>
                <a:gd name="T6" fmla="*/ 0 w 46"/>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 h="32">
                  <a:moveTo>
                    <a:pt x="0" y="0"/>
                  </a:moveTo>
                  <a:lnTo>
                    <a:pt x="30" y="31"/>
                  </a:lnTo>
                  <a:lnTo>
                    <a:pt x="45"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06" name="Freeform 731"/>
            <p:cNvSpPr>
              <a:spLocks/>
            </p:cNvSpPr>
            <p:nvPr/>
          </p:nvSpPr>
          <p:spPr bwMode="auto">
            <a:xfrm>
              <a:off x="8136" y="1754"/>
              <a:ext cx="70" cy="77"/>
            </a:xfrm>
            <a:custGeom>
              <a:avLst/>
              <a:gdLst>
                <a:gd name="T0" fmla="*/ 0 w 164"/>
                <a:gd name="T1" fmla="*/ 0 h 201"/>
                <a:gd name="T2" fmla="*/ 0 w 164"/>
                <a:gd name="T3" fmla="*/ 3 h 201"/>
                <a:gd name="T4" fmla="*/ 1 w 164"/>
                <a:gd name="T5" fmla="*/ 3 h 201"/>
                <a:gd name="T6" fmla="*/ 0 w 164"/>
                <a:gd name="T7" fmla="*/ 3 h 201"/>
                <a:gd name="T8" fmla="*/ 1 w 164"/>
                <a:gd name="T9" fmla="*/ 3 h 201"/>
                <a:gd name="T10" fmla="*/ 3 w 164"/>
                <a:gd name="T11" fmla="*/ 3 h 201"/>
                <a:gd name="T12" fmla="*/ 3 w 164"/>
                <a:gd name="T13" fmla="*/ 4 h 201"/>
                <a:gd name="T14" fmla="*/ 4 w 164"/>
                <a:gd name="T15" fmla="*/ 4 h 201"/>
                <a:gd name="T16" fmla="*/ 6 w 164"/>
                <a:gd name="T17" fmla="*/ 4 h 201"/>
                <a:gd name="T18" fmla="*/ 4 w 164"/>
                <a:gd name="T19" fmla="*/ 3 h 201"/>
                <a:gd name="T20" fmla="*/ 3 w 164"/>
                <a:gd name="T21" fmla="*/ 3 h 201"/>
                <a:gd name="T22" fmla="*/ 3 w 164"/>
                <a:gd name="T23" fmla="*/ 2 h 201"/>
                <a:gd name="T24" fmla="*/ 3 w 164"/>
                <a:gd name="T25" fmla="*/ 2 h 201"/>
                <a:gd name="T26" fmla="*/ 3 w 164"/>
                <a:gd name="T27" fmla="*/ 2 h 201"/>
                <a:gd name="T28" fmla="*/ 3 w 164"/>
                <a:gd name="T29" fmla="*/ 1 h 201"/>
                <a:gd name="T30" fmla="*/ 0 w 164"/>
                <a:gd name="T31" fmla="*/ 0 h 20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4" h="201">
                  <a:moveTo>
                    <a:pt x="0" y="0"/>
                  </a:moveTo>
                  <a:lnTo>
                    <a:pt x="0" y="154"/>
                  </a:lnTo>
                  <a:lnTo>
                    <a:pt x="30" y="154"/>
                  </a:lnTo>
                  <a:lnTo>
                    <a:pt x="15" y="138"/>
                  </a:lnTo>
                  <a:lnTo>
                    <a:pt x="44" y="138"/>
                  </a:lnTo>
                  <a:lnTo>
                    <a:pt x="74" y="138"/>
                  </a:lnTo>
                  <a:lnTo>
                    <a:pt x="104" y="185"/>
                  </a:lnTo>
                  <a:lnTo>
                    <a:pt x="133" y="200"/>
                  </a:lnTo>
                  <a:lnTo>
                    <a:pt x="163" y="200"/>
                  </a:lnTo>
                  <a:lnTo>
                    <a:pt x="119" y="154"/>
                  </a:lnTo>
                  <a:lnTo>
                    <a:pt x="104" y="138"/>
                  </a:lnTo>
                  <a:lnTo>
                    <a:pt x="89" y="108"/>
                  </a:lnTo>
                  <a:lnTo>
                    <a:pt x="104" y="108"/>
                  </a:lnTo>
                  <a:lnTo>
                    <a:pt x="104" y="92"/>
                  </a:lnTo>
                  <a:lnTo>
                    <a:pt x="74" y="62"/>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07" name="Freeform 732"/>
            <p:cNvSpPr>
              <a:spLocks/>
            </p:cNvSpPr>
            <p:nvPr/>
          </p:nvSpPr>
          <p:spPr bwMode="auto">
            <a:xfrm>
              <a:off x="8194" y="1772"/>
              <a:ext cx="26" cy="18"/>
            </a:xfrm>
            <a:custGeom>
              <a:avLst/>
              <a:gdLst>
                <a:gd name="T0" fmla="*/ 0 w 61"/>
                <a:gd name="T1" fmla="*/ 1 h 47"/>
                <a:gd name="T2" fmla="*/ 0 w 61"/>
                <a:gd name="T3" fmla="*/ 1 h 47"/>
                <a:gd name="T4" fmla="*/ 1 w 61"/>
                <a:gd name="T5" fmla="*/ 1 h 47"/>
                <a:gd name="T6" fmla="*/ 1 w 61"/>
                <a:gd name="T7" fmla="*/ 1 h 47"/>
                <a:gd name="T8" fmla="*/ 2 w 61"/>
                <a:gd name="T9" fmla="*/ 0 h 47"/>
                <a:gd name="T10" fmla="*/ 2 w 61"/>
                <a:gd name="T11" fmla="*/ 0 h 47"/>
                <a:gd name="T12" fmla="*/ 1 w 61"/>
                <a:gd name="T13" fmla="*/ 0 h 47"/>
                <a:gd name="T14" fmla="*/ 1 w 61"/>
                <a:gd name="T15" fmla="*/ 1 h 47"/>
                <a:gd name="T16" fmla="*/ 0 w 61"/>
                <a:gd name="T17" fmla="*/ 1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1" h="47">
                  <a:moveTo>
                    <a:pt x="0" y="31"/>
                  </a:moveTo>
                  <a:lnTo>
                    <a:pt x="0" y="46"/>
                  </a:lnTo>
                  <a:lnTo>
                    <a:pt x="30" y="46"/>
                  </a:lnTo>
                  <a:lnTo>
                    <a:pt x="45" y="31"/>
                  </a:lnTo>
                  <a:lnTo>
                    <a:pt x="60" y="15"/>
                  </a:lnTo>
                  <a:lnTo>
                    <a:pt x="60" y="0"/>
                  </a:lnTo>
                  <a:lnTo>
                    <a:pt x="45" y="15"/>
                  </a:lnTo>
                  <a:lnTo>
                    <a:pt x="30" y="31"/>
                  </a:lnTo>
                  <a:lnTo>
                    <a:pt x="0" y="31"/>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08" name="Freeform 733"/>
            <p:cNvSpPr>
              <a:spLocks/>
            </p:cNvSpPr>
            <p:nvPr/>
          </p:nvSpPr>
          <p:spPr bwMode="auto">
            <a:xfrm>
              <a:off x="8213" y="1754"/>
              <a:ext cx="19" cy="24"/>
            </a:xfrm>
            <a:custGeom>
              <a:avLst/>
              <a:gdLst>
                <a:gd name="T0" fmla="*/ 0 w 46"/>
                <a:gd name="T1" fmla="*/ 0 h 63"/>
                <a:gd name="T2" fmla="*/ 0 w 46"/>
                <a:gd name="T3" fmla="*/ 1 h 63"/>
                <a:gd name="T4" fmla="*/ 1 w 46"/>
                <a:gd name="T5" fmla="*/ 1 h 63"/>
                <a:gd name="T6" fmla="*/ 1 w 46"/>
                <a:gd name="T7" fmla="*/ 1 h 63"/>
                <a:gd name="T8" fmla="*/ 1 w 46"/>
                <a:gd name="T9" fmla="*/ 1 h 63"/>
                <a:gd name="T10" fmla="*/ 1 w 46"/>
                <a:gd name="T11" fmla="*/ 1 h 63"/>
                <a:gd name="T12" fmla="*/ 1 w 46"/>
                <a:gd name="T13" fmla="*/ 1 h 63"/>
                <a:gd name="T14" fmla="*/ 0 w 46"/>
                <a:gd name="T15" fmla="*/ 0 h 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63">
                  <a:moveTo>
                    <a:pt x="0" y="0"/>
                  </a:moveTo>
                  <a:lnTo>
                    <a:pt x="0" y="31"/>
                  </a:lnTo>
                  <a:lnTo>
                    <a:pt x="30" y="31"/>
                  </a:lnTo>
                  <a:lnTo>
                    <a:pt x="30" y="47"/>
                  </a:lnTo>
                  <a:lnTo>
                    <a:pt x="45" y="62"/>
                  </a:lnTo>
                  <a:lnTo>
                    <a:pt x="45" y="47"/>
                  </a:lnTo>
                  <a:lnTo>
                    <a:pt x="30" y="31"/>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09" name="Oval 734"/>
            <p:cNvSpPr>
              <a:spLocks noChangeArrowheads="1"/>
            </p:cNvSpPr>
            <p:nvPr/>
          </p:nvSpPr>
          <p:spPr bwMode="auto">
            <a:xfrm>
              <a:off x="8169" y="1633"/>
              <a:ext cx="5"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10" name="Freeform 735"/>
            <p:cNvSpPr>
              <a:spLocks/>
            </p:cNvSpPr>
            <p:nvPr/>
          </p:nvSpPr>
          <p:spPr bwMode="auto">
            <a:xfrm>
              <a:off x="8265" y="1800"/>
              <a:ext cx="6" cy="13"/>
            </a:xfrm>
            <a:custGeom>
              <a:avLst/>
              <a:gdLst>
                <a:gd name="T0" fmla="*/ 0 w 17"/>
                <a:gd name="T1" fmla="*/ 0 h 32"/>
                <a:gd name="T2" fmla="*/ 0 w 17"/>
                <a:gd name="T3" fmla="*/ 1 h 32"/>
                <a:gd name="T4" fmla="*/ 0 w 17"/>
                <a:gd name="T5" fmla="*/ 0 h 32"/>
                <a:gd name="T6" fmla="*/ 0 w 17"/>
                <a:gd name="T7" fmla="*/ 0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32">
                  <a:moveTo>
                    <a:pt x="0" y="0"/>
                  </a:moveTo>
                  <a:lnTo>
                    <a:pt x="16" y="31"/>
                  </a:lnTo>
                  <a:lnTo>
                    <a:pt x="16"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11" name="Freeform 736"/>
            <p:cNvSpPr>
              <a:spLocks/>
            </p:cNvSpPr>
            <p:nvPr/>
          </p:nvSpPr>
          <p:spPr bwMode="auto">
            <a:xfrm>
              <a:off x="8258" y="1789"/>
              <a:ext cx="13" cy="7"/>
            </a:xfrm>
            <a:custGeom>
              <a:avLst/>
              <a:gdLst>
                <a:gd name="T0" fmla="*/ 0 w 31"/>
                <a:gd name="T1" fmla="*/ 0 h 17"/>
                <a:gd name="T2" fmla="*/ 0 w 31"/>
                <a:gd name="T3" fmla="*/ 0 h 17"/>
                <a:gd name="T4" fmla="*/ 1 w 31"/>
                <a:gd name="T5" fmla="*/ 0 h 17"/>
                <a:gd name="T6" fmla="*/ 0 w 31"/>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17">
                  <a:moveTo>
                    <a:pt x="0" y="0"/>
                  </a:moveTo>
                  <a:lnTo>
                    <a:pt x="15" y="16"/>
                  </a:lnTo>
                  <a:lnTo>
                    <a:pt x="30"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12" name="Freeform 737"/>
            <p:cNvSpPr>
              <a:spLocks/>
            </p:cNvSpPr>
            <p:nvPr/>
          </p:nvSpPr>
          <p:spPr bwMode="auto">
            <a:xfrm>
              <a:off x="8277" y="1812"/>
              <a:ext cx="8" cy="7"/>
            </a:xfrm>
            <a:custGeom>
              <a:avLst/>
              <a:gdLst>
                <a:gd name="T0" fmla="*/ 0 w 17"/>
                <a:gd name="T1" fmla="*/ 0 h 17"/>
                <a:gd name="T2" fmla="*/ 1 w 17"/>
                <a:gd name="T3" fmla="*/ 0 h 17"/>
                <a:gd name="T4" fmla="*/ 1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16" y="0"/>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13" name="Freeform 738"/>
            <p:cNvSpPr>
              <a:spLocks/>
            </p:cNvSpPr>
            <p:nvPr/>
          </p:nvSpPr>
          <p:spPr bwMode="auto">
            <a:xfrm>
              <a:off x="8283" y="1800"/>
              <a:ext cx="8" cy="7"/>
            </a:xfrm>
            <a:custGeom>
              <a:avLst/>
              <a:gdLst>
                <a:gd name="T0" fmla="*/ 0 w 17"/>
                <a:gd name="T1" fmla="*/ 0 h 17"/>
                <a:gd name="T2" fmla="*/ 1 w 17"/>
                <a:gd name="T3" fmla="*/ 0 h 17"/>
                <a:gd name="T4" fmla="*/ 0 w 17"/>
                <a:gd name="T5" fmla="*/ 0 h 17"/>
                <a:gd name="T6" fmla="*/ 0 w 17"/>
                <a:gd name="T7" fmla="*/ 0 h 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17">
                  <a:moveTo>
                    <a:pt x="0" y="0"/>
                  </a:moveTo>
                  <a:lnTo>
                    <a:pt x="16" y="16"/>
                  </a:lnTo>
                  <a:lnTo>
                    <a:pt x="0" y="16"/>
                  </a:lnTo>
                  <a:lnTo>
                    <a:pt x="0" y="0"/>
                  </a:lnTo>
                </a:path>
              </a:pathLst>
            </a:custGeom>
            <a:solidFill>
              <a:srgbClr val="C0C0C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14" name="Line 739"/>
            <p:cNvSpPr>
              <a:spLocks noChangeShapeType="1"/>
            </p:cNvSpPr>
            <p:nvPr/>
          </p:nvSpPr>
          <p:spPr bwMode="auto">
            <a:xfrm>
              <a:off x="8289" y="1818"/>
              <a:ext cx="7" cy="0"/>
            </a:xfrm>
            <a:prstGeom prst="line">
              <a:avLst/>
            </a:prstGeom>
            <a:noFill/>
            <a:ln w="12700" cap="rnd">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15" name="Oval 740"/>
            <p:cNvSpPr>
              <a:spLocks noChangeArrowheads="1"/>
            </p:cNvSpPr>
            <p:nvPr/>
          </p:nvSpPr>
          <p:spPr bwMode="auto">
            <a:xfrm>
              <a:off x="8303" y="1737"/>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16" name="Oval 741"/>
            <p:cNvSpPr>
              <a:spLocks noChangeArrowheads="1"/>
            </p:cNvSpPr>
            <p:nvPr/>
          </p:nvSpPr>
          <p:spPr bwMode="auto">
            <a:xfrm>
              <a:off x="8380" y="1812"/>
              <a:ext cx="0"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17" name="Oval 742"/>
            <p:cNvSpPr>
              <a:spLocks noChangeArrowheads="1"/>
            </p:cNvSpPr>
            <p:nvPr/>
          </p:nvSpPr>
          <p:spPr bwMode="auto">
            <a:xfrm>
              <a:off x="8309" y="1668"/>
              <a:ext cx="0"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18" name="Oval 743"/>
            <p:cNvSpPr>
              <a:spLocks noChangeArrowheads="1"/>
            </p:cNvSpPr>
            <p:nvPr/>
          </p:nvSpPr>
          <p:spPr bwMode="auto">
            <a:xfrm>
              <a:off x="8335" y="1784"/>
              <a:ext cx="6"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19" name="Oval 744"/>
            <p:cNvSpPr>
              <a:spLocks noChangeArrowheads="1"/>
            </p:cNvSpPr>
            <p:nvPr/>
          </p:nvSpPr>
          <p:spPr bwMode="auto">
            <a:xfrm>
              <a:off x="8380" y="1790"/>
              <a:ext cx="0" cy="4"/>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20" name="Oval 745"/>
            <p:cNvSpPr>
              <a:spLocks noChangeArrowheads="1"/>
            </p:cNvSpPr>
            <p:nvPr/>
          </p:nvSpPr>
          <p:spPr bwMode="auto">
            <a:xfrm>
              <a:off x="8380" y="1830"/>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21" name="Oval 746"/>
            <p:cNvSpPr>
              <a:spLocks noChangeArrowheads="1"/>
            </p:cNvSpPr>
            <p:nvPr/>
          </p:nvSpPr>
          <p:spPr bwMode="auto">
            <a:xfrm>
              <a:off x="8380" y="1847"/>
              <a:ext cx="6" cy="6"/>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sp>
          <p:nvSpPr>
            <p:cNvPr id="1122" name="Oval 747"/>
            <p:cNvSpPr>
              <a:spLocks noChangeArrowheads="1"/>
            </p:cNvSpPr>
            <p:nvPr/>
          </p:nvSpPr>
          <p:spPr bwMode="auto">
            <a:xfrm>
              <a:off x="8335" y="1720"/>
              <a:ext cx="0" cy="5"/>
            </a:xfrm>
            <a:prstGeom prst="ellipse">
              <a:avLst/>
            </a:prstGeom>
            <a:solidFill>
              <a:srgbClr val="C0C0C0"/>
            </a:solidFill>
            <a:ln w="12700" cap="rnd" algn="ctr">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eaLnBrk="0" fontAlgn="base" hangingPunct="0">
                <a:spcBef>
                  <a:spcPct val="50000"/>
                </a:spcBef>
                <a:spcAft>
                  <a:spcPct val="0"/>
                </a:spcAft>
                <a:defRPr/>
              </a:pPr>
              <a:endParaRPr lang="en-US" sz="2585" kern="0">
                <a:solidFill>
                  <a:srgbClr val="FFFFFF"/>
                </a:solidFill>
              </a:endParaRPr>
            </a:p>
          </p:txBody>
        </p:sp>
      </p:grpSp>
      <p:grpSp>
        <p:nvGrpSpPr>
          <p:cNvPr id="1123" name="Group 748"/>
          <p:cNvGrpSpPr>
            <a:grpSpLocks/>
          </p:cNvGrpSpPr>
          <p:nvPr/>
        </p:nvGrpSpPr>
        <p:grpSpPr bwMode="auto">
          <a:xfrm>
            <a:off x="4239655" y="4862403"/>
            <a:ext cx="1512277" cy="800100"/>
            <a:chOff x="2167" y="3111"/>
            <a:chExt cx="952" cy="546"/>
          </a:xfrm>
        </p:grpSpPr>
        <p:sp>
          <p:nvSpPr>
            <p:cNvPr id="1124" name="Line 749"/>
            <p:cNvSpPr>
              <a:spLocks noChangeShapeType="1"/>
            </p:cNvSpPr>
            <p:nvPr/>
          </p:nvSpPr>
          <p:spPr bwMode="auto">
            <a:xfrm flipV="1">
              <a:off x="2639" y="3430"/>
              <a:ext cx="0" cy="227"/>
            </a:xfrm>
            <a:prstGeom prst="line">
              <a:avLst/>
            </a:prstGeom>
            <a:noFill/>
            <a:ln w="38100">
              <a:solidFill>
                <a:srgbClr val="FFFFFF"/>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25" name="Text Box 750"/>
            <p:cNvSpPr txBox="1">
              <a:spLocks noChangeArrowheads="1"/>
            </p:cNvSpPr>
            <p:nvPr/>
          </p:nvSpPr>
          <p:spPr bwMode="auto">
            <a:xfrm>
              <a:off x="2167" y="3111"/>
              <a:ext cx="952" cy="354"/>
            </a:xfrm>
            <a:prstGeom prst="rect">
              <a:avLst/>
            </a:prstGeom>
            <a:solidFill>
              <a:srgbClr val="000000"/>
            </a:solidFill>
            <a:ln w="2857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3980" eaLnBrk="1" fontAlgn="base" hangingPunct="1">
                <a:lnSpc>
                  <a:spcPct val="125000"/>
                </a:lnSpc>
                <a:spcBef>
                  <a:spcPct val="0"/>
                </a:spcBef>
                <a:spcAft>
                  <a:spcPct val="0"/>
                </a:spcAft>
                <a:defRPr/>
              </a:pPr>
              <a:r>
                <a:rPr lang="en-GB" sz="1108" b="1" kern="0" dirty="0">
                  <a:solidFill>
                    <a:srgbClr val="FFFFFF"/>
                  </a:solidFill>
                </a:rPr>
                <a:t>Last </a:t>
              </a:r>
              <a:r>
                <a:rPr lang="en-GB" sz="1108" b="1" i="1" kern="0" dirty="0">
                  <a:solidFill>
                    <a:srgbClr val="FFFFFF"/>
                  </a:solidFill>
                </a:rPr>
                <a:t>type 2</a:t>
              </a:r>
              <a:r>
                <a:rPr lang="en-GB" sz="1108" b="1" kern="0" dirty="0">
                  <a:solidFill>
                    <a:srgbClr val="FFFFFF"/>
                  </a:solidFill>
                </a:rPr>
                <a:t> polio in the world</a:t>
              </a:r>
              <a:endParaRPr lang="en-US" sz="1108" b="1" kern="0" dirty="0">
                <a:solidFill>
                  <a:srgbClr val="FFFFFF"/>
                </a:solidFill>
              </a:endParaRPr>
            </a:p>
          </p:txBody>
        </p:sp>
      </p:grpSp>
      <p:grpSp>
        <p:nvGrpSpPr>
          <p:cNvPr id="1126" name="Group 748"/>
          <p:cNvGrpSpPr>
            <a:grpSpLocks/>
          </p:cNvGrpSpPr>
          <p:nvPr/>
        </p:nvGrpSpPr>
        <p:grpSpPr bwMode="auto">
          <a:xfrm>
            <a:off x="7579613" y="4862976"/>
            <a:ext cx="1512277" cy="800100"/>
            <a:chOff x="2167" y="3111"/>
            <a:chExt cx="952" cy="546"/>
          </a:xfrm>
        </p:grpSpPr>
        <p:sp>
          <p:nvSpPr>
            <p:cNvPr id="1127" name="Line 749"/>
            <p:cNvSpPr>
              <a:spLocks noChangeShapeType="1"/>
            </p:cNvSpPr>
            <p:nvPr/>
          </p:nvSpPr>
          <p:spPr bwMode="auto">
            <a:xfrm flipV="1">
              <a:off x="2639" y="3430"/>
              <a:ext cx="0" cy="227"/>
            </a:xfrm>
            <a:prstGeom prst="line">
              <a:avLst/>
            </a:prstGeom>
            <a:noFill/>
            <a:ln w="38100">
              <a:solidFill>
                <a:srgbClr val="FFFFFF"/>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980" fontAlgn="base">
                <a:spcBef>
                  <a:spcPct val="0"/>
                </a:spcBef>
                <a:spcAft>
                  <a:spcPct val="0"/>
                </a:spcAft>
                <a:defRPr/>
              </a:pPr>
              <a:endParaRPr lang="en-GB" sz="1662" kern="0">
                <a:solidFill>
                  <a:srgbClr val="FFFFFF"/>
                </a:solidFill>
              </a:endParaRPr>
            </a:p>
          </p:txBody>
        </p:sp>
        <p:sp>
          <p:nvSpPr>
            <p:cNvPr id="1128" name="Text Box 750"/>
            <p:cNvSpPr txBox="1">
              <a:spLocks noChangeArrowheads="1"/>
            </p:cNvSpPr>
            <p:nvPr/>
          </p:nvSpPr>
          <p:spPr bwMode="auto">
            <a:xfrm>
              <a:off x="2167" y="3111"/>
              <a:ext cx="952" cy="354"/>
            </a:xfrm>
            <a:prstGeom prst="rect">
              <a:avLst/>
            </a:prstGeom>
            <a:solidFill>
              <a:srgbClr val="000000"/>
            </a:solidFill>
            <a:ln w="2857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3980" eaLnBrk="1" fontAlgn="base" hangingPunct="1">
                <a:lnSpc>
                  <a:spcPct val="125000"/>
                </a:lnSpc>
                <a:spcBef>
                  <a:spcPct val="0"/>
                </a:spcBef>
                <a:spcAft>
                  <a:spcPct val="0"/>
                </a:spcAft>
                <a:defRPr/>
              </a:pPr>
              <a:r>
                <a:rPr lang="en-GB" sz="1108" b="1" kern="0" dirty="0">
                  <a:solidFill>
                    <a:srgbClr val="FFFFFF"/>
                  </a:solidFill>
                </a:rPr>
                <a:t>Last Polio Case in India</a:t>
              </a:r>
              <a:endParaRPr lang="en-US" sz="1108" b="1" kern="0" dirty="0">
                <a:solidFill>
                  <a:srgbClr val="FFFFFF"/>
                </a:solidFill>
              </a:endParaRPr>
            </a:p>
          </p:txBody>
        </p:sp>
      </p:grpSp>
      <p:sp>
        <p:nvSpPr>
          <p:cNvPr id="1129" name="Rounded Rectangle 1128"/>
          <p:cNvSpPr/>
          <p:nvPr/>
        </p:nvSpPr>
        <p:spPr>
          <a:xfrm>
            <a:off x="52113" y="304961"/>
            <a:ext cx="8973305" cy="814704"/>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80"/>
            <a:endParaRPr lang="en-US" sz="1662">
              <a:solidFill>
                <a:prstClr val="white"/>
              </a:solidFill>
            </a:endParaRPr>
          </a:p>
        </p:txBody>
      </p:sp>
    </p:spTree>
    <p:extLst>
      <p:ext uri="{BB962C8B-B14F-4D97-AF65-F5344CB8AC3E}">
        <p14:creationId xmlns:p14="http://schemas.microsoft.com/office/powerpoint/2010/main" val="329261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51"/>
                                        </p:tgtEl>
                                        <p:attrNameLst>
                                          <p:attrName>style.visibility</p:attrName>
                                        </p:attrNameLst>
                                      </p:cBhvr>
                                      <p:to>
                                        <p:strVal val="visible"/>
                                      </p:to>
                                    </p:set>
                                    <p:animEffect transition="in" filter="blinds(horizontal)">
                                      <p:cBhvr>
                                        <p:cTn id="7" dur="500"/>
                                        <p:tgtEl>
                                          <p:spTgt spid="751"/>
                                        </p:tgtEl>
                                      </p:cBhvr>
                                    </p:animEffect>
                                  </p:childTnLst>
                                </p:cTn>
                              </p:par>
                              <p:par>
                                <p:cTn id="8" presetID="1" presetClass="entr" presetSubtype="0" fill="hold" grpId="0" nodeType="withEffect">
                                  <p:stCondLst>
                                    <p:cond delay="0"/>
                                  </p:stCondLst>
                                  <p:childTnLst>
                                    <p:set>
                                      <p:cBhvr>
                                        <p:cTn id="9" dur="1" fill="hold">
                                          <p:stCondLst>
                                            <p:cond delay="0"/>
                                          </p:stCondLst>
                                        </p:cTn>
                                        <p:tgtEl>
                                          <p:spTgt spid="1131"/>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1" grpId="0" animBg="1"/>
      <p:bldGraphic spid="2" grpId="0">
        <p:bldAsOne/>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375842081"/>
              </p:ext>
            </p:extLst>
          </p:nvPr>
        </p:nvGraphicFramePr>
        <p:xfrm>
          <a:off x="107504" y="44624"/>
          <a:ext cx="8884095" cy="114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0273" y="1371600"/>
            <a:ext cx="3581400" cy="4638966"/>
          </a:xfrm>
          <a:prstGeom prst="rect">
            <a:avLst/>
          </a:prstGeom>
        </p:spPr>
      </p:pic>
      <p:sp>
        <p:nvSpPr>
          <p:cNvPr id="18" name="Text Box 3"/>
          <p:cNvSpPr txBox="1">
            <a:spLocks noChangeArrowheads="1"/>
          </p:cNvSpPr>
          <p:nvPr/>
        </p:nvSpPr>
        <p:spPr bwMode="auto">
          <a:xfrm>
            <a:off x="4191000" y="1365683"/>
            <a:ext cx="4350206" cy="45243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3980" eaLnBrk="1" fontAlgn="base" hangingPunct="1">
              <a:lnSpc>
                <a:spcPct val="150000"/>
              </a:lnSpc>
              <a:spcBef>
                <a:spcPts val="6000"/>
              </a:spcBef>
              <a:spcAft>
                <a:spcPct val="0"/>
              </a:spcAft>
              <a:buSzPct val="75000"/>
            </a:pPr>
            <a:r>
              <a:rPr lang="en-US" sz="3200" b="1" dirty="0" smtClean="0">
                <a:solidFill>
                  <a:srgbClr val="1F02CE"/>
                </a:solidFill>
                <a:latin typeface="Calibri" pitchFamily="34" charset="0"/>
                <a:cs typeface="Calibri" pitchFamily="34" charset="0"/>
              </a:rPr>
              <a:t>Endgame Goal</a:t>
            </a:r>
            <a:r>
              <a:rPr lang="en-US" sz="3200" b="1" dirty="0">
                <a:solidFill>
                  <a:srgbClr val="1F02CE"/>
                </a:solidFill>
                <a:latin typeface="Calibri" pitchFamily="34" charset="0"/>
                <a:cs typeface="Calibri" pitchFamily="34" charset="0"/>
              </a:rPr>
              <a:t>: </a:t>
            </a:r>
            <a:r>
              <a:rPr lang="en-US" sz="3200" dirty="0" smtClean="0">
                <a:solidFill>
                  <a:srgbClr val="1F02CE"/>
                </a:solidFill>
                <a:latin typeface="Calibri" pitchFamily="34" charset="0"/>
                <a:cs typeface="Calibri" pitchFamily="34" charset="0"/>
              </a:rPr>
              <a:t>complete the eradication, containment </a:t>
            </a:r>
            <a:r>
              <a:rPr lang="en-GB" sz="3200" dirty="0" smtClean="0">
                <a:solidFill>
                  <a:srgbClr val="1F02CE"/>
                </a:solidFill>
                <a:latin typeface="Calibri" pitchFamily="34" charset="0"/>
                <a:cs typeface="Calibri" pitchFamily="34" charset="0"/>
              </a:rPr>
              <a:t>&amp; </a:t>
            </a:r>
            <a:r>
              <a:rPr lang="en-US" sz="3200" dirty="0" smtClean="0">
                <a:solidFill>
                  <a:srgbClr val="1F02CE"/>
                </a:solidFill>
                <a:latin typeface="Calibri" pitchFamily="34" charset="0"/>
                <a:cs typeface="Calibri" pitchFamily="34" charset="0"/>
              </a:rPr>
              <a:t>certification of </a:t>
            </a:r>
            <a:r>
              <a:rPr lang="en-US" sz="3200" dirty="0">
                <a:solidFill>
                  <a:srgbClr val="1F02CE"/>
                </a:solidFill>
                <a:latin typeface="Calibri" pitchFamily="34" charset="0"/>
                <a:cs typeface="Calibri" pitchFamily="34" charset="0"/>
              </a:rPr>
              <a:t>all </a:t>
            </a:r>
            <a:r>
              <a:rPr lang="en-US" sz="3200" dirty="0" smtClean="0">
                <a:solidFill>
                  <a:srgbClr val="1F02CE"/>
                </a:solidFill>
                <a:latin typeface="Calibri" pitchFamily="34" charset="0"/>
                <a:cs typeface="Calibri" pitchFamily="34" charset="0"/>
              </a:rPr>
              <a:t>wild &amp; vaccine-related polioviruses</a:t>
            </a:r>
            <a:r>
              <a:rPr lang="en-US" sz="3200" dirty="0">
                <a:solidFill>
                  <a:srgbClr val="1F02CE"/>
                </a:solidFill>
                <a:latin typeface="Calibri" pitchFamily="34" charset="0"/>
                <a:cs typeface="Calibri" pitchFamily="34" charset="0"/>
              </a:rPr>
              <a:t>. </a:t>
            </a:r>
            <a:endParaRPr lang="en-US" sz="2000" i="1" dirty="0">
              <a:solidFill>
                <a:srgbClr val="1F02CE"/>
              </a:solidFill>
              <a:latin typeface="Calibri" pitchFamily="34" charset="0"/>
              <a:cs typeface="Calibri" pitchFamily="34" charset="0"/>
            </a:endParaRPr>
          </a:p>
        </p:txBody>
      </p:sp>
    </p:spTree>
    <p:extLst>
      <p:ext uri="{BB962C8B-B14F-4D97-AF65-F5344CB8AC3E}">
        <p14:creationId xmlns:p14="http://schemas.microsoft.com/office/powerpoint/2010/main" val="17640764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extBox 2"/>
          <p:cNvSpPr txBox="1">
            <a:spLocks noChangeArrowheads="1"/>
          </p:cNvSpPr>
          <p:nvPr/>
        </p:nvSpPr>
        <p:spPr bwMode="auto">
          <a:xfrm flipH="1">
            <a:off x="185050" y="1488830"/>
            <a:ext cx="5346868" cy="4146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itchFamily="34" charset="0"/>
                <a:cs typeface="Arial" pitchFamily="34" charset="0"/>
              </a:defRPr>
            </a:lvl1pPr>
            <a:lvl2pPr marL="914400" indent="-45720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lvl="1" defTabSz="913980" fontAlgn="base">
              <a:spcBef>
                <a:spcPts val="3323"/>
              </a:spcBef>
              <a:spcAft>
                <a:spcPct val="0"/>
              </a:spcAft>
              <a:buFont typeface="Arial" pitchFamily="34" charset="0"/>
              <a:buChar char="•"/>
            </a:pPr>
            <a:r>
              <a:rPr lang="en-US" sz="2585" dirty="0">
                <a:solidFill>
                  <a:srgbClr val="FFFFFF"/>
                </a:solidFill>
                <a:latin typeface="Calibri" pitchFamily="34" charset="0"/>
              </a:rPr>
              <a:t>Poliovirus detection &amp; interruption</a:t>
            </a:r>
            <a:endParaRPr lang="en-US" sz="2585" i="1" dirty="0">
              <a:solidFill>
                <a:srgbClr val="FFFFFF"/>
              </a:solidFill>
              <a:latin typeface="Calibri" pitchFamily="34" charset="0"/>
            </a:endParaRPr>
          </a:p>
          <a:p>
            <a:pPr lvl="1" defTabSz="913980" fontAlgn="base">
              <a:spcBef>
                <a:spcPts val="3323"/>
              </a:spcBef>
              <a:spcAft>
                <a:spcPct val="0"/>
              </a:spcAft>
              <a:buFont typeface="Arial" pitchFamily="34" charset="0"/>
              <a:buChar char="•"/>
            </a:pPr>
            <a:r>
              <a:rPr lang="en-US" sz="2585" dirty="0">
                <a:solidFill>
                  <a:srgbClr val="FFFFFF"/>
                </a:solidFill>
                <a:latin typeface="Calibri" pitchFamily="34" charset="0"/>
              </a:rPr>
              <a:t>OPV withdrawal, IPV introduction, RI strengthening</a:t>
            </a:r>
            <a:endParaRPr lang="en-US" sz="2585" i="1" dirty="0">
              <a:solidFill>
                <a:srgbClr val="FFFFFF"/>
              </a:solidFill>
              <a:latin typeface="Calibri" pitchFamily="34" charset="0"/>
            </a:endParaRPr>
          </a:p>
          <a:p>
            <a:pPr lvl="1" defTabSz="913980" fontAlgn="base">
              <a:spcBef>
                <a:spcPts val="3323"/>
              </a:spcBef>
              <a:spcAft>
                <a:spcPct val="0"/>
              </a:spcAft>
              <a:buFont typeface="Arial" pitchFamily="34" charset="0"/>
              <a:buChar char="•"/>
            </a:pPr>
            <a:r>
              <a:rPr lang="en-US" sz="2585" dirty="0">
                <a:solidFill>
                  <a:srgbClr val="FFFFFF"/>
                </a:solidFill>
                <a:latin typeface="Calibri" pitchFamily="34" charset="0"/>
              </a:rPr>
              <a:t>Containment &amp; Global Certification</a:t>
            </a:r>
          </a:p>
          <a:p>
            <a:pPr lvl="1" defTabSz="913980" fontAlgn="base">
              <a:spcBef>
                <a:spcPts val="3323"/>
              </a:spcBef>
              <a:spcAft>
                <a:spcPct val="0"/>
              </a:spcAft>
              <a:buFont typeface="Arial" pitchFamily="34" charset="0"/>
              <a:buChar char="•"/>
            </a:pPr>
            <a:r>
              <a:rPr lang="en-US" sz="2585" dirty="0">
                <a:solidFill>
                  <a:srgbClr val="FFFFFF"/>
                </a:solidFill>
                <a:latin typeface="Calibri" pitchFamily="34" charset="0"/>
              </a:rPr>
              <a:t>Legacy Planning</a:t>
            </a:r>
          </a:p>
        </p:txBody>
      </p:sp>
      <p:pic>
        <p:nvPicPr>
          <p:cNvPr id="16384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51993" y="1767254"/>
            <a:ext cx="2815003" cy="3988777"/>
          </a:xfrm>
          <a:prstGeom prst="rect">
            <a:avLst/>
          </a:prstGeom>
          <a:noFill/>
          <a:ln w="12700">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3845" name="TextBox 4"/>
          <p:cNvSpPr txBox="1">
            <a:spLocks noChangeArrowheads="1"/>
          </p:cNvSpPr>
          <p:nvPr/>
        </p:nvSpPr>
        <p:spPr bwMode="auto">
          <a:xfrm flipH="1">
            <a:off x="52113" y="504367"/>
            <a:ext cx="8973304" cy="660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3980" fontAlgn="base">
              <a:spcBef>
                <a:spcPts val="3323"/>
              </a:spcBef>
              <a:spcAft>
                <a:spcPct val="0"/>
              </a:spcAft>
            </a:pPr>
            <a:r>
              <a:rPr lang="en-US" sz="3692" b="1" i="1" dirty="0">
                <a:solidFill>
                  <a:srgbClr val="FFFFFF"/>
                </a:solidFill>
                <a:latin typeface="Calibri" pitchFamily="34" charset="0"/>
              </a:rPr>
              <a:t>  Endgame Plan, 2013-18</a:t>
            </a:r>
          </a:p>
        </p:txBody>
      </p:sp>
      <p:sp>
        <p:nvSpPr>
          <p:cNvPr id="7" name="Rounded Rectangle 6"/>
          <p:cNvSpPr/>
          <p:nvPr/>
        </p:nvSpPr>
        <p:spPr>
          <a:xfrm>
            <a:off x="52113" y="348642"/>
            <a:ext cx="8973305" cy="953352"/>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80"/>
            <a:endParaRPr lang="en-US" sz="1662">
              <a:solidFill>
                <a:prstClr val="white"/>
              </a:solidFill>
            </a:endParaRPr>
          </a:p>
        </p:txBody>
      </p:sp>
      <p:sp>
        <p:nvSpPr>
          <p:cNvPr id="6" name="Rounded Rectangle 5"/>
          <p:cNvSpPr/>
          <p:nvPr/>
        </p:nvSpPr>
        <p:spPr>
          <a:xfrm>
            <a:off x="284754" y="2729142"/>
            <a:ext cx="5084873" cy="953352"/>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80"/>
            <a:endParaRPr lang="en-US" sz="1662">
              <a:solidFill>
                <a:prstClr val="white"/>
              </a:solidFill>
            </a:endParaRPr>
          </a:p>
        </p:txBody>
      </p:sp>
    </p:spTree>
    <p:extLst>
      <p:ext uri="{BB962C8B-B14F-4D97-AF65-F5344CB8AC3E}">
        <p14:creationId xmlns:p14="http://schemas.microsoft.com/office/powerpoint/2010/main" val="2706458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136"/>
          <p:cNvSpPr>
            <a:spLocks noChangeArrowheads="1"/>
          </p:cNvSpPr>
          <p:nvPr/>
        </p:nvSpPr>
        <p:spPr bwMode="auto">
          <a:xfrm rot="16200000" flipV="1">
            <a:off x="1081088" y="2263775"/>
            <a:ext cx="685800" cy="1949450"/>
          </a:xfrm>
          <a:prstGeom prst="upArrow">
            <a:avLst>
              <a:gd name="adj1" fmla="val 100000"/>
              <a:gd name="adj2" fmla="val 37542"/>
            </a:avLst>
          </a:prstGeom>
          <a:solidFill>
            <a:schemeClr val="bg1">
              <a:lumMod val="50000"/>
            </a:schemeClr>
          </a:solidFill>
          <a:ln>
            <a:noFill/>
          </a:ln>
          <a:extLst/>
        </p:spPr>
        <p:txBody>
          <a:bodyPr wrap="none" lIns="91429" tIns="45714" rIns="91429" bIns="45714" anchor="ctr"/>
          <a:lstStyle/>
          <a:p>
            <a:pPr defTabSz="912813" fontAlgn="base">
              <a:spcBef>
                <a:spcPct val="0"/>
              </a:spcBef>
              <a:spcAft>
                <a:spcPct val="0"/>
              </a:spcAft>
            </a:pPr>
            <a:endParaRPr lang="en-US" smtClean="0">
              <a:solidFill>
                <a:srgbClr val="000000"/>
              </a:solidFill>
            </a:endParaRPr>
          </a:p>
        </p:txBody>
      </p:sp>
      <p:sp>
        <p:nvSpPr>
          <p:cNvPr id="94250" name="AutoShape 136"/>
          <p:cNvSpPr>
            <a:spLocks noChangeArrowheads="1"/>
          </p:cNvSpPr>
          <p:nvPr/>
        </p:nvSpPr>
        <p:spPr bwMode="auto">
          <a:xfrm rot="16200000" flipV="1">
            <a:off x="1085850" y="1196976"/>
            <a:ext cx="685800" cy="1949450"/>
          </a:xfrm>
          <a:prstGeom prst="upArrow">
            <a:avLst>
              <a:gd name="adj1" fmla="val 100000"/>
              <a:gd name="adj2" fmla="val 37542"/>
            </a:avLst>
          </a:prstGeom>
          <a:solidFill>
            <a:schemeClr val="bg1">
              <a:lumMod val="50000"/>
            </a:schemeClr>
          </a:solidFill>
          <a:ln>
            <a:noFill/>
          </a:ln>
          <a:extLst/>
        </p:spPr>
        <p:txBody>
          <a:bodyPr wrap="none" lIns="91429" tIns="45714" rIns="91429" bIns="45714" anchor="ctr"/>
          <a:lstStyle/>
          <a:p>
            <a:pPr defTabSz="912813" fontAlgn="base">
              <a:spcBef>
                <a:spcPct val="0"/>
              </a:spcBef>
              <a:spcAft>
                <a:spcPct val="0"/>
              </a:spcAft>
            </a:pPr>
            <a:endParaRPr lang="en-US" smtClean="0">
              <a:solidFill>
                <a:srgbClr val="000000"/>
              </a:solidFill>
            </a:endParaRPr>
          </a:p>
        </p:txBody>
      </p:sp>
      <p:sp>
        <p:nvSpPr>
          <p:cNvPr id="41988" name="Text Box 137"/>
          <p:cNvSpPr txBox="1">
            <a:spLocks noChangeArrowheads="1"/>
          </p:cNvSpPr>
          <p:nvPr/>
        </p:nvSpPr>
        <p:spPr bwMode="auto">
          <a:xfrm>
            <a:off x="454032" y="1887538"/>
            <a:ext cx="1852613" cy="5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GB" altLang="ja-JP" sz="1400" b="1" dirty="0" smtClean="0">
                <a:solidFill>
                  <a:srgbClr val="FFFFFF"/>
                </a:solidFill>
                <a:latin typeface="Lucida Sans" panose="020B0602030504020204" pitchFamily="34" charset="0"/>
                <a:cs typeface="Calibri" pitchFamily="34" charset="0"/>
              </a:rPr>
              <a:t>Virus detection &amp; interruption</a:t>
            </a:r>
            <a:endParaRPr lang="en-US" altLang="ja-JP" sz="1400" b="1" dirty="0" smtClean="0">
              <a:solidFill>
                <a:srgbClr val="FFFFFF"/>
              </a:solidFill>
              <a:latin typeface="Lucida Sans" panose="020B0602030504020204" pitchFamily="34" charset="0"/>
              <a:cs typeface="Calibri" pitchFamily="34" charset="0"/>
            </a:endParaRPr>
          </a:p>
        </p:txBody>
      </p:sp>
      <p:sp>
        <p:nvSpPr>
          <p:cNvPr id="59398" name="Text Box 150"/>
          <p:cNvSpPr txBox="1">
            <a:spLocks noChangeArrowheads="1"/>
          </p:cNvSpPr>
          <p:nvPr/>
        </p:nvSpPr>
        <p:spPr bwMode="auto">
          <a:xfrm>
            <a:off x="3241675" y="485775"/>
            <a:ext cx="2603500" cy="368300"/>
          </a:xfrm>
          <a:prstGeom prst="rect">
            <a:avLst/>
          </a:prstGeom>
          <a:solidFill>
            <a:schemeClr val="accent2"/>
          </a:solidFill>
          <a:ln>
            <a:noFill/>
          </a:ln>
          <a:extLst/>
        </p:spPr>
        <p:txBody>
          <a:bodyPr lIns="91429" tIns="45714" rIns="91429" bIns="45714">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GB" altLang="ja-JP" b="1" dirty="0" smtClean="0">
                <a:solidFill>
                  <a:srgbClr val="FFFFFF"/>
                </a:solidFill>
                <a:latin typeface="Calibri" pitchFamily="34" charset="0"/>
                <a:cs typeface="Calibri" pitchFamily="34" charset="0"/>
              </a:rPr>
              <a:t>Last wild polio case</a:t>
            </a:r>
            <a:endParaRPr lang="en-US" altLang="ja-JP" b="1" dirty="0" smtClean="0">
              <a:solidFill>
                <a:srgbClr val="FFFFFF"/>
              </a:solidFill>
              <a:latin typeface="Calibri" pitchFamily="34" charset="0"/>
              <a:cs typeface="Calibri" pitchFamily="34" charset="0"/>
            </a:endParaRPr>
          </a:p>
        </p:txBody>
      </p:sp>
      <p:sp>
        <p:nvSpPr>
          <p:cNvPr id="41990" name="AutoShape 151"/>
          <p:cNvSpPr>
            <a:spLocks noChangeArrowheads="1"/>
          </p:cNvSpPr>
          <p:nvPr/>
        </p:nvSpPr>
        <p:spPr bwMode="auto">
          <a:xfrm flipV="1">
            <a:off x="4410075" y="892175"/>
            <a:ext cx="266700" cy="233363"/>
          </a:xfrm>
          <a:prstGeom prst="triangle">
            <a:avLst>
              <a:gd name="adj" fmla="val 50000"/>
            </a:avLst>
          </a:prstGeom>
          <a:solidFill>
            <a:srgbClr val="FFFF00"/>
          </a:solidFill>
          <a:ln w="9525">
            <a:solidFill>
              <a:schemeClr val="tx1"/>
            </a:solidFill>
            <a:miter lim="800000"/>
            <a:headEnd/>
            <a:tailEnd/>
          </a:ln>
        </p:spPr>
        <p:txBody>
          <a:bodyPr rot="10800000" wrap="none" lIns="91429" tIns="45714" rIns="91429" bIns="45714" anchor="ctr"/>
          <a:lstStyle/>
          <a:p>
            <a:pPr defTabSz="912813" fontAlgn="base">
              <a:spcBef>
                <a:spcPct val="0"/>
              </a:spcBef>
              <a:spcAft>
                <a:spcPct val="0"/>
              </a:spcAft>
            </a:pPr>
            <a:endParaRPr lang="en-US" smtClean="0">
              <a:solidFill>
                <a:srgbClr val="59452A"/>
              </a:solidFill>
            </a:endParaRPr>
          </a:p>
        </p:txBody>
      </p:sp>
      <p:sp>
        <p:nvSpPr>
          <p:cNvPr id="59401" name="Text Box 150"/>
          <p:cNvSpPr txBox="1">
            <a:spLocks noChangeArrowheads="1"/>
          </p:cNvSpPr>
          <p:nvPr/>
        </p:nvSpPr>
        <p:spPr bwMode="auto">
          <a:xfrm>
            <a:off x="7162802" y="485775"/>
            <a:ext cx="1462088" cy="368300"/>
          </a:xfrm>
          <a:prstGeom prst="rect">
            <a:avLst/>
          </a:prstGeom>
          <a:solidFill>
            <a:schemeClr val="accent2"/>
          </a:solidFill>
          <a:ln>
            <a:noFill/>
          </a:ln>
          <a:extLst/>
        </p:spPr>
        <p:txBody>
          <a:bodyPr lIns="91429" tIns="45714" rIns="91429" bIns="45714">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GB" altLang="ja-JP" b="1" smtClean="0">
                <a:solidFill>
                  <a:srgbClr val="FFFFFF"/>
                </a:solidFill>
                <a:latin typeface="Calibri" pitchFamily="34" charset="0"/>
                <a:cs typeface="Calibri" pitchFamily="34" charset="0"/>
              </a:rPr>
              <a:t>Certification</a:t>
            </a:r>
            <a:endParaRPr lang="en-US" altLang="ja-JP" b="1" smtClean="0">
              <a:solidFill>
                <a:srgbClr val="FFFFFF"/>
              </a:solidFill>
              <a:latin typeface="Calibri" pitchFamily="34" charset="0"/>
              <a:cs typeface="Calibri" pitchFamily="34" charset="0"/>
            </a:endParaRPr>
          </a:p>
        </p:txBody>
      </p:sp>
      <p:sp>
        <p:nvSpPr>
          <p:cNvPr id="41993" name="AutoShape 151"/>
          <p:cNvSpPr>
            <a:spLocks noChangeArrowheads="1"/>
          </p:cNvSpPr>
          <p:nvPr/>
        </p:nvSpPr>
        <p:spPr bwMode="auto">
          <a:xfrm flipV="1">
            <a:off x="7781928" y="881063"/>
            <a:ext cx="266700" cy="233362"/>
          </a:xfrm>
          <a:prstGeom prst="triangle">
            <a:avLst>
              <a:gd name="adj" fmla="val 50000"/>
            </a:avLst>
          </a:prstGeom>
          <a:solidFill>
            <a:srgbClr val="FFFF00"/>
          </a:solidFill>
          <a:ln w="9525">
            <a:solidFill>
              <a:schemeClr val="tx1"/>
            </a:solidFill>
            <a:miter lim="800000"/>
            <a:headEnd/>
            <a:tailEnd/>
          </a:ln>
        </p:spPr>
        <p:txBody>
          <a:bodyPr rot="10800000" wrap="none" lIns="91429" tIns="45714" rIns="91429" bIns="45714" anchor="ctr"/>
          <a:lstStyle/>
          <a:p>
            <a:pPr defTabSz="912813" fontAlgn="base">
              <a:spcBef>
                <a:spcPct val="0"/>
              </a:spcBef>
              <a:spcAft>
                <a:spcPct val="0"/>
              </a:spcAft>
            </a:pPr>
            <a:endParaRPr lang="en-US" smtClean="0">
              <a:solidFill>
                <a:srgbClr val="59452A"/>
              </a:solidFill>
            </a:endParaRPr>
          </a:p>
        </p:txBody>
      </p:sp>
      <p:sp>
        <p:nvSpPr>
          <p:cNvPr id="41994" name="Text Box 137"/>
          <p:cNvSpPr txBox="1">
            <a:spLocks noChangeArrowheads="1"/>
          </p:cNvSpPr>
          <p:nvPr/>
        </p:nvSpPr>
        <p:spPr bwMode="auto">
          <a:xfrm>
            <a:off x="449270" y="2970213"/>
            <a:ext cx="2109787" cy="523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GB" altLang="ja-JP" sz="1400" b="1" dirty="0" smtClean="0">
                <a:solidFill>
                  <a:srgbClr val="FFFFFF"/>
                </a:solidFill>
                <a:latin typeface="Lucida Sans" panose="020B0602030504020204" pitchFamily="34" charset="0"/>
                <a:cs typeface="Calibri" pitchFamily="34" charset="0"/>
              </a:rPr>
              <a:t>RI strengthening &amp; OPV withdrawal</a:t>
            </a:r>
            <a:endParaRPr lang="en-US" altLang="ja-JP" sz="1400" b="1" dirty="0" smtClean="0">
              <a:solidFill>
                <a:srgbClr val="FFFFFF"/>
              </a:solidFill>
              <a:latin typeface="Lucida Sans" panose="020B0602030504020204" pitchFamily="34" charset="0"/>
              <a:cs typeface="Calibri" pitchFamily="34" charset="0"/>
            </a:endParaRPr>
          </a:p>
        </p:txBody>
      </p:sp>
      <p:cxnSp>
        <p:nvCxnSpPr>
          <p:cNvPr id="5" name="Straight Connector 4"/>
          <p:cNvCxnSpPr/>
          <p:nvPr/>
        </p:nvCxnSpPr>
        <p:spPr>
          <a:xfrm>
            <a:off x="2559050" y="1565275"/>
            <a:ext cx="5557838"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1" name="AutoShape 136"/>
          <p:cNvSpPr>
            <a:spLocks noChangeArrowheads="1"/>
          </p:cNvSpPr>
          <p:nvPr/>
        </p:nvSpPr>
        <p:spPr bwMode="auto">
          <a:xfrm rot="16200000" flipV="1">
            <a:off x="1081088" y="3494651"/>
            <a:ext cx="685800" cy="1949450"/>
          </a:xfrm>
          <a:prstGeom prst="upArrow">
            <a:avLst>
              <a:gd name="adj1" fmla="val 100000"/>
              <a:gd name="adj2" fmla="val 37542"/>
            </a:avLst>
          </a:prstGeom>
          <a:solidFill>
            <a:schemeClr val="bg1">
              <a:lumMod val="50000"/>
            </a:schemeClr>
          </a:solidFill>
          <a:ln>
            <a:noFill/>
          </a:ln>
          <a:extLst/>
        </p:spPr>
        <p:txBody>
          <a:bodyPr wrap="none" lIns="91429" tIns="45714" rIns="91429" bIns="45714" anchor="ctr"/>
          <a:lstStyle/>
          <a:p>
            <a:pPr defTabSz="912813" fontAlgn="base">
              <a:spcBef>
                <a:spcPct val="0"/>
              </a:spcBef>
              <a:spcAft>
                <a:spcPct val="0"/>
              </a:spcAft>
            </a:pPr>
            <a:endParaRPr lang="en-US" sz="1600" smtClean="0">
              <a:solidFill>
                <a:srgbClr val="000000"/>
              </a:solidFill>
              <a:latin typeface="Lucida Sans" panose="020B0602030504020204" pitchFamily="34" charset="0"/>
            </a:endParaRPr>
          </a:p>
        </p:txBody>
      </p:sp>
      <p:sp>
        <p:nvSpPr>
          <p:cNvPr id="41997" name="Text Box 137"/>
          <p:cNvSpPr txBox="1">
            <a:spLocks noChangeArrowheads="1"/>
          </p:cNvSpPr>
          <p:nvPr/>
        </p:nvSpPr>
        <p:spPr bwMode="auto">
          <a:xfrm>
            <a:off x="449263" y="4114814"/>
            <a:ext cx="1857375" cy="58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GB" altLang="ja-JP" sz="1600" b="1" dirty="0" smtClean="0">
                <a:solidFill>
                  <a:srgbClr val="FFFFFF"/>
                </a:solidFill>
                <a:latin typeface="Calibri" pitchFamily="34" charset="0"/>
                <a:cs typeface="Calibri" pitchFamily="34" charset="0"/>
              </a:rPr>
              <a:t>Containment &amp; certification</a:t>
            </a:r>
            <a:endParaRPr lang="en-US" altLang="ja-JP" sz="1600" b="1" dirty="0" smtClean="0">
              <a:solidFill>
                <a:srgbClr val="FFFFFF"/>
              </a:solidFill>
              <a:latin typeface="Calibri" pitchFamily="34" charset="0"/>
              <a:cs typeface="Calibri" pitchFamily="34" charset="0"/>
            </a:endParaRPr>
          </a:p>
        </p:txBody>
      </p:sp>
      <p:grpSp>
        <p:nvGrpSpPr>
          <p:cNvPr id="6" name="Group 5"/>
          <p:cNvGrpSpPr>
            <a:grpSpLocks/>
          </p:cNvGrpSpPr>
          <p:nvPr/>
        </p:nvGrpSpPr>
        <p:grpSpPr bwMode="auto">
          <a:xfrm>
            <a:off x="2690820" y="1752614"/>
            <a:ext cx="5203825" cy="1812925"/>
            <a:chOff x="2987360" y="1998290"/>
            <a:chExt cx="5638049" cy="1813621"/>
          </a:xfrm>
        </p:grpSpPr>
        <p:sp>
          <p:nvSpPr>
            <p:cNvPr id="67" name="Rounded Rectangle 66"/>
            <p:cNvSpPr/>
            <p:nvPr/>
          </p:nvSpPr>
          <p:spPr bwMode="auto">
            <a:xfrm>
              <a:off x="5457056" y="3126110"/>
              <a:ext cx="1368406" cy="685800"/>
            </a:xfrm>
            <a:prstGeom prst="roundRect">
              <a:avLst/>
            </a:prstGeom>
            <a:solidFill>
              <a:schemeClr val="tx2">
                <a:lumMod val="20000"/>
                <a:lumOff val="80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3992">
                <a:defRPr/>
              </a:pPr>
              <a:r>
                <a:rPr lang="en-US" sz="1400" b="1" dirty="0">
                  <a:solidFill>
                    <a:srgbClr val="323232"/>
                  </a:solidFill>
                  <a:latin typeface="Lucida Sans" panose="020B0602030504020204" pitchFamily="34" charset="0"/>
                  <a:cs typeface="Calibri" pitchFamily="34" charset="0"/>
                </a:rPr>
                <a:t>Introduce IPV</a:t>
              </a:r>
            </a:p>
          </p:txBody>
        </p:sp>
        <p:sp>
          <p:nvSpPr>
            <p:cNvPr id="21" name="Rounded Rectangle 20"/>
            <p:cNvSpPr/>
            <p:nvPr/>
          </p:nvSpPr>
          <p:spPr bwMode="auto">
            <a:xfrm>
              <a:off x="2987360" y="1998290"/>
              <a:ext cx="2469696" cy="685801"/>
            </a:xfrm>
            <a:prstGeom prst="roundRect">
              <a:avLst/>
            </a:prstGeom>
            <a:solidFill>
              <a:schemeClr val="tx2">
                <a:lumMod val="20000"/>
                <a:lumOff val="80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3992">
                <a:defRPr/>
              </a:pPr>
              <a:r>
                <a:rPr lang="en-US" sz="1400" b="1" dirty="0">
                  <a:solidFill>
                    <a:srgbClr val="323232"/>
                  </a:solidFill>
                  <a:latin typeface="Lucida Sans" panose="020B0602030504020204" pitchFamily="34" charset="0"/>
                  <a:cs typeface="Calibri" pitchFamily="34" charset="0"/>
                </a:rPr>
                <a:t>Wild virus </a:t>
              </a:r>
            </a:p>
            <a:p>
              <a:pPr algn="ctr" defTabSz="913992">
                <a:defRPr/>
              </a:pPr>
              <a:r>
                <a:rPr lang="en-US" sz="1400" b="1" dirty="0">
                  <a:solidFill>
                    <a:srgbClr val="323232"/>
                  </a:solidFill>
                  <a:latin typeface="Lucida Sans" panose="020B0602030504020204" pitchFamily="34" charset="0"/>
                  <a:cs typeface="Calibri" pitchFamily="34" charset="0"/>
                </a:rPr>
                <a:t>interruption</a:t>
              </a:r>
            </a:p>
          </p:txBody>
        </p:sp>
        <p:sp>
          <p:nvSpPr>
            <p:cNvPr id="33" name="Rounded Rectangle 32"/>
            <p:cNvSpPr/>
            <p:nvPr/>
          </p:nvSpPr>
          <p:spPr bwMode="auto">
            <a:xfrm>
              <a:off x="5457056" y="1998290"/>
              <a:ext cx="3168352" cy="685801"/>
            </a:xfrm>
            <a:prstGeom prst="roundRect">
              <a:avLst/>
            </a:prstGeom>
            <a:solidFill>
              <a:schemeClr val="bg1"/>
            </a:solidFill>
            <a:ln w="12700">
              <a:solidFill>
                <a:schemeClr val="tx2">
                  <a:lumMod val="20000"/>
                  <a:lumOff val="80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3992">
                <a:defRPr/>
              </a:pPr>
              <a:r>
                <a:rPr lang="en-US" sz="1400" b="1" dirty="0">
                  <a:solidFill>
                    <a:srgbClr val="F8F8F8"/>
                  </a:solidFill>
                  <a:latin typeface="Lucida Sans" panose="020B0602030504020204" pitchFamily="34" charset="0"/>
                  <a:cs typeface="Calibri" pitchFamily="34" charset="0"/>
                </a:rPr>
                <a:t>Outbreak response </a:t>
              </a:r>
            </a:p>
            <a:p>
              <a:pPr algn="ctr" defTabSz="913992">
                <a:defRPr/>
              </a:pPr>
              <a:r>
                <a:rPr lang="en-US" sz="1400" b="1" dirty="0">
                  <a:solidFill>
                    <a:srgbClr val="F8F8F8"/>
                  </a:solidFill>
                  <a:latin typeface="Lucida Sans" panose="020B0602030504020204" pitchFamily="34" charset="0"/>
                  <a:cs typeface="Calibri" pitchFamily="34" charset="0"/>
                </a:rPr>
                <a:t>(esp. </a:t>
              </a:r>
              <a:r>
                <a:rPr lang="en-US" sz="1400" b="1" dirty="0" err="1">
                  <a:solidFill>
                    <a:srgbClr val="F8F8F8"/>
                  </a:solidFill>
                  <a:latin typeface="Lucida Sans" panose="020B0602030504020204" pitchFamily="34" charset="0"/>
                  <a:cs typeface="Calibri" pitchFamily="34" charset="0"/>
                </a:rPr>
                <a:t>cVDPVs</a:t>
              </a:r>
              <a:r>
                <a:rPr lang="en-US" sz="1400" b="1" dirty="0">
                  <a:solidFill>
                    <a:srgbClr val="F8F8F8"/>
                  </a:solidFill>
                  <a:latin typeface="Lucida Sans" panose="020B0602030504020204" pitchFamily="34" charset="0"/>
                  <a:cs typeface="Calibri" pitchFamily="34" charset="0"/>
                </a:rPr>
                <a:t>)</a:t>
              </a:r>
            </a:p>
          </p:txBody>
        </p:sp>
        <p:sp>
          <p:nvSpPr>
            <p:cNvPr id="34" name="Rounded Rectangle 33"/>
            <p:cNvSpPr/>
            <p:nvPr/>
          </p:nvSpPr>
          <p:spPr bwMode="auto">
            <a:xfrm>
              <a:off x="3008784" y="3126110"/>
              <a:ext cx="2448272" cy="685801"/>
            </a:xfrm>
            <a:prstGeom prst="roundRect">
              <a:avLst/>
            </a:prstGeom>
            <a:solidFill>
              <a:schemeClr val="tx2">
                <a:lumMod val="20000"/>
                <a:lumOff val="80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3992">
                <a:defRPr/>
              </a:pPr>
              <a:r>
                <a:rPr lang="en-US" sz="1400" b="1" dirty="0">
                  <a:solidFill>
                    <a:srgbClr val="323232"/>
                  </a:solidFill>
                  <a:latin typeface="Lucida Sans" panose="020B0602030504020204" pitchFamily="34" charset="0"/>
                  <a:cs typeface="Calibri" pitchFamily="34" charset="0"/>
                </a:rPr>
                <a:t>RI strengthening &amp;</a:t>
              </a:r>
            </a:p>
            <a:p>
              <a:pPr algn="ctr" defTabSz="913992">
                <a:defRPr/>
              </a:pPr>
              <a:r>
                <a:rPr lang="en-US" sz="1400" b="1" dirty="0">
                  <a:solidFill>
                    <a:srgbClr val="323232"/>
                  </a:solidFill>
                  <a:latin typeface="Lucida Sans" panose="020B0602030504020204" pitchFamily="34" charset="0"/>
                  <a:cs typeface="Calibri" pitchFamily="34" charset="0"/>
                </a:rPr>
                <a:t>OPV2 pre-requisites</a:t>
              </a:r>
            </a:p>
          </p:txBody>
        </p:sp>
        <p:sp>
          <p:nvSpPr>
            <p:cNvPr id="35" name="Rounded Rectangle 34"/>
            <p:cNvSpPr/>
            <p:nvPr/>
          </p:nvSpPr>
          <p:spPr bwMode="auto">
            <a:xfrm>
              <a:off x="6825461" y="3126110"/>
              <a:ext cx="1799948" cy="685800"/>
            </a:xfrm>
            <a:prstGeom prst="roundRect">
              <a:avLst/>
            </a:prstGeom>
            <a:solidFill>
              <a:schemeClr val="tx2">
                <a:lumMod val="20000"/>
                <a:lumOff val="80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3992">
                <a:defRPr/>
              </a:pPr>
              <a:r>
                <a:rPr lang="en-US" sz="1400" b="1" dirty="0" smtClean="0">
                  <a:solidFill>
                    <a:srgbClr val="323232"/>
                  </a:solidFill>
                  <a:latin typeface="Lucida Sans" panose="020B0602030504020204" pitchFamily="34" charset="0"/>
                  <a:cs typeface="Calibri" pitchFamily="34" charset="0"/>
                </a:rPr>
                <a:t>OPV</a:t>
              </a:r>
              <a:endParaRPr lang="en-US" sz="1400" b="1" dirty="0">
                <a:solidFill>
                  <a:srgbClr val="323232"/>
                </a:solidFill>
                <a:latin typeface="Lucida Sans" panose="020B0602030504020204" pitchFamily="34" charset="0"/>
                <a:cs typeface="Calibri" pitchFamily="34" charset="0"/>
              </a:endParaRPr>
            </a:p>
            <a:p>
              <a:pPr algn="ctr" defTabSz="913992">
                <a:defRPr/>
              </a:pPr>
              <a:r>
                <a:rPr lang="en-US" sz="1400" b="1" dirty="0">
                  <a:solidFill>
                    <a:srgbClr val="323232"/>
                  </a:solidFill>
                  <a:latin typeface="Lucida Sans" panose="020B0602030504020204" pitchFamily="34" charset="0"/>
                  <a:cs typeface="Calibri" pitchFamily="34" charset="0"/>
                </a:rPr>
                <a:t>withdrawal</a:t>
              </a:r>
            </a:p>
          </p:txBody>
        </p:sp>
      </p:grpSp>
      <p:sp>
        <p:nvSpPr>
          <p:cNvPr id="38" name="AutoShape 136"/>
          <p:cNvSpPr>
            <a:spLocks noChangeArrowheads="1"/>
          </p:cNvSpPr>
          <p:nvPr/>
        </p:nvSpPr>
        <p:spPr bwMode="auto">
          <a:xfrm rot="16200000" flipV="1">
            <a:off x="1081088" y="4625975"/>
            <a:ext cx="685800" cy="1949450"/>
          </a:xfrm>
          <a:prstGeom prst="upArrow">
            <a:avLst>
              <a:gd name="adj1" fmla="val 100000"/>
              <a:gd name="adj2" fmla="val 37542"/>
            </a:avLst>
          </a:prstGeom>
          <a:solidFill>
            <a:schemeClr val="bg1">
              <a:lumMod val="50000"/>
            </a:schemeClr>
          </a:solidFill>
          <a:ln>
            <a:noFill/>
          </a:ln>
          <a:extLst/>
        </p:spPr>
        <p:txBody>
          <a:bodyPr wrap="none" lIns="91429" tIns="45714" rIns="91429" bIns="45714" anchor="ctr"/>
          <a:lstStyle/>
          <a:p>
            <a:pPr defTabSz="912813" fontAlgn="base">
              <a:spcBef>
                <a:spcPct val="0"/>
              </a:spcBef>
              <a:spcAft>
                <a:spcPct val="0"/>
              </a:spcAft>
            </a:pPr>
            <a:endParaRPr lang="en-US" sz="1600" smtClean="0">
              <a:solidFill>
                <a:srgbClr val="000000"/>
              </a:solidFill>
            </a:endParaRPr>
          </a:p>
        </p:txBody>
      </p:sp>
      <p:sp>
        <p:nvSpPr>
          <p:cNvPr id="42015" name="Text Box 137"/>
          <p:cNvSpPr txBox="1">
            <a:spLocks noChangeArrowheads="1"/>
          </p:cNvSpPr>
          <p:nvPr/>
        </p:nvSpPr>
        <p:spPr bwMode="auto">
          <a:xfrm>
            <a:off x="449263" y="5206444"/>
            <a:ext cx="1857375" cy="58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GB" altLang="ja-JP" sz="1600" b="1" dirty="0" smtClean="0">
                <a:solidFill>
                  <a:srgbClr val="FFFFFF"/>
                </a:solidFill>
                <a:latin typeface="Lucida Sans" panose="020B0602030504020204" pitchFamily="34" charset="0"/>
                <a:cs typeface="Calibri" pitchFamily="34" charset="0"/>
              </a:rPr>
              <a:t>Legacy Planning</a:t>
            </a:r>
            <a:endParaRPr lang="en-US" altLang="ja-JP" sz="1600" b="1" dirty="0" smtClean="0">
              <a:solidFill>
                <a:srgbClr val="FFFFFF"/>
              </a:solidFill>
              <a:latin typeface="Lucida Sans" panose="020B0602030504020204" pitchFamily="34" charset="0"/>
              <a:cs typeface="Calibri" pitchFamily="34" charset="0"/>
            </a:endParaRPr>
          </a:p>
        </p:txBody>
      </p:sp>
      <p:grpSp>
        <p:nvGrpSpPr>
          <p:cNvPr id="7" name="Group 6"/>
          <p:cNvGrpSpPr>
            <a:grpSpLocks/>
          </p:cNvGrpSpPr>
          <p:nvPr/>
        </p:nvGrpSpPr>
        <p:grpSpPr bwMode="auto">
          <a:xfrm>
            <a:off x="2688434" y="4046538"/>
            <a:ext cx="5205412" cy="1873250"/>
            <a:chOff x="3008783" y="4293096"/>
            <a:chExt cx="5638049" cy="1872208"/>
          </a:xfrm>
        </p:grpSpPr>
        <p:sp>
          <p:nvSpPr>
            <p:cNvPr id="36" name="Rounded Rectangle 35"/>
            <p:cNvSpPr/>
            <p:nvPr/>
          </p:nvSpPr>
          <p:spPr bwMode="auto">
            <a:xfrm>
              <a:off x="3008784" y="4293096"/>
              <a:ext cx="2469696" cy="685801"/>
            </a:xfrm>
            <a:prstGeom prst="roundRect">
              <a:avLst/>
            </a:prstGeom>
            <a:solidFill>
              <a:schemeClr val="bg1"/>
            </a:solidFill>
            <a:ln w="12700">
              <a:solidFill>
                <a:schemeClr val="tx2">
                  <a:lumMod val="20000"/>
                  <a:lumOff val="80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3992">
                <a:defRPr/>
              </a:pPr>
              <a:r>
                <a:rPr lang="en-US" sz="1400" b="1" dirty="0">
                  <a:solidFill>
                    <a:srgbClr val="F8F8F8"/>
                  </a:solidFill>
                  <a:latin typeface="Lucida Sans" panose="020B0602030504020204" pitchFamily="34" charset="0"/>
                  <a:cs typeface="Calibri" pitchFamily="34" charset="0"/>
                </a:rPr>
                <a:t>Finalize long-term containment plans</a:t>
              </a:r>
            </a:p>
          </p:txBody>
        </p:sp>
        <p:sp>
          <p:nvSpPr>
            <p:cNvPr id="37" name="Rounded Rectangle 36"/>
            <p:cNvSpPr/>
            <p:nvPr/>
          </p:nvSpPr>
          <p:spPr bwMode="auto">
            <a:xfrm>
              <a:off x="5478480" y="4293096"/>
              <a:ext cx="3168352" cy="685801"/>
            </a:xfrm>
            <a:prstGeom prst="roundRect">
              <a:avLst/>
            </a:prstGeom>
            <a:solidFill>
              <a:schemeClr val="tx2">
                <a:lumMod val="20000"/>
                <a:lumOff val="80000"/>
              </a:schemeClr>
            </a:solidFill>
            <a:ln w="12700">
              <a:solidFill>
                <a:schemeClr val="tx2">
                  <a:lumMod val="20000"/>
                  <a:lumOff val="80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3992">
                <a:defRPr/>
              </a:pPr>
              <a:r>
                <a:rPr lang="en-US" sz="1400" b="1" dirty="0">
                  <a:solidFill>
                    <a:srgbClr val="323232"/>
                  </a:solidFill>
                  <a:latin typeface="Lucida Sans" panose="020B0602030504020204" pitchFamily="34" charset="0"/>
                  <a:cs typeface="Calibri" pitchFamily="34" charset="0"/>
                </a:rPr>
                <a:t>Complete containment </a:t>
              </a:r>
            </a:p>
            <a:p>
              <a:pPr algn="ctr" defTabSz="913992">
                <a:defRPr/>
              </a:pPr>
              <a:r>
                <a:rPr lang="en-US" sz="1400" b="1" dirty="0">
                  <a:solidFill>
                    <a:srgbClr val="323232"/>
                  </a:solidFill>
                  <a:latin typeface="Lucida Sans" panose="020B0602030504020204" pitchFamily="34" charset="0"/>
                  <a:cs typeface="Calibri" pitchFamily="34" charset="0"/>
                </a:rPr>
                <a:t>&amp; certification globally</a:t>
              </a:r>
            </a:p>
          </p:txBody>
        </p:sp>
        <p:sp>
          <p:nvSpPr>
            <p:cNvPr id="40" name="Rounded Rectangle 39"/>
            <p:cNvSpPr/>
            <p:nvPr/>
          </p:nvSpPr>
          <p:spPr bwMode="auto">
            <a:xfrm>
              <a:off x="3008783" y="5479503"/>
              <a:ext cx="2469696" cy="685801"/>
            </a:xfrm>
            <a:prstGeom prst="roundRect">
              <a:avLst/>
            </a:prstGeom>
            <a:solidFill>
              <a:schemeClr val="bg1"/>
            </a:solidFill>
            <a:ln w="12700">
              <a:solidFill>
                <a:schemeClr val="tx2">
                  <a:lumMod val="20000"/>
                  <a:lumOff val="80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3992">
                <a:defRPr/>
              </a:pPr>
              <a:r>
                <a:rPr lang="en-US" sz="1400" b="1" dirty="0">
                  <a:solidFill>
                    <a:srgbClr val="F8F8F8"/>
                  </a:solidFill>
                  <a:latin typeface="Lucida Sans" panose="020B0602030504020204" pitchFamily="34" charset="0"/>
                  <a:cs typeface="Calibri" pitchFamily="34" charset="0"/>
                </a:rPr>
                <a:t>Consultation &amp; strategic plan</a:t>
              </a:r>
            </a:p>
          </p:txBody>
        </p:sp>
        <p:sp>
          <p:nvSpPr>
            <p:cNvPr id="41" name="Rounded Rectangle 40"/>
            <p:cNvSpPr/>
            <p:nvPr/>
          </p:nvSpPr>
          <p:spPr bwMode="auto">
            <a:xfrm>
              <a:off x="5478479" y="5479503"/>
              <a:ext cx="3168352" cy="685801"/>
            </a:xfrm>
            <a:prstGeom prst="roundRect">
              <a:avLst/>
            </a:prstGeom>
            <a:solidFill>
              <a:schemeClr val="tx2">
                <a:lumMod val="20000"/>
                <a:lumOff val="80000"/>
              </a:schemeClr>
            </a:solidFill>
            <a:ln w="12700">
              <a:solidFill>
                <a:schemeClr val="tx2">
                  <a:lumMod val="20000"/>
                  <a:lumOff val="80000"/>
                </a:schemeClr>
              </a:solid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3992">
                <a:defRPr/>
              </a:pPr>
              <a:r>
                <a:rPr lang="en-US" sz="1400" b="1" dirty="0">
                  <a:solidFill>
                    <a:srgbClr val="323232"/>
                  </a:solidFill>
                  <a:latin typeface="Lucida Sans" panose="020B0602030504020204" pitchFamily="34" charset="0"/>
                  <a:cs typeface="Calibri" pitchFamily="34" charset="0"/>
                </a:rPr>
                <a:t>Initiate implementation of legacy plan</a:t>
              </a:r>
            </a:p>
          </p:txBody>
        </p:sp>
      </p:grpSp>
      <p:sp>
        <p:nvSpPr>
          <p:cNvPr id="59411" name="Text Box 150"/>
          <p:cNvSpPr txBox="1">
            <a:spLocks noChangeArrowheads="1"/>
          </p:cNvSpPr>
          <p:nvPr/>
        </p:nvSpPr>
        <p:spPr bwMode="auto">
          <a:xfrm>
            <a:off x="5570538" y="485775"/>
            <a:ext cx="1593850" cy="368300"/>
          </a:xfrm>
          <a:prstGeom prst="rect">
            <a:avLst/>
          </a:prstGeom>
          <a:solidFill>
            <a:schemeClr val="accent2"/>
          </a:solidFill>
          <a:ln>
            <a:noFill/>
          </a:ln>
          <a:extLst/>
        </p:spPr>
        <p:txBody>
          <a:bodyPr lIns="91429" tIns="45714" rIns="91429" bIns="45714">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GB" altLang="ja-JP" b="1" dirty="0" smtClean="0">
                <a:solidFill>
                  <a:srgbClr val="FFFFFF"/>
                </a:solidFill>
                <a:latin typeface="Calibri" pitchFamily="34" charset="0"/>
                <a:cs typeface="Calibri" pitchFamily="34" charset="0"/>
              </a:rPr>
              <a:t>Last OPV2 use</a:t>
            </a:r>
            <a:endParaRPr lang="en-US" altLang="ja-JP" b="1" dirty="0" smtClean="0">
              <a:solidFill>
                <a:srgbClr val="FFFFFF"/>
              </a:solidFill>
              <a:latin typeface="Calibri" pitchFamily="34" charset="0"/>
              <a:cs typeface="Calibri" pitchFamily="34" charset="0"/>
            </a:endParaRPr>
          </a:p>
        </p:txBody>
      </p:sp>
      <p:sp>
        <p:nvSpPr>
          <p:cNvPr id="42030" name="AutoShape 151"/>
          <p:cNvSpPr>
            <a:spLocks noChangeArrowheads="1"/>
          </p:cNvSpPr>
          <p:nvPr/>
        </p:nvSpPr>
        <p:spPr bwMode="auto">
          <a:xfrm flipV="1">
            <a:off x="5991228" y="858838"/>
            <a:ext cx="266700" cy="233362"/>
          </a:xfrm>
          <a:prstGeom prst="triangle">
            <a:avLst>
              <a:gd name="adj" fmla="val 50000"/>
            </a:avLst>
          </a:prstGeom>
          <a:solidFill>
            <a:srgbClr val="FFFF00"/>
          </a:solidFill>
          <a:ln w="9525">
            <a:solidFill>
              <a:schemeClr val="tx1"/>
            </a:solidFill>
            <a:miter lim="800000"/>
            <a:headEnd/>
            <a:tailEnd/>
          </a:ln>
        </p:spPr>
        <p:txBody>
          <a:bodyPr rot="10800000" wrap="none" lIns="91429" tIns="45714" rIns="91429" bIns="45714" anchor="ctr"/>
          <a:lstStyle/>
          <a:p>
            <a:pPr algn="ctr" defTabSz="912813" fontAlgn="base">
              <a:spcBef>
                <a:spcPct val="0"/>
              </a:spcBef>
              <a:spcAft>
                <a:spcPct val="0"/>
              </a:spcAft>
            </a:pPr>
            <a:endParaRPr lang="en-US" smtClean="0">
              <a:solidFill>
                <a:srgbClr val="59452A"/>
              </a:solidFill>
            </a:endParaRPr>
          </a:p>
        </p:txBody>
      </p:sp>
      <p:sp>
        <p:nvSpPr>
          <p:cNvPr id="59413" name="Text Box 150"/>
          <p:cNvSpPr txBox="1">
            <a:spLocks noChangeArrowheads="1"/>
          </p:cNvSpPr>
          <p:nvPr/>
        </p:nvSpPr>
        <p:spPr bwMode="auto">
          <a:xfrm>
            <a:off x="195263" y="206375"/>
            <a:ext cx="1949450" cy="1200316"/>
          </a:xfrm>
          <a:prstGeom prst="rect">
            <a:avLst/>
          </a:prstGeom>
          <a:solidFill>
            <a:srgbClr val="7030A0"/>
          </a:solidFill>
          <a:ln>
            <a:noFill/>
          </a:ln>
          <a:extLst/>
        </p:spPr>
        <p:txBody>
          <a:bodyPr lIns="91429" tIns="45714" rIns="91429" bIns="45714">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r>
              <a:rPr lang="en-GB" altLang="ja-JP" sz="2400" b="1" i="1" dirty="0" smtClean="0">
                <a:solidFill>
                  <a:srgbClr val="323232">
                    <a:lumMod val="10000"/>
                    <a:lumOff val="90000"/>
                  </a:srgbClr>
                </a:solidFill>
                <a:latin typeface="Calibri"/>
                <a:cs typeface="Calibri" pitchFamily="34" charset="0"/>
              </a:rPr>
              <a:t>Endgame Major </a:t>
            </a:r>
          </a:p>
          <a:p>
            <a:pPr algn="ctr" fontAlgn="base">
              <a:spcBef>
                <a:spcPct val="0"/>
              </a:spcBef>
              <a:spcAft>
                <a:spcPct val="0"/>
              </a:spcAft>
            </a:pPr>
            <a:r>
              <a:rPr lang="en-GB" altLang="ja-JP" sz="2400" b="1" i="1" dirty="0" smtClean="0">
                <a:solidFill>
                  <a:srgbClr val="323232">
                    <a:lumMod val="10000"/>
                    <a:lumOff val="90000"/>
                  </a:srgbClr>
                </a:solidFill>
                <a:latin typeface="Calibri"/>
                <a:cs typeface="Calibri" pitchFamily="34" charset="0"/>
              </a:rPr>
              <a:t>Objectives</a:t>
            </a:r>
            <a:endParaRPr lang="en-US" altLang="ja-JP" sz="2400" b="1" i="1" dirty="0" smtClean="0">
              <a:solidFill>
                <a:srgbClr val="323232">
                  <a:lumMod val="10000"/>
                  <a:lumOff val="90000"/>
                </a:srgbClr>
              </a:solidFill>
              <a:latin typeface="Calibri"/>
              <a:cs typeface="Calibri" pitchFamily="34" charset="0"/>
            </a:endParaRPr>
          </a:p>
        </p:txBody>
      </p:sp>
      <p:sp>
        <p:nvSpPr>
          <p:cNvPr id="42032" name="Text Box 65"/>
          <p:cNvSpPr txBox="1">
            <a:spLocks noChangeArrowheads="1"/>
          </p:cNvSpPr>
          <p:nvPr/>
        </p:nvSpPr>
        <p:spPr bwMode="auto">
          <a:xfrm>
            <a:off x="2509845" y="1092213"/>
            <a:ext cx="6097587" cy="615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lvl1pPr defTabSz="630238">
              <a:defRPr>
                <a:solidFill>
                  <a:schemeClr val="tx1"/>
                </a:solidFill>
                <a:latin typeface="Arial" pitchFamily="34" charset="0"/>
                <a:cs typeface="Arial" pitchFamily="34" charset="0"/>
              </a:defRPr>
            </a:lvl1pPr>
            <a:lvl2pPr marL="742950" indent="-285750" defTabSz="630238">
              <a:defRPr>
                <a:solidFill>
                  <a:schemeClr val="tx1"/>
                </a:solidFill>
                <a:latin typeface="Arial" pitchFamily="34" charset="0"/>
                <a:cs typeface="Arial" pitchFamily="34" charset="0"/>
              </a:defRPr>
            </a:lvl2pPr>
            <a:lvl3pPr marL="1143000" indent="-228600" defTabSz="630238">
              <a:defRPr>
                <a:solidFill>
                  <a:schemeClr val="tx1"/>
                </a:solidFill>
                <a:latin typeface="Arial" pitchFamily="34" charset="0"/>
                <a:cs typeface="Arial" pitchFamily="34" charset="0"/>
              </a:defRPr>
            </a:lvl3pPr>
            <a:lvl4pPr marL="1600200" indent="-228600" defTabSz="630238">
              <a:defRPr>
                <a:solidFill>
                  <a:schemeClr val="tx1"/>
                </a:solidFill>
                <a:latin typeface="Arial" pitchFamily="34" charset="0"/>
                <a:cs typeface="Arial" pitchFamily="34" charset="0"/>
              </a:defRPr>
            </a:lvl4pPr>
            <a:lvl5pPr marL="2057400" indent="-228600" defTabSz="630238">
              <a:defRPr>
                <a:solidFill>
                  <a:schemeClr val="tx1"/>
                </a:solidFill>
                <a:latin typeface="Arial" pitchFamily="34" charset="0"/>
                <a:cs typeface="Arial" pitchFamily="34" charset="0"/>
              </a:defRPr>
            </a:lvl5pPr>
            <a:lvl6pPr marL="2514600" indent="-228600" defTabSz="630238" fontAlgn="base">
              <a:spcBef>
                <a:spcPct val="0"/>
              </a:spcBef>
              <a:spcAft>
                <a:spcPct val="0"/>
              </a:spcAft>
              <a:defRPr>
                <a:solidFill>
                  <a:schemeClr val="tx1"/>
                </a:solidFill>
                <a:latin typeface="Arial" pitchFamily="34" charset="0"/>
                <a:cs typeface="Arial" pitchFamily="34" charset="0"/>
              </a:defRPr>
            </a:lvl6pPr>
            <a:lvl7pPr marL="2971800" indent="-228600" defTabSz="630238" fontAlgn="base">
              <a:spcBef>
                <a:spcPct val="0"/>
              </a:spcBef>
              <a:spcAft>
                <a:spcPct val="0"/>
              </a:spcAft>
              <a:defRPr>
                <a:solidFill>
                  <a:schemeClr val="tx1"/>
                </a:solidFill>
                <a:latin typeface="Arial" pitchFamily="34" charset="0"/>
                <a:cs typeface="Arial" pitchFamily="34" charset="0"/>
              </a:defRPr>
            </a:lvl7pPr>
            <a:lvl8pPr marL="3429000" indent="-228600" defTabSz="630238" fontAlgn="base">
              <a:spcBef>
                <a:spcPct val="0"/>
              </a:spcBef>
              <a:spcAft>
                <a:spcPct val="0"/>
              </a:spcAft>
              <a:defRPr>
                <a:solidFill>
                  <a:schemeClr val="tx1"/>
                </a:solidFill>
                <a:latin typeface="Arial" pitchFamily="34" charset="0"/>
                <a:cs typeface="Arial" pitchFamily="34" charset="0"/>
              </a:defRPr>
            </a:lvl8pPr>
            <a:lvl9pPr marL="3886200" indent="-228600" defTabSz="630238"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GB" altLang="ja-JP" sz="1700" b="1" dirty="0" smtClean="0">
                <a:solidFill>
                  <a:srgbClr val="000000"/>
                </a:solidFill>
              </a:rPr>
              <a:t>2013          2014          2015          2016          2017          2018	 </a:t>
            </a:r>
          </a:p>
        </p:txBody>
      </p:sp>
      <p:sp>
        <p:nvSpPr>
          <p:cNvPr id="2" name="Rounded Rectangle 1"/>
          <p:cNvSpPr/>
          <p:nvPr/>
        </p:nvSpPr>
        <p:spPr>
          <a:xfrm>
            <a:off x="4989513" y="2711464"/>
            <a:ext cx="3059112" cy="1008063"/>
          </a:xfrm>
          <a:prstGeom prst="roundRect">
            <a:avLst/>
          </a:prstGeom>
          <a:noFill/>
          <a:ln w="571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2813" fontAlgn="base">
              <a:spcBef>
                <a:spcPct val="0"/>
              </a:spcBef>
              <a:spcAft>
                <a:spcPct val="0"/>
              </a:spcAft>
            </a:pPr>
            <a:endParaRPr lang="en-GB" smtClean="0">
              <a:solidFill>
                <a:srgbClr val="FFFFFF"/>
              </a:solidFill>
            </a:endParaRPr>
          </a:p>
        </p:txBody>
      </p:sp>
    </p:spTree>
    <p:extLst>
      <p:ext uri="{BB962C8B-B14F-4D97-AF65-F5344CB8AC3E}">
        <p14:creationId xmlns:p14="http://schemas.microsoft.com/office/powerpoint/2010/main" val="36084037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0"/>
            <a:ext cx="8991600" cy="914400"/>
          </a:xfrm>
          <a:solidFill>
            <a:srgbClr val="7030A0"/>
          </a:solidFill>
        </p:spPr>
        <p:txBody>
          <a:bodyPr>
            <a:normAutofit/>
          </a:bodyPr>
          <a:lstStyle/>
          <a:p>
            <a:r>
              <a:rPr lang="en-GB" sz="4000" b="1" dirty="0" smtClean="0">
                <a:solidFill>
                  <a:schemeClr val="bg1">
                    <a:lumMod val="10000"/>
                    <a:lumOff val="90000"/>
                  </a:schemeClr>
                </a:solidFill>
                <a:effectLst>
                  <a:outerShdw blurRad="38100" dist="38100" dir="2700000" algn="tl">
                    <a:srgbClr val="000000">
                      <a:alpha val="43137"/>
                    </a:srgbClr>
                  </a:outerShdw>
                </a:effectLst>
              </a:rPr>
              <a:t>Why is the Polio endgame needed?</a:t>
            </a:r>
            <a:r>
              <a:rPr lang="en-GB" sz="3600" b="1" dirty="0" smtClean="0">
                <a:solidFill>
                  <a:schemeClr val="bg1">
                    <a:lumMod val="10000"/>
                    <a:lumOff val="90000"/>
                  </a:schemeClr>
                </a:solidFill>
                <a:effectLst>
                  <a:outerShdw blurRad="38100" dist="38100" dir="2700000" algn="tl">
                    <a:srgbClr val="000000">
                      <a:alpha val="43137"/>
                    </a:srgbClr>
                  </a:outerShdw>
                </a:effectLst>
              </a:rPr>
              <a:t> </a:t>
            </a:r>
            <a:endParaRPr lang="en-GB" sz="3600" b="1" dirty="0">
              <a:solidFill>
                <a:schemeClr val="bg1">
                  <a:lumMod val="10000"/>
                  <a:lumOff val="90000"/>
                </a:schemeClr>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1" y="1798637"/>
            <a:ext cx="8229600" cy="4525963"/>
          </a:xfrm>
        </p:spPr>
        <p:txBody>
          <a:bodyPr/>
          <a:lstStyle/>
          <a:p>
            <a:r>
              <a:rPr lang="en-GB" dirty="0" smtClean="0">
                <a:solidFill>
                  <a:schemeClr val="bg1"/>
                </a:solidFill>
              </a:rPr>
              <a:t>To secure the polio eradication forever, </a:t>
            </a:r>
            <a:r>
              <a:rPr lang="en-GB" dirty="0" smtClean="0">
                <a:solidFill>
                  <a:srgbClr val="C00000"/>
                </a:solidFill>
              </a:rPr>
              <a:t>all live polioviruses must be removed from populations, including all vaccine viruses</a:t>
            </a:r>
            <a:r>
              <a:rPr lang="en-GB" dirty="0" smtClean="0">
                <a:solidFill>
                  <a:schemeClr val="bg1"/>
                </a:solidFill>
              </a:rPr>
              <a:t>.</a:t>
            </a:r>
          </a:p>
          <a:p>
            <a:endParaRPr lang="en-GB" dirty="0" smtClean="0">
              <a:solidFill>
                <a:schemeClr val="bg1"/>
              </a:solidFill>
            </a:endParaRPr>
          </a:p>
          <a:p>
            <a:r>
              <a:rPr lang="en-GB" dirty="0" smtClean="0">
                <a:solidFill>
                  <a:schemeClr val="bg1"/>
                </a:solidFill>
              </a:rPr>
              <a:t>Without achieving this, polio eradication is not possible.</a:t>
            </a:r>
          </a:p>
          <a:p>
            <a:endParaRPr lang="en-GB" dirty="0">
              <a:solidFill>
                <a:schemeClr val="bg1"/>
              </a:solidFill>
            </a:endParaRPr>
          </a:p>
        </p:txBody>
      </p:sp>
      <p:sp>
        <p:nvSpPr>
          <p:cNvPr id="4" name="Rectangle 3"/>
          <p:cNvSpPr/>
          <p:nvPr/>
        </p:nvSpPr>
        <p:spPr>
          <a:xfrm>
            <a:off x="0" y="3551233"/>
            <a:ext cx="9144000" cy="1752600"/>
          </a:xfrm>
          <a:prstGeom prst="rect">
            <a:avLst/>
          </a:prstGeom>
          <a:solidFill>
            <a:schemeClr val="accent6">
              <a:lumMod val="60000"/>
              <a:lumOff val="40000"/>
              <a:alpha val="38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80"/>
            <a:endParaRPr lang="en-GB">
              <a:solidFill>
                <a:srgbClr val="323232"/>
              </a:solidFill>
            </a:endParaRPr>
          </a:p>
        </p:txBody>
      </p:sp>
    </p:spTree>
    <p:extLst>
      <p:ext uri="{BB962C8B-B14F-4D97-AF65-F5344CB8AC3E}">
        <p14:creationId xmlns:p14="http://schemas.microsoft.com/office/powerpoint/2010/main" val="17002026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5" name="Rectangle 3"/>
          <p:cNvSpPr>
            <a:spLocks noGrp="1" noChangeArrowheads="1"/>
          </p:cNvSpPr>
          <p:nvPr>
            <p:ph type="body" idx="4294967295"/>
          </p:nvPr>
        </p:nvSpPr>
        <p:spPr>
          <a:xfrm>
            <a:off x="195263" y="1301995"/>
            <a:ext cx="8756650" cy="4529504"/>
          </a:xfrm>
          <a:prstGeom prst="rect">
            <a:avLst/>
          </a:prstGeom>
        </p:spPr>
        <p:txBody>
          <a:bodyPr>
            <a:normAutofit/>
          </a:bodyPr>
          <a:lstStyle/>
          <a:p>
            <a:pPr>
              <a:lnSpc>
                <a:spcPct val="80000"/>
              </a:lnSpc>
            </a:pPr>
            <a:r>
              <a:rPr lang="en-US" sz="2585" dirty="0">
                <a:solidFill>
                  <a:schemeClr val="bg1"/>
                </a:solidFill>
                <a:latin typeface="Calibri" panose="020F0502020204030204" pitchFamily="34" charset="0"/>
                <a:cs typeface="Calibri" panose="020F0502020204030204" pitchFamily="34" charset="0"/>
              </a:rPr>
              <a:t>VAPP (Vaccine Associated Paralytic Poliomyelitis): Vaccine virus acquires neurovirulence and causes paralysis in vaccine recipient or close contact </a:t>
            </a:r>
          </a:p>
          <a:p>
            <a:pPr marL="0" indent="0">
              <a:lnSpc>
                <a:spcPct val="80000"/>
              </a:lnSpc>
              <a:buNone/>
            </a:pPr>
            <a:endParaRPr lang="en-US" sz="2585" dirty="0">
              <a:solidFill>
                <a:schemeClr val="bg1"/>
              </a:solidFill>
              <a:latin typeface="Calibri" panose="020F0502020204030204" pitchFamily="34" charset="0"/>
              <a:cs typeface="Calibri" panose="020F0502020204030204" pitchFamily="34" charset="0"/>
            </a:endParaRPr>
          </a:p>
          <a:p>
            <a:pPr>
              <a:lnSpc>
                <a:spcPct val="80000"/>
              </a:lnSpc>
            </a:pPr>
            <a:r>
              <a:rPr lang="en-US" sz="2585" dirty="0">
                <a:solidFill>
                  <a:schemeClr val="bg1"/>
                </a:solidFill>
                <a:latin typeface="Calibri" panose="020F0502020204030204" pitchFamily="34" charset="0"/>
                <a:cs typeface="Calibri" panose="020F0502020204030204" pitchFamily="34" charset="0"/>
              </a:rPr>
              <a:t>VDPVs (Vaccine Derived Polio Viruses): Vaccine virus acquires the virulence and transmissibility characteristics of wild virus following prolonged multiplication in the gut or community</a:t>
            </a:r>
          </a:p>
          <a:p>
            <a:pPr>
              <a:lnSpc>
                <a:spcPct val="80000"/>
              </a:lnSpc>
              <a:buNone/>
            </a:pPr>
            <a:r>
              <a:rPr lang="en-US" sz="2585" dirty="0">
                <a:solidFill>
                  <a:schemeClr val="bg1"/>
                </a:solidFill>
                <a:latin typeface="Calibri" panose="020F0502020204030204" pitchFamily="34" charset="0"/>
                <a:cs typeface="Calibri" panose="020F0502020204030204" pitchFamily="34" charset="0"/>
              </a:rPr>
              <a:t>		</a:t>
            </a:r>
          </a:p>
          <a:p>
            <a:pPr>
              <a:lnSpc>
                <a:spcPct val="80000"/>
              </a:lnSpc>
              <a:buNone/>
            </a:pPr>
            <a:r>
              <a:rPr lang="en-US" sz="2585" dirty="0">
                <a:solidFill>
                  <a:schemeClr val="bg1"/>
                </a:solidFill>
                <a:latin typeface="Calibri" panose="020F0502020204030204" pitchFamily="34" charset="0"/>
                <a:cs typeface="Calibri" panose="020F0502020204030204" pitchFamily="34" charset="0"/>
              </a:rPr>
              <a:t>			Types of VDPVs:</a:t>
            </a:r>
          </a:p>
          <a:p>
            <a:pPr lvl="4">
              <a:lnSpc>
                <a:spcPct val="80000"/>
              </a:lnSpc>
              <a:buFont typeface="Courier New" panose="02070309020205020404" pitchFamily="49" charset="0"/>
              <a:buChar char="o"/>
              <a:tabLst>
                <a:tab pos="1154752" algn="l"/>
              </a:tabLst>
            </a:pPr>
            <a:r>
              <a:rPr lang="en-US" sz="1846" dirty="0">
                <a:solidFill>
                  <a:schemeClr val="bg1"/>
                </a:solidFill>
                <a:latin typeface="Calibri" panose="020F0502020204030204" pitchFamily="34" charset="0"/>
                <a:cs typeface="Calibri" panose="020F0502020204030204" pitchFamily="34" charset="0"/>
              </a:rPr>
              <a:t>circulating VDPVs (</a:t>
            </a:r>
            <a:r>
              <a:rPr lang="en-US" sz="1846" dirty="0" err="1">
                <a:solidFill>
                  <a:schemeClr val="bg1"/>
                </a:solidFill>
                <a:latin typeface="Calibri" panose="020F0502020204030204" pitchFamily="34" charset="0"/>
                <a:cs typeface="Calibri" panose="020F0502020204030204" pitchFamily="34" charset="0"/>
              </a:rPr>
              <a:t>cVDPVs</a:t>
            </a:r>
            <a:r>
              <a:rPr lang="en-US" sz="1846" dirty="0">
                <a:solidFill>
                  <a:schemeClr val="bg1"/>
                </a:solidFill>
                <a:latin typeface="Calibri" panose="020F0502020204030204" pitchFamily="34" charset="0"/>
                <a:cs typeface="Calibri" panose="020F0502020204030204" pitchFamily="34" charset="0"/>
              </a:rPr>
              <a:t>)</a:t>
            </a:r>
          </a:p>
          <a:p>
            <a:pPr lvl="4">
              <a:lnSpc>
                <a:spcPct val="80000"/>
              </a:lnSpc>
              <a:buFont typeface="Courier New" panose="02070309020205020404" pitchFamily="49" charset="0"/>
              <a:buChar char="o"/>
              <a:tabLst>
                <a:tab pos="1154752" algn="l"/>
              </a:tabLst>
            </a:pPr>
            <a:r>
              <a:rPr lang="en-US" sz="1846" dirty="0">
                <a:solidFill>
                  <a:schemeClr val="bg1"/>
                </a:solidFill>
                <a:latin typeface="Calibri" panose="020F0502020204030204" pitchFamily="34" charset="0"/>
                <a:cs typeface="Calibri" panose="020F0502020204030204" pitchFamily="34" charset="0"/>
              </a:rPr>
              <a:t>immunodeficient VDPVs (</a:t>
            </a:r>
            <a:r>
              <a:rPr lang="en-US" sz="1846" dirty="0" err="1">
                <a:solidFill>
                  <a:schemeClr val="bg1"/>
                </a:solidFill>
                <a:latin typeface="Calibri" panose="020F0502020204030204" pitchFamily="34" charset="0"/>
                <a:cs typeface="Calibri" panose="020F0502020204030204" pitchFamily="34" charset="0"/>
              </a:rPr>
              <a:t>iVDPVs</a:t>
            </a:r>
            <a:r>
              <a:rPr lang="en-US" sz="1846" dirty="0">
                <a:solidFill>
                  <a:schemeClr val="bg1"/>
                </a:solidFill>
                <a:latin typeface="Calibri" panose="020F0502020204030204" pitchFamily="34" charset="0"/>
                <a:cs typeface="Calibri" panose="020F0502020204030204" pitchFamily="34" charset="0"/>
              </a:rPr>
              <a:t>) </a:t>
            </a:r>
          </a:p>
          <a:p>
            <a:pPr lvl="4">
              <a:lnSpc>
                <a:spcPct val="80000"/>
              </a:lnSpc>
              <a:buFont typeface="Courier New" panose="02070309020205020404" pitchFamily="49" charset="0"/>
              <a:buChar char="o"/>
              <a:tabLst>
                <a:tab pos="1154752" algn="l"/>
              </a:tabLst>
            </a:pPr>
            <a:r>
              <a:rPr lang="en-US" sz="1846" dirty="0">
                <a:solidFill>
                  <a:schemeClr val="bg1"/>
                </a:solidFill>
                <a:latin typeface="Calibri" panose="020F0502020204030204" pitchFamily="34" charset="0"/>
                <a:cs typeface="Calibri" panose="020F0502020204030204" pitchFamily="34" charset="0"/>
              </a:rPr>
              <a:t>ambiguous VDPVs (</a:t>
            </a:r>
            <a:r>
              <a:rPr lang="en-US" sz="1846" dirty="0" err="1">
                <a:solidFill>
                  <a:schemeClr val="bg1"/>
                </a:solidFill>
                <a:latin typeface="Calibri" panose="020F0502020204030204" pitchFamily="34" charset="0"/>
                <a:cs typeface="Calibri" panose="020F0502020204030204" pitchFamily="34" charset="0"/>
              </a:rPr>
              <a:t>aVDPVs</a:t>
            </a:r>
            <a:r>
              <a:rPr lang="en-US" sz="1846" dirty="0">
                <a:solidFill>
                  <a:schemeClr val="bg1"/>
                </a:solidFill>
                <a:latin typeface="Calibri" panose="020F0502020204030204" pitchFamily="34" charset="0"/>
                <a:cs typeface="Calibri" panose="020F0502020204030204" pitchFamily="34" charset="0"/>
              </a:rPr>
              <a:t>) </a:t>
            </a:r>
          </a:p>
          <a:p>
            <a:pPr>
              <a:lnSpc>
                <a:spcPct val="80000"/>
              </a:lnSpc>
              <a:buFont typeface="Courier New" panose="02070309020205020404" pitchFamily="49" charset="0"/>
              <a:buChar char="o"/>
            </a:pPr>
            <a:endParaRPr lang="en-US" sz="2585" dirty="0">
              <a:solidFill>
                <a:schemeClr val="bg1"/>
              </a:solidFill>
              <a:latin typeface="Calibri" panose="020F0502020204030204" pitchFamily="34" charset="0"/>
              <a:cs typeface="Calibri" panose="020F0502020204030204" pitchFamily="34" charset="0"/>
            </a:endParaRPr>
          </a:p>
          <a:p>
            <a:pPr eaLnBrk="1" hangingPunct="1">
              <a:lnSpc>
                <a:spcPct val="80000"/>
              </a:lnSpc>
              <a:buFontTx/>
              <a:buNone/>
            </a:pPr>
            <a:endParaRPr lang="en-US" sz="2585" dirty="0">
              <a:solidFill>
                <a:schemeClr val="bg1"/>
              </a:solidFill>
              <a:latin typeface="Calibri" panose="020F0502020204030204" pitchFamily="34" charset="0"/>
              <a:cs typeface="Calibri" panose="020F0502020204030204" pitchFamily="34" charset="0"/>
            </a:endParaRPr>
          </a:p>
        </p:txBody>
      </p:sp>
      <p:sp>
        <p:nvSpPr>
          <p:cNvPr id="4" name="Rectangle 3"/>
          <p:cNvSpPr/>
          <p:nvPr/>
        </p:nvSpPr>
        <p:spPr>
          <a:xfrm>
            <a:off x="3177" y="371431"/>
            <a:ext cx="9140824" cy="546945"/>
          </a:xfrm>
          <a:prstGeom prst="rect">
            <a:avLst/>
          </a:prstGeom>
          <a:solidFill>
            <a:srgbClr val="9900CC"/>
          </a:solidFill>
        </p:spPr>
        <p:txBody>
          <a:bodyPr wrap="square">
            <a:spAutoFit/>
          </a:bodyPr>
          <a:lstStyle/>
          <a:p>
            <a:pPr algn="ctr" defTabSz="913980"/>
            <a:r>
              <a:rPr lang="en-US" sz="2954" dirty="0">
                <a:solidFill>
                  <a:srgbClr val="F8F8F8"/>
                </a:solidFill>
                <a:cs typeface="Calibri" panose="020F0502020204030204" pitchFamily="34" charset="0"/>
              </a:rPr>
              <a:t>Paralysis associated with use of OPV</a:t>
            </a:r>
          </a:p>
        </p:txBody>
      </p:sp>
    </p:spTree>
    <p:extLst>
      <p:ext uri="{BB962C8B-B14F-4D97-AF65-F5344CB8AC3E}">
        <p14:creationId xmlns:p14="http://schemas.microsoft.com/office/powerpoint/2010/main" val="3048763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576186532"/>
              </p:ext>
            </p:extLst>
          </p:nvPr>
        </p:nvGraphicFramePr>
        <p:xfrm>
          <a:off x="3538" y="152400"/>
          <a:ext cx="9140462" cy="6156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471646267"/>
              </p:ext>
            </p:extLst>
          </p:nvPr>
        </p:nvGraphicFramePr>
        <p:xfrm>
          <a:off x="179512" y="2057400"/>
          <a:ext cx="8717891" cy="448217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Slide Number Placeholder 9"/>
          <p:cNvSpPr>
            <a:spLocks noGrp="1"/>
          </p:cNvSpPr>
          <p:nvPr>
            <p:ph type="sldNum" sz="quarter" idx="4294967295"/>
          </p:nvPr>
        </p:nvSpPr>
        <p:spPr>
          <a:xfrm>
            <a:off x="8394192" y="6412056"/>
            <a:ext cx="384048" cy="365125"/>
          </a:xfrm>
          <a:prstGeom prst="rect">
            <a:avLst/>
          </a:prstGeom>
        </p:spPr>
        <p:txBody>
          <a:bodyPr/>
          <a:lstStyle/>
          <a:p>
            <a:fld id="{01052961-14CD-45D2-98DF-50022118EB18}" type="slidenum">
              <a:rPr lang="en-US" smtClean="0">
                <a:solidFill>
                  <a:prstClr val="white"/>
                </a:solidFill>
              </a:rPr>
              <a:pPr/>
              <a:t>35</a:t>
            </a:fld>
            <a:endParaRPr lang="en-US" dirty="0">
              <a:solidFill>
                <a:prstClr val="white"/>
              </a:solidFill>
            </a:endParaRPr>
          </a:p>
        </p:txBody>
      </p:sp>
      <p:sp>
        <p:nvSpPr>
          <p:cNvPr id="3" name="Rectangle 2"/>
          <p:cNvSpPr/>
          <p:nvPr/>
        </p:nvSpPr>
        <p:spPr>
          <a:xfrm>
            <a:off x="1143000" y="1295400"/>
            <a:ext cx="6404702" cy="523220"/>
          </a:xfrm>
          <a:prstGeom prst="rect">
            <a:avLst/>
          </a:prstGeom>
          <a:noFill/>
          <a:effectLst/>
        </p:spPr>
        <p:style>
          <a:lnRef idx="1">
            <a:schemeClr val="accent2"/>
          </a:lnRef>
          <a:fillRef idx="3">
            <a:schemeClr val="accent2"/>
          </a:fillRef>
          <a:effectRef idx="2">
            <a:schemeClr val="accent2"/>
          </a:effectRef>
          <a:fontRef idx="minor">
            <a:schemeClr val="lt1"/>
          </a:fontRef>
        </p:style>
        <p:txBody>
          <a:bodyPr wrap="none" lIns="91440" tIns="45720" rIns="91440" bIns="45720">
            <a:spAutoFit/>
          </a:bodyPr>
          <a:lstStyle/>
          <a:p>
            <a:pPr defTabSz="913980">
              <a:spcAft>
                <a:spcPts val="1200"/>
              </a:spcAft>
            </a:pPr>
            <a:r>
              <a:rPr lang="en-US" sz="2800" b="1" dirty="0">
                <a:solidFill>
                  <a:srgbClr val="C00000"/>
                </a:solidFill>
                <a:cs typeface="Arial" pitchFamily="34" charset="0"/>
              </a:rPr>
              <a:t>Risks of OPV2 now outweigh the benefits </a:t>
            </a:r>
          </a:p>
        </p:txBody>
      </p:sp>
    </p:spTree>
    <p:extLst>
      <p:ext uri="{BB962C8B-B14F-4D97-AF65-F5344CB8AC3E}">
        <p14:creationId xmlns:p14="http://schemas.microsoft.com/office/powerpoint/2010/main" val="521952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753" t="7832" r="4296" b="6699"/>
          <a:stretch/>
        </p:blipFill>
        <p:spPr bwMode="auto">
          <a:xfrm>
            <a:off x="76200" y="99830"/>
            <a:ext cx="8991600" cy="6495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423750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455634456"/>
              </p:ext>
            </p:extLst>
          </p:nvPr>
        </p:nvGraphicFramePr>
        <p:xfrm>
          <a:off x="381000" y="152400"/>
          <a:ext cx="8458200" cy="114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p:cNvSpPr>
            <a:spLocks noGrp="1"/>
          </p:cNvSpPr>
          <p:nvPr>
            <p:ph idx="1"/>
          </p:nvPr>
        </p:nvSpPr>
        <p:spPr>
          <a:xfrm>
            <a:off x="76200" y="1600206"/>
            <a:ext cx="9067800" cy="4525963"/>
          </a:xfrm>
        </p:spPr>
        <p:txBody>
          <a:bodyPr rtlCol="0">
            <a:normAutofit fontScale="92500" lnSpcReduction="20000"/>
          </a:bodyPr>
          <a:lstStyle/>
          <a:p>
            <a:pPr marL="342744" indent="-342744" defTabSz="913980" eaLnBrk="1" fontAlgn="auto" hangingPunct="1">
              <a:spcAft>
                <a:spcPts val="900"/>
              </a:spcAft>
              <a:buFont typeface="Arial" pitchFamily="34" charset="0"/>
              <a:buChar char="•"/>
              <a:defRPr/>
            </a:pPr>
            <a:r>
              <a:rPr lang="en-US" dirty="0" smtClean="0">
                <a:solidFill>
                  <a:schemeClr val="bg1"/>
                </a:solidFill>
              </a:rPr>
              <a:t>Globally synchronized, phased withdrawal of OPV strains, starting with OPV type 2</a:t>
            </a:r>
          </a:p>
          <a:p>
            <a:pPr marL="0" indent="0" defTabSz="913980" eaLnBrk="1" fontAlgn="auto" hangingPunct="1">
              <a:spcAft>
                <a:spcPts val="900"/>
              </a:spcAft>
              <a:buNone/>
              <a:defRPr/>
            </a:pPr>
            <a:endParaRPr lang="en-US" dirty="0" smtClean="0">
              <a:solidFill>
                <a:schemeClr val="bg1"/>
              </a:solidFill>
            </a:endParaRPr>
          </a:p>
          <a:p>
            <a:pPr marL="342744" indent="-342744" defTabSz="913980" eaLnBrk="1" fontAlgn="auto" hangingPunct="1">
              <a:spcAft>
                <a:spcPts val="900"/>
              </a:spcAft>
              <a:buFont typeface="Arial" pitchFamily="34" charset="0"/>
              <a:buChar char="•"/>
              <a:defRPr/>
            </a:pPr>
            <a:r>
              <a:rPr lang="en-US" dirty="0" smtClean="0">
                <a:solidFill>
                  <a:schemeClr val="bg1"/>
                </a:solidFill>
              </a:rPr>
              <a:t>OPV type 2 withdrawal means that tOPV (P1+P2+P3) must be replaced with bOPV (P1+P3)</a:t>
            </a:r>
          </a:p>
          <a:p>
            <a:pPr marL="342744" indent="-342744" defTabSz="913980" eaLnBrk="1" fontAlgn="auto" hangingPunct="1">
              <a:spcAft>
                <a:spcPts val="900"/>
              </a:spcAft>
              <a:buFont typeface="Arial" pitchFamily="34" charset="0"/>
              <a:buChar char="•"/>
              <a:defRPr/>
            </a:pPr>
            <a:endParaRPr lang="en-US" dirty="0">
              <a:solidFill>
                <a:schemeClr val="bg1"/>
              </a:solidFill>
            </a:endParaRPr>
          </a:p>
          <a:p>
            <a:pPr marL="342744" indent="-342744" defTabSz="913980" eaLnBrk="1" fontAlgn="auto" hangingPunct="1">
              <a:spcAft>
                <a:spcPts val="900"/>
              </a:spcAft>
              <a:defRPr/>
            </a:pPr>
            <a:r>
              <a:rPr lang="en-GB" dirty="0" smtClean="0">
                <a:solidFill>
                  <a:schemeClr val="bg1"/>
                </a:solidFill>
              </a:rPr>
              <a:t>Withdrawal </a:t>
            </a:r>
            <a:r>
              <a:rPr lang="en-GB" dirty="0">
                <a:solidFill>
                  <a:schemeClr val="bg1"/>
                </a:solidFill>
              </a:rPr>
              <a:t>of OPV type 2 will reduce risk of emergence of cVDPV type 2 and also reduce the burden of VAPP cases </a:t>
            </a:r>
            <a:r>
              <a:rPr lang="en-GB" dirty="0" smtClean="0">
                <a:solidFill>
                  <a:schemeClr val="bg1"/>
                </a:solidFill>
              </a:rPr>
              <a:t>due to OPV type </a:t>
            </a:r>
            <a:r>
              <a:rPr lang="en-GB" dirty="0">
                <a:solidFill>
                  <a:schemeClr val="bg1"/>
                </a:solidFill>
              </a:rPr>
              <a:t>2</a:t>
            </a:r>
          </a:p>
          <a:p>
            <a:pPr marL="342744" indent="-342744" defTabSz="913980" eaLnBrk="1" fontAlgn="auto" hangingPunct="1">
              <a:spcAft>
                <a:spcPts val="900"/>
              </a:spcAft>
              <a:buFont typeface="Arial" pitchFamily="34" charset="0"/>
              <a:buChar char="•"/>
              <a:defRPr/>
            </a:pPr>
            <a:endParaRPr lang="en-US" dirty="0" smtClean="0">
              <a:solidFill>
                <a:schemeClr val="bg1"/>
              </a:solidFill>
            </a:endParaRPr>
          </a:p>
        </p:txBody>
      </p:sp>
    </p:spTree>
    <p:extLst>
      <p:ext uri="{BB962C8B-B14F-4D97-AF65-F5344CB8AC3E}">
        <p14:creationId xmlns:p14="http://schemas.microsoft.com/office/powerpoint/2010/main" val="923815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670215414"/>
              </p:ext>
            </p:extLst>
          </p:nvPr>
        </p:nvGraphicFramePr>
        <p:xfrm>
          <a:off x="0" y="457200"/>
          <a:ext cx="9067800" cy="1752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Content Placeholder 2"/>
          <p:cNvGraphicFramePr>
            <a:graphicFrameLocks noGrp="1"/>
          </p:cNvGraphicFramePr>
          <p:nvPr>
            <p:ph idx="4294967295"/>
            <p:extLst>
              <p:ext uri="{D42A27DB-BD31-4B8C-83A1-F6EECF244321}">
                <p14:modId xmlns:p14="http://schemas.microsoft.com/office/powerpoint/2010/main" val="477812917"/>
              </p:ext>
            </p:extLst>
          </p:nvPr>
        </p:nvGraphicFramePr>
        <p:xfrm>
          <a:off x="-36512" y="3429000"/>
          <a:ext cx="9180512" cy="1676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6" name="Straight Arrow Connector 5"/>
          <p:cNvCxnSpPr/>
          <p:nvPr/>
        </p:nvCxnSpPr>
        <p:spPr>
          <a:xfrm>
            <a:off x="4495800" y="2514600"/>
            <a:ext cx="0" cy="685800"/>
          </a:xfrm>
          <a:prstGeom prst="straightConnector1">
            <a:avLst/>
          </a:prstGeom>
          <a:ln w="76200">
            <a:solidFill>
              <a:srgbClr val="C00000"/>
            </a:solidFill>
            <a:tailEnd type="arrow"/>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15060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884"/>
            <a:ext cx="8991600" cy="1055077"/>
          </a:xfrm>
          <a:solidFill>
            <a:srgbClr val="7030A0"/>
          </a:solidFill>
        </p:spPr>
        <p:txBody>
          <a:bodyPr/>
          <a:lstStyle/>
          <a:p>
            <a:r>
              <a:rPr lang="en-US" b="1" dirty="0" smtClean="0">
                <a:solidFill>
                  <a:schemeClr val="bg1">
                    <a:lumMod val="10000"/>
                    <a:lumOff val="90000"/>
                  </a:schemeClr>
                </a:solidFill>
              </a:rPr>
              <a:t>How does IPV help? </a:t>
            </a:r>
            <a:endParaRPr lang="en-US" b="1" dirty="0">
              <a:solidFill>
                <a:schemeClr val="bg1">
                  <a:lumMod val="10000"/>
                  <a:lumOff val="90000"/>
                </a:schemeClr>
              </a:solidFill>
            </a:endParaRPr>
          </a:p>
        </p:txBody>
      </p:sp>
      <p:sp>
        <p:nvSpPr>
          <p:cNvPr id="3" name="TextBox 2"/>
          <p:cNvSpPr txBox="1"/>
          <p:nvPr/>
        </p:nvSpPr>
        <p:spPr>
          <a:xfrm>
            <a:off x="118582" y="1634340"/>
            <a:ext cx="8796818" cy="3320140"/>
          </a:xfrm>
          <a:prstGeom prst="rect">
            <a:avLst/>
          </a:prstGeom>
          <a:noFill/>
        </p:spPr>
        <p:txBody>
          <a:bodyPr wrap="square">
            <a:spAutoFit/>
          </a:bodyP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422041" indent="-422041" defTabSz="913980" eaLnBrk="1" fontAlgn="base" hangingPunct="1">
              <a:spcBef>
                <a:spcPts val="3877"/>
              </a:spcBef>
              <a:spcAft>
                <a:spcPct val="0"/>
              </a:spcAft>
              <a:buFont typeface="Wingdings" panose="05000000000000000000" pitchFamily="2" charset="2"/>
              <a:buChar char="§"/>
            </a:pPr>
            <a:r>
              <a:rPr lang="en-US" sz="2954" dirty="0">
                <a:solidFill>
                  <a:srgbClr val="1F02CE"/>
                </a:solidFill>
                <a:latin typeface="Calibri" pitchFamily="34" charset="0"/>
              </a:rPr>
              <a:t>Single dose of IPV, given to children previously vaccinated with OPV, boosts humoral and mucosal immunity significantly</a:t>
            </a:r>
          </a:p>
          <a:p>
            <a:pPr marL="422041" indent="-422041" defTabSz="913980" eaLnBrk="1" fontAlgn="base" hangingPunct="1">
              <a:spcBef>
                <a:spcPts val="3877"/>
              </a:spcBef>
              <a:spcAft>
                <a:spcPct val="0"/>
              </a:spcAft>
              <a:buFont typeface="Wingdings" panose="05000000000000000000" pitchFamily="2" charset="2"/>
              <a:buChar char="§"/>
            </a:pPr>
            <a:r>
              <a:rPr lang="en-US" sz="2954" dirty="0">
                <a:solidFill>
                  <a:srgbClr val="A50021"/>
                </a:solidFill>
                <a:latin typeface="Calibri" pitchFamily="34" charset="0"/>
              </a:rPr>
              <a:t>Single dose of IPV given to children that have not received OPV doses previously seroconverts 63% children and primes 99% children</a:t>
            </a:r>
          </a:p>
        </p:txBody>
      </p:sp>
    </p:spTree>
    <p:extLst>
      <p:ext uri="{BB962C8B-B14F-4D97-AF65-F5344CB8AC3E}">
        <p14:creationId xmlns:p14="http://schemas.microsoft.com/office/powerpoint/2010/main" val="15030864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www.polioeradication.org/Portals/0/Image/Media/NewsStories/20150921_certificat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23728" y="240796"/>
            <a:ext cx="4966939" cy="6428564"/>
          </a:xfrm>
          <a:prstGeom prst="rect">
            <a:avLst/>
          </a:prstGeom>
          <a:ln w="2286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7535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How does IPV help? </a:t>
            </a:r>
            <a:endParaRPr lang="en-IN" dirty="0"/>
          </a:p>
        </p:txBody>
      </p:sp>
      <p:sp>
        <p:nvSpPr>
          <p:cNvPr id="4" name="Content Placeholder 3"/>
          <p:cNvSpPr>
            <a:spLocks noGrp="1"/>
          </p:cNvSpPr>
          <p:nvPr>
            <p:ph idx="1"/>
          </p:nvPr>
        </p:nvSpPr>
        <p:spPr/>
        <p:txBody>
          <a:bodyPr/>
          <a:lstStyle/>
          <a:p>
            <a:r>
              <a:rPr lang="en-IN" dirty="0" smtClean="0"/>
              <a:t>Will IPV provide good humoral immunity</a:t>
            </a:r>
          </a:p>
          <a:p>
            <a:r>
              <a:rPr lang="en-IN" dirty="0" smtClean="0"/>
              <a:t>Will IPV increase humoral immunity in OPV primed children? </a:t>
            </a:r>
          </a:p>
          <a:p>
            <a:r>
              <a:rPr lang="en-IN" dirty="0" smtClean="0"/>
              <a:t>Will IPV increase mucosal immunity? </a:t>
            </a:r>
          </a:p>
          <a:p>
            <a:r>
              <a:rPr lang="en-IN" dirty="0" smtClean="0"/>
              <a:t>Will IPV help in reducing VAPP?</a:t>
            </a:r>
          </a:p>
          <a:p>
            <a:r>
              <a:rPr lang="en-IN" dirty="0" smtClean="0"/>
              <a:t>What is the best age to give IPV? </a:t>
            </a:r>
          </a:p>
          <a:p>
            <a:r>
              <a:rPr lang="en-IN" dirty="0" smtClean="0"/>
              <a:t>How many IPV doses are needed?  </a:t>
            </a:r>
          </a:p>
          <a:p>
            <a:endParaRPr lang="en-IN" dirty="0"/>
          </a:p>
        </p:txBody>
      </p:sp>
    </p:spTree>
    <p:extLst>
      <p:ext uri="{BB962C8B-B14F-4D97-AF65-F5344CB8AC3E}">
        <p14:creationId xmlns:p14="http://schemas.microsoft.com/office/powerpoint/2010/main" val="6027954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582" name="Object 134"/>
          <p:cNvGraphicFramePr>
            <a:graphicFrameLocks noGrp="1"/>
          </p:cNvGraphicFramePr>
          <p:nvPr>
            <p:ph sz="half" idx="4294967295"/>
          </p:nvPr>
        </p:nvGraphicFramePr>
        <p:xfrm>
          <a:off x="179388" y="1557338"/>
          <a:ext cx="5199062" cy="4529137"/>
        </p:xfrm>
        <a:graphic>
          <a:graphicData uri="http://schemas.openxmlformats.org/presentationml/2006/ole">
            <mc:AlternateContent xmlns:mc="http://schemas.openxmlformats.org/markup-compatibility/2006">
              <mc:Choice xmlns:v="urn:schemas-microsoft-com:vml" Requires="v">
                <p:oleObj spid="_x0000_s5127" name="Worksheet" r:id="rId4" imgW="5638795" imgH="4600478" progId="Excel.Sheet.8">
                  <p:embed/>
                </p:oleObj>
              </mc:Choice>
              <mc:Fallback>
                <p:oleObj name="Worksheet" r:id="rId4" imgW="5638795" imgH="4600478" progId="Excel.Sheet.8">
                  <p:embed/>
                  <p:pic>
                    <p:nvPicPr>
                      <p:cNvPr id="0" name=""/>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388" y="1557338"/>
                        <a:ext cx="5199062" cy="45291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583" name="TextBox 3"/>
          <p:cNvSpPr txBox="1">
            <a:spLocks noChangeArrowheads="1"/>
          </p:cNvSpPr>
          <p:nvPr/>
        </p:nvSpPr>
        <p:spPr bwMode="auto">
          <a:xfrm rot="10800000">
            <a:off x="-36513" y="2566988"/>
            <a:ext cx="488951" cy="3024187"/>
          </a:xfrm>
          <a:prstGeom prst="rect">
            <a:avLst/>
          </a:prstGeom>
          <a:noFill/>
          <a:ln w="9525">
            <a:noFill/>
            <a:miter lim="800000"/>
            <a:headEnd/>
            <a:tailEnd/>
          </a:ln>
        </p:spPr>
        <p:txBody>
          <a:bodyPr vert="eaVert">
            <a:spAutoFit/>
          </a:bodyPr>
          <a:lstStyle/>
          <a:p>
            <a:pPr algn="ctr" defTabSz="912813"/>
            <a:r>
              <a:rPr lang="en-GB" sz="2000">
                <a:solidFill>
                  <a:srgbClr val="000000"/>
                </a:solidFill>
              </a:rPr>
              <a:t>Percent seropositive</a:t>
            </a:r>
          </a:p>
        </p:txBody>
      </p:sp>
      <p:graphicFrame>
        <p:nvGraphicFramePr>
          <p:cNvPr id="3" name="Diagram 2"/>
          <p:cNvGraphicFramePr/>
          <p:nvPr>
            <p:extLst/>
          </p:nvPr>
        </p:nvGraphicFramePr>
        <p:xfrm>
          <a:off x="-71439" y="0"/>
          <a:ext cx="9215439" cy="155733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Oval 1"/>
          <p:cNvSpPr/>
          <p:nvPr/>
        </p:nvSpPr>
        <p:spPr>
          <a:xfrm>
            <a:off x="1835150" y="1557338"/>
            <a:ext cx="1296988" cy="417671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980">
              <a:defRPr/>
            </a:pPr>
            <a:endParaRPr lang="en-GB">
              <a:solidFill>
                <a:srgbClr val="323232"/>
              </a:solidFill>
            </a:endParaRPr>
          </a:p>
        </p:txBody>
      </p:sp>
      <p:sp>
        <p:nvSpPr>
          <p:cNvPr id="104586" name="Title 5"/>
          <p:cNvSpPr>
            <a:spLocks/>
          </p:cNvSpPr>
          <p:nvPr/>
        </p:nvSpPr>
        <p:spPr bwMode="auto">
          <a:xfrm>
            <a:off x="4356100" y="2636838"/>
            <a:ext cx="4608513" cy="2160587"/>
          </a:xfrm>
          <a:prstGeom prst="rect">
            <a:avLst/>
          </a:prstGeom>
          <a:noFill/>
          <a:ln w="9525">
            <a:noFill/>
            <a:miter lim="800000"/>
            <a:headEnd/>
            <a:tailEnd/>
          </a:ln>
        </p:spPr>
        <p:txBody>
          <a:bodyPr lIns="91398" tIns="45701" rIns="91398" bIns="45701" anchor="ctr"/>
          <a:lstStyle/>
          <a:p>
            <a:pPr defTabSz="913980" eaLnBrk="0" hangingPunct="0"/>
            <a:r>
              <a:rPr lang="en-GB" sz="3400" i="1">
                <a:solidFill>
                  <a:srgbClr val="1B587C"/>
                </a:solidFill>
              </a:rPr>
              <a:t>Impact of IPV vs. OPV booster in OPV vaccinated sero-negative children 9 months of age</a:t>
            </a:r>
          </a:p>
        </p:txBody>
      </p:sp>
      <p:sp>
        <p:nvSpPr>
          <p:cNvPr id="104587" name="Line 117"/>
          <p:cNvSpPr>
            <a:spLocks noChangeShapeType="1"/>
          </p:cNvSpPr>
          <p:nvPr/>
        </p:nvSpPr>
        <p:spPr bwMode="auto">
          <a:xfrm>
            <a:off x="3924300" y="1989138"/>
            <a:ext cx="0" cy="3600450"/>
          </a:xfrm>
          <a:prstGeom prst="line">
            <a:avLst/>
          </a:prstGeom>
          <a:noFill/>
          <a:ln w="9525">
            <a:solidFill>
              <a:srgbClr val="C0C0C0"/>
            </a:solidFill>
            <a:round/>
            <a:headEnd/>
            <a:tailEnd/>
          </a:ln>
        </p:spPr>
        <p:txBody>
          <a:bodyPr/>
          <a:lstStyle/>
          <a:p>
            <a:pPr defTabSz="913980"/>
            <a:endParaRPr lang="en-US">
              <a:solidFill>
                <a:srgbClr val="1B587C"/>
              </a:solidFill>
            </a:endParaRPr>
          </a:p>
        </p:txBody>
      </p:sp>
      <p:sp>
        <p:nvSpPr>
          <p:cNvPr id="4" name="TextBox 3"/>
          <p:cNvSpPr txBox="1"/>
          <p:nvPr/>
        </p:nvSpPr>
        <p:spPr>
          <a:xfrm>
            <a:off x="2195513" y="6308725"/>
            <a:ext cx="800100" cy="369888"/>
          </a:xfrm>
          <a:prstGeom prst="rect">
            <a:avLst/>
          </a:prstGeom>
          <a:noFill/>
        </p:spPr>
        <p:txBody>
          <a:bodyPr wrap="none">
            <a:spAutoFit/>
          </a:bodyPr>
          <a:lstStyle/>
          <a:p>
            <a:pPr defTabSz="913980">
              <a:defRPr/>
            </a:pPr>
            <a:r>
              <a:rPr lang="en-US" dirty="0">
                <a:solidFill>
                  <a:srgbClr val="1B587C"/>
                </a:solidFill>
              </a:rPr>
              <a:t>N=346</a:t>
            </a:r>
          </a:p>
        </p:txBody>
      </p:sp>
    </p:spTree>
    <p:custDataLst>
      <p:tags r:id="rId2"/>
    </p:custDataLst>
    <p:extLst>
      <p:ext uri="{BB962C8B-B14F-4D97-AF65-F5344CB8AC3E}">
        <p14:creationId xmlns:p14="http://schemas.microsoft.com/office/powerpoint/2010/main" val="1736767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graphicFrame>
        <p:nvGraphicFramePr>
          <p:cNvPr id="105508" name="Object 36"/>
          <p:cNvGraphicFramePr>
            <a:graphicFrameLocks/>
          </p:cNvGraphicFramePr>
          <p:nvPr>
            <p:extLst/>
          </p:nvPr>
        </p:nvGraphicFramePr>
        <p:xfrm>
          <a:off x="467486" y="1600200"/>
          <a:ext cx="4866514" cy="4445000"/>
        </p:xfrm>
        <a:graphic>
          <a:graphicData uri="http://schemas.openxmlformats.org/presentationml/2006/ole">
            <mc:AlternateContent xmlns:mc="http://schemas.openxmlformats.org/markup-compatibility/2006">
              <mc:Choice xmlns:v="urn:schemas-microsoft-com:vml" Requires="v">
                <p:oleObj spid="_x0000_s6151" name="Worksheet" r:id="rId4" imgW="5743532" imgH="4514909" progId="Excel.Sheet.8">
                  <p:embed/>
                </p:oleObj>
              </mc:Choice>
              <mc:Fallback>
                <p:oleObj name="Worksheet" r:id="rId4" imgW="5743532" imgH="4514909" progId="Excel.Shee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7486" y="1600200"/>
                        <a:ext cx="4866514" cy="4445000"/>
                      </a:xfrm>
                      <a:prstGeom prst="rect">
                        <a:avLst/>
                      </a:prstGeom>
                      <a:noFill/>
                      <a:extLst/>
                    </p:spPr>
                  </p:pic>
                </p:oleObj>
              </mc:Fallback>
            </mc:AlternateContent>
          </a:graphicData>
        </a:graphic>
      </p:graphicFrame>
      <p:sp>
        <p:nvSpPr>
          <p:cNvPr id="105510" name="TextBox 1"/>
          <p:cNvSpPr txBox="1">
            <a:spLocks noChangeArrowheads="1"/>
          </p:cNvSpPr>
          <p:nvPr/>
        </p:nvSpPr>
        <p:spPr bwMode="auto">
          <a:xfrm>
            <a:off x="5410199" y="2209800"/>
            <a:ext cx="4067175" cy="3024187"/>
          </a:xfrm>
          <a:prstGeom prst="rect">
            <a:avLst/>
          </a:prstGeom>
          <a:noFill/>
          <a:ln w="9525">
            <a:noFill/>
            <a:miter lim="800000"/>
            <a:headEnd/>
            <a:tailEnd/>
          </a:ln>
        </p:spPr>
        <p:txBody>
          <a:bodyPr/>
          <a:lstStyle/>
          <a:p>
            <a:pPr marL="266700" indent="-266700" defTabSz="913980">
              <a:spcBef>
                <a:spcPct val="20000"/>
              </a:spcBef>
              <a:buFont typeface="Arial" charset="0"/>
              <a:buChar char="•"/>
            </a:pPr>
            <a:r>
              <a:rPr lang="en-US" sz="2800" i="1" dirty="0">
                <a:solidFill>
                  <a:srgbClr val="1B587C"/>
                </a:solidFill>
              </a:rPr>
              <a:t>Age: 6-9 months </a:t>
            </a:r>
          </a:p>
          <a:p>
            <a:pPr marL="266700" indent="-266700" defTabSz="913980">
              <a:spcBef>
                <a:spcPct val="20000"/>
              </a:spcBef>
              <a:buFont typeface="Arial" charset="0"/>
              <a:buChar char="•"/>
            </a:pPr>
            <a:r>
              <a:rPr lang="en-US" sz="2800" i="1" dirty="0">
                <a:solidFill>
                  <a:srgbClr val="1B587C"/>
                </a:solidFill>
              </a:rPr>
              <a:t>OPV primed children </a:t>
            </a:r>
          </a:p>
          <a:p>
            <a:pPr marL="266700" indent="-266700" defTabSz="913980">
              <a:spcBef>
                <a:spcPct val="20000"/>
              </a:spcBef>
              <a:buFont typeface="Arial" charset="0"/>
              <a:buChar char="•"/>
            </a:pPr>
            <a:r>
              <a:rPr lang="en-US" sz="2800" i="1" dirty="0">
                <a:solidFill>
                  <a:srgbClr val="1B587C"/>
                </a:solidFill>
              </a:rPr>
              <a:t>Single dose of IPV given at day 0 of study</a:t>
            </a:r>
          </a:p>
          <a:p>
            <a:pPr marL="266700" indent="-266700" defTabSz="913980">
              <a:spcBef>
                <a:spcPct val="20000"/>
              </a:spcBef>
              <a:buFont typeface="Arial" charset="0"/>
              <a:buChar char="•"/>
            </a:pPr>
            <a:r>
              <a:rPr lang="en-US" sz="2800" i="1" dirty="0">
                <a:solidFill>
                  <a:srgbClr val="1B587C"/>
                </a:solidFill>
              </a:rPr>
              <a:t>Blood collected at baseline &amp; 28 days</a:t>
            </a:r>
          </a:p>
        </p:txBody>
      </p:sp>
      <p:graphicFrame>
        <p:nvGraphicFramePr>
          <p:cNvPr id="3" name="Diagram 2"/>
          <p:cNvGraphicFramePr/>
          <p:nvPr>
            <p:extLst/>
          </p:nvPr>
        </p:nvGraphicFramePr>
        <p:xfrm>
          <a:off x="0" y="76200"/>
          <a:ext cx="9144000" cy="144015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6" name="Straight Connector 5"/>
          <p:cNvCxnSpPr/>
          <p:nvPr/>
        </p:nvCxnSpPr>
        <p:spPr>
          <a:xfrm>
            <a:off x="4713288" y="1989138"/>
            <a:ext cx="0" cy="30956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513" name="TextBox 3"/>
          <p:cNvSpPr txBox="1">
            <a:spLocks noChangeArrowheads="1"/>
          </p:cNvSpPr>
          <p:nvPr/>
        </p:nvSpPr>
        <p:spPr bwMode="auto">
          <a:xfrm rot="10800000">
            <a:off x="0" y="1938696"/>
            <a:ext cx="488950" cy="3024187"/>
          </a:xfrm>
          <a:prstGeom prst="rect">
            <a:avLst/>
          </a:prstGeom>
          <a:noFill/>
          <a:ln w="9525">
            <a:noFill/>
            <a:miter lim="800000"/>
            <a:headEnd/>
            <a:tailEnd/>
          </a:ln>
        </p:spPr>
        <p:txBody>
          <a:bodyPr vert="eaVert">
            <a:spAutoFit/>
          </a:bodyPr>
          <a:lstStyle/>
          <a:p>
            <a:pPr algn="ctr" defTabSz="912813"/>
            <a:r>
              <a:rPr lang="en-GB" sz="2000" dirty="0">
                <a:solidFill>
                  <a:srgbClr val="000000"/>
                </a:solidFill>
              </a:rPr>
              <a:t>Percent seropositive</a:t>
            </a:r>
          </a:p>
        </p:txBody>
      </p:sp>
      <p:sp>
        <p:nvSpPr>
          <p:cNvPr id="2" name="TextBox 1"/>
          <p:cNvSpPr txBox="1"/>
          <p:nvPr/>
        </p:nvSpPr>
        <p:spPr>
          <a:xfrm>
            <a:off x="2771775" y="6237288"/>
            <a:ext cx="852488" cy="369887"/>
          </a:xfrm>
          <a:prstGeom prst="rect">
            <a:avLst/>
          </a:prstGeom>
          <a:noFill/>
        </p:spPr>
        <p:txBody>
          <a:bodyPr wrap="none">
            <a:spAutoFit/>
          </a:bodyPr>
          <a:lstStyle/>
          <a:p>
            <a:pPr defTabSz="913980">
              <a:defRPr/>
            </a:pPr>
            <a:r>
              <a:rPr lang="en-US" dirty="0">
                <a:solidFill>
                  <a:srgbClr val="1B587C"/>
                </a:solidFill>
              </a:rPr>
              <a:t>N= 862</a:t>
            </a:r>
          </a:p>
        </p:txBody>
      </p:sp>
    </p:spTree>
    <p:extLst>
      <p:ext uri="{BB962C8B-B14F-4D97-AF65-F5344CB8AC3E}">
        <p14:creationId xmlns:p14="http://schemas.microsoft.com/office/powerpoint/2010/main" val="2164018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5875" y="0"/>
          <a:ext cx="9144000" cy="9810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7538" name="Line 9"/>
          <p:cNvSpPr>
            <a:spLocks noChangeShapeType="1"/>
          </p:cNvSpPr>
          <p:nvPr/>
        </p:nvSpPr>
        <p:spPr bwMode="auto">
          <a:xfrm flipV="1">
            <a:off x="766983" y="4078767"/>
            <a:ext cx="4070384" cy="10185"/>
          </a:xfrm>
          <a:prstGeom prst="line">
            <a:avLst/>
          </a:prstGeom>
          <a:noFill/>
          <a:ln w="13">
            <a:solidFill>
              <a:schemeClr val="tx1"/>
            </a:solidFill>
            <a:round/>
            <a:headEnd/>
            <a:tailEnd/>
          </a:ln>
        </p:spPr>
        <p:txBody>
          <a:bodyPr/>
          <a:lstStyle/>
          <a:p>
            <a:pPr defTabSz="913980"/>
            <a:endParaRPr lang="en-US">
              <a:solidFill>
                <a:srgbClr val="1B587C"/>
              </a:solidFill>
            </a:endParaRPr>
          </a:p>
        </p:txBody>
      </p:sp>
      <p:sp>
        <p:nvSpPr>
          <p:cNvPr id="107539" name="Line 10"/>
          <p:cNvSpPr>
            <a:spLocks noChangeShapeType="1"/>
          </p:cNvSpPr>
          <p:nvPr/>
        </p:nvSpPr>
        <p:spPr bwMode="auto">
          <a:xfrm>
            <a:off x="766983" y="3234923"/>
            <a:ext cx="4070384" cy="0"/>
          </a:xfrm>
          <a:prstGeom prst="line">
            <a:avLst/>
          </a:prstGeom>
          <a:noFill/>
          <a:ln w="13">
            <a:solidFill>
              <a:schemeClr val="tx1"/>
            </a:solidFill>
            <a:round/>
            <a:headEnd/>
            <a:tailEnd/>
          </a:ln>
        </p:spPr>
        <p:txBody>
          <a:bodyPr/>
          <a:lstStyle/>
          <a:p>
            <a:pPr defTabSz="913980"/>
            <a:endParaRPr lang="en-US">
              <a:solidFill>
                <a:srgbClr val="1B587C"/>
              </a:solidFill>
            </a:endParaRPr>
          </a:p>
        </p:txBody>
      </p:sp>
      <p:sp>
        <p:nvSpPr>
          <p:cNvPr id="107540" name="Line 11"/>
          <p:cNvSpPr>
            <a:spLocks noChangeShapeType="1"/>
          </p:cNvSpPr>
          <p:nvPr/>
        </p:nvSpPr>
        <p:spPr bwMode="auto">
          <a:xfrm>
            <a:off x="766983" y="2386715"/>
            <a:ext cx="4070384" cy="0"/>
          </a:xfrm>
          <a:prstGeom prst="line">
            <a:avLst/>
          </a:prstGeom>
          <a:noFill/>
          <a:ln w="13">
            <a:solidFill>
              <a:schemeClr val="tx1"/>
            </a:solidFill>
            <a:round/>
            <a:headEnd/>
            <a:tailEnd/>
          </a:ln>
        </p:spPr>
        <p:txBody>
          <a:bodyPr/>
          <a:lstStyle/>
          <a:p>
            <a:pPr defTabSz="913980"/>
            <a:endParaRPr lang="en-US">
              <a:solidFill>
                <a:srgbClr val="1B587C"/>
              </a:solidFill>
            </a:endParaRPr>
          </a:p>
        </p:txBody>
      </p:sp>
      <p:sp>
        <p:nvSpPr>
          <p:cNvPr id="107541" name="Line 12"/>
          <p:cNvSpPr>
            <a:spLocks noChangeShapeType="1"/>
          </p:cNvSpPr>
          <p:nvPr/>
        </p:nvSpPr>
        <p:spPr bwMode="auto">
          <a:xfrm>
            <a:off x="766983" y="1542871"/>
            <a:ext cx="4070384" cy="0"/>
          </a:xfrm>
          <a:prstGeom prst="line">
            <a:avLst/>
          </a:prstGeom>
          <a:noFill/>
          <a:ln w="13">
            <a:solidFill>
              <a:schemeClr val="tx1"/>
            </a:solidFill>
            <a:round/>
            <a:headEnd/>
            <a:tailEnd/>
          </a:ln>
        </p:spPr>
        <p:txBody>
          <a:bodyPr/>
          <a:lstStyle/>
          <a:p>
            <a:pPr defTabSz="913980"/>
            <a:endParaRPr lang="en-US">
              <a:solidFill>
                <a:srgbClr val="1B587C"/>
              </a:solidFill>
            </a:endParaRPr>
          </a:p>
        </p:txBody>
      </p:sp>
      <p:sp>
        <p:nvSpPr>
          <p:cNvPr id="107542" name="Rectangle 10"/>
          <p:cNvSpPr>
            <a:spLocks noChangeArrowheads="1"/>
          </p:cNvSpPr>
          <p:nvPr/>
        </p:nvSpPr>
        <p:spPr bwMode="auto">
          <a:xfrm>
            <a:off x="874458" y="3758689"/>
            <a:ext cx="107474" cy="1168288"/>
          </a:xfrm>
          <a:prstGeom prst="rect">
            <a:avLst/>
          </a:prstGeom>
          <a:solidFill>
            <a:schemeClr val="tx1">
              <a:lumMod val="60000"/>
              <a:lumOff val="40000"/>
            </a:schemeClr>
          </a:solidFill>
          <a:ln w="0">
            <a:solidFill>
              <a:srgbClr val="1A476F"/>
            </a:solidFill>
            <a:miter lim="800000"/>
            <a:headEnd/>
            <a:tailEnd/>
          </a:ln>
        </p:spPr>
        <p:txBody>
          <a:bodyPr/>
          <a:lstStyle/>
          <a:p>
            <a:pPr defTabSz="912813"/>
            <a:endParaRPr lang="en-IN">
              <a:solidFill>
                <a:srgbClr val="000000"/>
              </a:solidFill>
            </a:endParaRPr>
          </a:p>
        </p:txBody>
      </p:sp>
      <p:sp>
        <p:nvSpPr>
          <p:cNvPr id="107543" name="Rectangle 11"/>
          <p:cNvSpPr>
            <a:spLocks noChangeArrowheads="1"/>
          </p:cNvSpPr>
          <p:nvPr/>
        </p:nvSpPr>
        <p:spPr bwMode="auto">
          <a:xfrm>
            <a:off x="981931" y="3329493"/>
            <a:ext cx="107474" cy="1597484"/>
          </a:xfrm>
          <a:prstGeom prst="rect">
            <a:avLst/>
          </a:prstGeom>
          <a:solidFill>
            <a:srgbClr val="FF6600"/>
          </a:solidFill>
          <a:ln w="0">
            <a:solidFill>
              <a:srgbClr val="90353B"/>
            </a:solidFill>
            <a:miter lim="800000"/>
            <a:headEnd/>
            <a:tailEnd/>
          </a:ln>
        </p:spPr>
        <p:txBody>
          <a:bodyPr/>
          <a:lstStyle/>
          <a:p>
            <a:pPr defTabSz="912813"/>
            <a:endParaRPr lang="en-IN">
              <a:solidFill>
                <a:srgbClr val="000000"/>
              </a:solidFill>
            </a:endParaRPr>
          </a:p>
        </p:txBody>
      </p:sp>
      <p:sp>
        <p:nvSpPr>
          <p:cNvPr id="107544" name="Rectangle 12"/>
          <p:cNvSpPr>
            <a:spLocks noChangeArrowheads="1"/>
          </p:cNvSpPr>
          <p:nvPr/>
        </p:nvSpPr>
        <p:spPr bwMode="auto">
          <a:xfrm>
            <a:off x="1089404" y="1314451"/>
            <a:ext cx="102032" cy="3612526"/>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45" name="Rectangle 13"/>
          <p:cNvSpPr>
            <a:spLocks noChangeArrowheads="1"/>
          </p:cNvSpPr>
          <p:nvPr/>
        </p:nvSpPr>
        <p:spPr bwMode="auto">
          <a:xfrm>
            <a:off x="1266259" y="3464798"/>
            <a:ext cx="107474" cy="1462178"/>
          </a:xfrm>
          <a:prstGeom prst="rect">
            <a:avLst/>
          </a:prstGeom>
          <a:solidFill>
            <a:schemeClr val="tx1">
              <a:lumMod val="60000"/>
              <a:lumOff val="40000"/>
            </a:schemeClr>
          </a:solidFill>
          <a:ln w="0">
            <a:solidFill>
              <a:srgbClr val="1A476F"/>
            </a:solidFill>
            <a:miter lim="800000"/>
            <a:headEnd/>
            <a:tailEnd/>
          </a:ln>
        </p:spPr>
        <p:txBody>
          <a:bodyPr/>
          <a:lstStyle/>
          <a:p>
            <a:pPr defTabSz="912813"/>
            <a:endParaRPr lang="en-IN">
              <a:solidFill>
                <a:srgbClr val="000000"/>
              </a:solidFill>
            </a:endParaRPr>
          </a:p>
        </p:txBody>
      </p:sp>
      <p:sp>
        <p:nvSpPr>
          <p:cNvPr id="107546" name="Rectangle 14"/>
          <p:cNvSpPr>
            <a:spLocks noChangeArrowheads="1"/>
          </p:cNvSpPr>
          <p:nvPr/>
        </p:nvSpPr>
        <p:spPr bwMode="auto">
          <a:xfrm>
            <a:off x="1373732" y="3454614"/>
            <a:ext cx="102032" cy="1472362"/>
          </a:xfrm>
          <a:prstGeom prst="rect">
            <a:avLst/>
          </a:prstGeom>
          <a:solidFill>
            <a:srgbClr val="FF6600"/>
          </a:solidFill>
          <a:ln w="0">
            <a:solidFill>
              <a:srgbClr val="90353B"/>
            </a:solidFill>
            <a:miter lim="800000"/>
            <a:headEnd/>
            <a:tailEnd/>
          </a:ln>
        </p:spPr>
        <p:txBody>
          <a:bodyPr/>
          <a:lstStyle/>
          <a:p>
            <a:pPr defTabSz="912813"/>
            <a:endParaRPr lang="en-IN">
              <a:solidFill>
                <a:srgbClr val="000000"/>
              </a:solidFill>
            </a:endParaRPr>
          </a:p>
        </p:txBody>
      </p:sp>
      <p:sp>
        <p:nvSpPr>
          <p:cNvPr id="107547" name="Rectangle 15"/>
          <p:cNvSpPr>
            <a:spLocks noChangeArrowheads="1"/>
          </p:cNvSpPr>
          <p:nvPr/>
        </p:nvSpPr>
        <p:spPr bwMode="auto">
          <a:xfrm>
            <a:off x="1481206" y="3101072"/>
            <a:ext cx="102032" cy="1825904"/>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48" name="Rectangle 16"/>
          <p:cNvSpPr>
            <a:spLocks noChangeArrowheads="1"/>
          </p:cNvSpPr>
          <p:nvPr/>
        </p:nvSpPr>
        <p:spPr bwMode="auto">
          <a:xfrm>
            <a:off x="1658061" y="4382843"/>
            <a:ext cx="107474" cy="544134"/>
          </a:xfrm>
          <a:prstGeom prst="rect">
            <a:avLst/>
          </a:prstGeom>
          <a:solidFill>
            <a:schemeClr val="tx1">
              <a:lumMod val="60000"/>
              <a:lumOff val="40000"/>
            </a:schemeClr>
          </a:solidFill>
          <a:ln w="0">
            <a:solidFill>
              <a:srgbClr val="1A476F"/>
            </a:solidFill>
            <a:miter lim="800000"/>
            <a:headEnd/>
            <a:tailEnd/>
          </a:ln>
        </p:spPr>
        <p:txBody>
          <a:bodyPr/>
          <a:lstStyle/>
          <a:p>
            <a:pPr defTabSz="912813"/>
            <a:endParaRPr lang="en-IN">
              <a:solidFill>
                <a:srgbClr val="000000"/>
              </a:solidFill>
            </a:endParaRPr>
          </a:p>
        </p:txBody>
      </p:sp>
      <p:sp>
        <p:nvSpPr>
          <p:cNvPr id="107549" name="Rectangle 17"/>
          <p:cNvSpPr>
            <a:spLocks noChangeArrowheads="1"/>
          </p:cNvSpPr>
          <p:nvPr/>
        </p:nvSpPr>
        <p:spPr bwMode="auto">
          <a:xfrm>
            <a:off x="1765534" y="4308642"/>
            <a:ext cx="103392" cy="618334"/>
          </a:xfrm>
          <a:prstGeom prst="rect">
            <a:avLst/>
          </a:prstGeom>
          <a:solidFill>
            <a:srgbClr val="FF6600"/>
          </a:solidFill>
          <a:ln w="0">
            <a:solidFill>
              <a:srgbClr val="90353B"/>
            </a:solidFill>
            <a:miter lim="800000"/>
            <a:headEnd/>
            <a:tailEnd/>
          </a:ln>
        </p:spPr>
        <p:txBody>
          <a:bodyPr/>
          <a:lstStyle/>
          <a:p>
            <a:pPr defTabSz="912813"/>
            <a:endParaRPr lang="en-IN">
              <a:solidFill>
                <a:srgbClr val="000000"/>
              </a:solidFill>
            </a:endParaRPr>
          </a:p>
        </p:txBody>
      </p:sp>
      <p:sp>
        <p:nvSpPr>
          <p:cNvPr id="107550" name="Rectangle 29"/>
          <p:cNvSpPr>
            <a:spLocks noChangeArrowheads="1"/>
          </p:cNvSpPr>
          <p:nvPr/>
        </p:nvSpPr>
        <p:spPr bwMode="auto">
          <a:xfrm>
            <a:off x="1873008" y="3918728"/>
            <a:ext cx="103392" cy="1008249"/>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51" name="Rectangle 30"/>
          <p:cNvSpPr>
            <a:spLocks noChangeArrowheads="1"/>
          </p:cNvSpPr>
          <p:nvPr/>
        </p:nvSpPr>
        <p:spPr bwMode="auto">
          <a:xfrm>
            <a:off x="2195427" y="4612717"/>
            <a:ext cx="107474" cy="314259"/>
          </a:xfrm>
          <a:prstGeom prst="rect">
            <a:avLst/>
          </a:prstGeom>
          <a:solidFill>
            <a:schemeClr val="tx1">
              <a:lumMod val="60000"/>
              <a:lumOff val="40000"/>
            </a:schemeClr>
          </a:solidFill>
          <a:ln w="0">
            <a:solidFill>
              <a:srgbClr val="1A476F"/>
            </a:solidFill>
            <a:miter lim="800000"/>
            <a:headEnd/>
            <a:tailEnd/>
          </a:ln>
        </p:spPr>
        <p:txBody>
          <a:bodyPr/>
          <a:lstStyle/>
          <a:p>
            <a:pPr defTabSz="912813"/>
            <a:endParaRPr lang="en-IN">
              <a:solidFill>
                <a:srgbClr val="000000"/>
              </a:solidFill>
            </a:endParaRPr>
          </a:p>
        </p:txBody>
      </p:sp>
      <p:sp>
        <p:nvSpPr>
          <p:cNvPr id="107552" name="Rectangle 31"/>
          <p:cNvSpPr>
            <a:spLocks noChangeArrowheads="1"/>
          </p:cNvSpPr>
          <p:nvPr/>
        </p:nvSpPr>
        <p:spPr bwMode="auto">
          <a:xfrm>
            <a:off x="2302901" y="4088952"/>
            <a:ext cx="107474" cy="838024"/>
          </a:xfrm>
          <a:prstGeom prst="rect">
            <a:avLst/>
          </a:prstGeom>
          <a:solidFill>
            <a:srgbClr val="FF6600"/>
          </a:solidFill>
          <a:ln w="0">
            <a:solidFill>
              <a:srgbClr val="90353B"/>
            </a:solidFill>
            <a:miter lim="800000"/>
            <a:headEnd/>
            <a:tailEnd/>
          </a:ln>
        </p:spPr>
        <p:txBody>
          <a:bodyPr/>
          <a:lstStyle/>
          <a:p>
            <a:pPr defTabSz="912813"/>
            <a:endParaRPr lang="en-IN">
              <a:solidFill>
                <a:srgbClr val="000000"/>
              </a:solidFill>
            </a:endParaRPr>
          </a:p>
        </p:txBody>
      </p:sp>
      <p:sp>
        <p:nvSpPr>
          <p:cNvPr id="107553" name="Rectangle 32"/>
          <p:cNvSpPr>
            <a:spLocks noChangeArrowheads="1"/>
          </p:cNvSpPr>
          <p:nvPr/>
        </p:nvSpPr>
        <p:spPr bwMode="auto">
          <a:xfrm>
            <a:off x="2410374" y="1692726"/>
            <a:ext cx="107474" cy="3234251"/>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54" name="Rectangle 33"/>
          <p:cNvSpPr>
            <a:spLocks noChangeArrowheads="1"/>
          </p:cNvSpPr>
          <p:nvPr/>
        </p:nvSpPr>
        <p:spPr bwMode="auto">
          <a:xfrm>
            <a:off x="2587229" y="3928913"/>
            <a:ext cx="107474" cy="998064"/>
          </a:xfrm>
          <a:prstGeom prst="rect">
            <a:avLst/>
          </a:prstGeom>
          <a:solidFill>
            <a:schemeClr val="tx1">
              <a:lumMod val="60000"/>
              <a:lumOff val="40000"/>
            </a:schemeClr>
          </a:solidFill>
          <a:ln w="0">
            <a:solidFill>
              <a:srgbClr val="1A476F"/>
            </a:solidFill>
            <a:miter lim="800000"/>
            <a:headEnd/>
            <a:tailEnd/>
          </a:ln>
        </p:spPr>
        <p:txBody>
          <a:bodyPr/>
          <a:lstStyle/>
          <a:p>
            <a:pPr defTabSz="912813"/>
            <a:endParaRPr lang="en-IN">
              <a:solidFill>
                <a:srgbClr val="000000"/>
              </a:solidFill>
            </a:endParaRPr>
          </a:p>
        </p:txBody>
      </p:sp>
      <p:sp>
        <p:nvSpPr>
          <p:cNvPr id="107555" name="Rectangle 34"/>
          <p:cNvSpPr>
            <a:spLocks noChangeArrowheads="1"/>
          </p:cNvSpPr>
          <p:nvPr/>
        </p:nvSpPr>
        <p:spPr bwMode="auto">
          <a:xfrm>
            <a:off x="2694703" y="3844528"/>
            <a:ext cx="107474" cy="1082448"/>
          </a:xfrm>
          <a:prstGeom prst="rect">
            <a:avLst/>
          </a:prstGeom>
          <a:solidFill>
            <a:srgbClr val="FF6600"/>
          </a:solidFill>
          <a:ln w="0">
            <a:solidFill>
              <a:srgbClr val="90353B"/>
            </a:solidFill>
            <a:miter lim="800000"/>
            <a:headEnd/>
            <a:tailEnd/>
          </a:ln>
        </p:spPr>
        <p:txBody>
          <a:bodyPr/>
          <a:lstStyle/>
          <a:p>
            <a:pPr defTabSz="912813"/>
            <a:endParaRPr lang="en-IN">
              <a:solidFill>
                <a:srgbClr val="000000"/>
              </a:solidFill>
            </a:endParaRPr>
          </a:p>
        </p:txBody>
      </p:sp>
      <p:sp>
        <p:nvSpPr>
          <p:cNvPr id="107556" name="Rectangle 35"/>
          <p:cNvSpPr>
            <a:spLocks noChangeArrowheads="1"/>
          </p:cNvSpPr>
          <p:nvPr/>
        </p:nvSpPr>
        <p:spPr bwMode="auto">
          <a:xfrm>
            <a:off x="2802175" y="3329493"/>
            <a:ext cx="107474" cy="1597484"/>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57" name="Rectangle 36"/>
          <p:cNvSpPr>
            <a:spLocks noChangeArrowheads="1"/>
          </p:cNvSpPr>
          <p:nvPr/>
        </p:nvSpPr>
        <p:spPr bwMode="auto">
          <a:xfrm>
            <a:off x="2979030" y="4462862"/>
            <a:ext cx="107474" cy="464115"/>
          </a:xfrm>
          <a:prstGeom prst="rect">
            <a:avLst/>
          </a:prstGeom>
          <a:solidFill>
            <a:schemeClr val="tx1">
              <a:lumMod val="60000"/>
              <a:lumOff val="40000"/>
            </a:schemeClr>
          </a:solidFill>
          <a:ln w="0">
            <a:solidFill>
              <a:srgbClr val="1A476F"/>
            </a:solidFill>
            <a:miter lim="800000"/>
            <a:headEnd/>
            <a:tailEnd/>
          </a:ln>
        </p:spPr>
        <p:txBody>
          <a:bodyPr/>
          <a:lstStyle/>
          <a:p>
            <a:pPr defTabSz="912813"/>
            <a:endParaRPr lang="en-IN">
              <a:solidFill>
                <a:srgbClr val="000000"/>
              </a:solidFill>
            </a:endParaRPr>
          </a:p>
        </p:txBody>
      </p:sp>
      <p:sp>
        <p:nvSpPr>
          <p:cNvPr id="107558" name="Rectangle 37"/>
          <p:cNvSpPr>
            <a:spLocks noChangeArrowheads="1"/>
          </p:cNvSpPr>
          <p:nvPr/>
        </p:nvSpPr>
        <p:spPr bwMode="auto">
          <a:xfrm>
            <a:off x="3086504" y="4547246"/>
            <a:ext cx="107474" cy="379730"/>
          </a:xfrm>
          <a:prstGeom prst="rect">
            <a:avLst/>
          </a:prstGeom>
          <a:solidFill>
            <a:srgbClr val="FF6600"/>
          </a:solidFill>
          <a:ln w="0">
            <a:solidFill>
              <a:srgbClr val="90353B"/>
            </a:solidFill>
            <a:miter lim="800000"/>
            <a:headEnd/>
            <a:tailEnd/>
          </a:ln>
        </p:spPr>
        <p:txBody>
          <a:bodyPr/>
          <a:lstStyle/>
          <a:p>
            <a:pPr defTabSz="912813"/>
            <a:endParaRPr lang="en-IN">
              <a:solidFill>
                <a:srgbClr val="000000"/>
              </a:solidFill>
            </a:endParaRPr>
          </a:p>
        </p:txBody>
      </p:sp>
      <p:sp>
        <p:nvSpPr>
          <p:cNvPr id="107559" name="Rectangle 38"/>
          <p:cNvSpPr>
            <a:spLocks noChangeArrowheads="1"/>
          </p:cNvSpPr>
          <p:nvPr/>
        </p:nvSpPr>
        <p:spPr bwMode="auto">
          <a:xfrm>
            <a:off x="3193977" y="4382843"/>
            <a:ext cx="107474" cy="544134"/>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60" name="Rectangle 39"/>
          <p:cNvSpPr>
            <a:spLocks noChangeArrowheads="1"/>
          </p:cNvSpPr>
          <p:nvPr/>
        </p:nvSpPr>
        <p:spPr bwMode="auto">
          <a:xfrm>
            <a:off x="3622511" y="4393027"/>
            <a:ext cx="103392" cy="533950"/>
          </a:xfrm>
          <a:prstGeom prst="rect">
            <a:avLst/>
          </a:prstGeom>
          <a:solidFill>
            <a:srgbClr val="FF6600"/>
          </a:solidFill>
          <a:ln w="0">
            <a:solidFill>
              <a:srgbClr val="90353B"/>
            </a:solidFill>
            <a:miter lim="800000"/>
            <a:headEnd/>
            <a:tailEnd/>
          </a:ln>
        </p:spPr>
        <p:txBody>
          <a:bodyPr/>
          <a:lstStyle/>
          <a:p>
            <a:pPr defTabSz="912813"/>
            <a:endParaRPr lang="en-IN">
              <a:solidFill>
                <a:srgbClr val="000000"/>
              </a:solidFill>
            </a:endParaRPr>
          </a:p>
        </p:txBody>
      </p:sp>
      <p:sp>
        <p:nvSpPr>
          <p:cNvPr id="107561" name="Rectangle 40"/>
          <p:cNvSpPr>
            <a:spLocks noChangeArrowheads="1"/>
          </p:cNvSpPr>
          <p:nvPr/>
        </p:nvSpPr>
        <p:spPr bwMode="auto">
          <a:xfrm>
            <a:off x="3725903" y="4003112"/>
            <a:ext cx="103392" cy="923864"/>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62" name="Rectangle 41"/>
          <p:cNvSpPr>
            <a:spLocks noChangeArrowheads="1"/>
          </p:cNvSpPr>
          <p:nvPr/>
        </p:nvSpPr>
        <p:spPr bwMode="auto">
          <a:xfrm>
            <a:off x="3908199" y="4697102"/>
            <a:ext cx="103392" cy="229875"/>
          </a:xfrm>
          <a:prstGeom prst="rect">
            <a:avLst/>
          </a:prstGeom>
          <a:solidFill>
            <a:schemeClr val="tx1">
              <a:lumMod val="60000"/>
              <a:lumOff val="40000"/>
            </a:schemeClr>
          </a:solidFill>
          <a:ln w="0">
            <a:solidFill>
              <a:srgbClr val="1A476F"/>
            </a:solidFill>
            <a:miter lim="800000"/>
            <a:headEnd/>
            <a:tailEnd/>
          </a:ln>
        </p:spPr>
        <p:txBody>
          <a:bodyPr/>
          <a:lstStyle/>
          <a:p>
            <a:pPr defTabSz="912813"/>
            <a:endParaRPr lang="en-IN">
              <a:solidFill>
                <a:srgbClr val="000000"/>
              </a:solidFill>
            </a:endParaRPr>
          </a:p>
        </p:txBody>
      </p:sp>
      <p:sp>
        <p:nvSpPr>
          <p:cNvPr id="107563" name="Rectangle 42"/>
          <p:cNvSpPr>
            <a:spLocks noChangeArrowheads="1"/>
          </p:cNvSpPr>
          <p:nvPr/>
        </p:nvSpPr>
        <p:spPr bwMode="auto">
          <a:xfrm>
            <a:off x="4015672" y="4692737"/>
            <a:ext cx="97950" cy="234240"/>
          </a:xfrm>
          <a:prstGeom prst="rect">
            <a:avLst/>
          </a:prstGeom>
          <a:solidFill>
            <a:srgbClr val="FF6600"/>
          </a:solidFill>
          <a:ln w="0">
            <a:solidFill>
              <a:srgbClr val="90353B"/>
            </a:solidFill>
            <a:miter lim="800000"/>
            <a:headEnd/>
            <a:tailEnd/>
          </a:ln>
        </p:spPr>
        <p:txBody>
          <a:bodyPr/>
          <a:lstStyle/>
          <a:p>
            <a:pPr defTabSz="912813"/>
            <a:endParaRPr lang="en-IN">
              <a:solidFill>
                <a:srgbClr val="000000"/>
              </a:solidFill>
            </a:endParaRPr>
          </a:p>
        </p:txBody>
      </p:sp>
      <p:sp>
        <p:nvSpPr>
          <p:cNvPr id="107564" name="Rectangle 43"/>
          <p:cNvSpPr>
            <a:spLocks noChangeArrowheads="1"/>
          </p:cNvSpPr>
          <p:nvPr/>
        </p:nvSpPr>
        <p:spPr bwMode="auto">
          <a:xfrm>
            <a:off x="4119064" y="4243172"/>
            <a:ext cx="107474" cy="683805"/>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65" name="Rectangle 44"/>
          <p:cNvSpPr>
            <a:spLocks noChangeArrowheads="1"/>
          </p:cNvSpPr>
          <p:nvPr/>
        </p:nvSpPr>
        <p:spPr bwMode="auto">
          <a:xfrm>
            <a:off x="4407474" y="4772757"/>
            <a:ext cx="103392" cy="154220"/>
          </a:xfrm>
          <a:prstGeom prst="rect">
            <a:avLst/>
          </a:prstGeom>
          <a:solidFill>
            <a:schemeClr val="tx1">
              <a:lumMod val="60000"/>
              <a:lumOff val="40000"/>
            </a:schemeClr>
          </a:solidFill>
          <a:ln w="0">
            <a:solidFill>
              <a:srgbClr val="90353B"/>
            </a:solidFill>
            <a:miter lim="800000"/>
            <a:headEnd/>
            <a:tailEnd/>
          </a:ln>
        </p:spPr>
        <p:txBody>
          <a:bodyPr/>
          <a:lstStyle/>
          <a:p>
            <a:pPr defTabSz="912813"/>
            <a:endParaRPr lang="en-IN">
              <a:solidFill>
                <a:srgbClr val="000000"/>
              </a:solidFill>
            </a:endParaRPr>
          </a:p>
        </p:txBody>
      </p:sp>
      <p:sp>
        <p:nvSpPr>
          <p:cNvPr id="107566" name="Rectangle 45"/>
          <p:cNvSpPr>
            <a:spLocks noChangeArrowheads="1"/>
          </p:cNvSpPr>
          <p:nvPr/>
        </p:nvSpPr>
        <p:spPr bwMode="auto">
          <a:xfrm>
            <a:off x="4510866" y="4772757"/>
            <a:ext cx="107474" cy="154220"/>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67" name="Line 46"/>
          <p:cNvSpPr>
            <a:spLocks noChangeShapeType="1"/>
          </p:cNvSpPr>
          <p:nvPr/>
        </p:nvSpPr>
        <p:spPr bwMode="auto">
          <a:xfrm flipV="1">
            <a:off x="815041" y="1314450"/>
            <a:ext cx="0" cy="3612526"/>
          </a:xfrm>
          <a:prstGeom prst="line">
            <a:avLst/>
          </a:prstGeom>
          <a:noFill/>
          <a:ln w="6">
            <a:solidFill>
              <a:schemeClr val="tx1"/>
            </a:solidFill>
            <a:round/>
            <a:headEnd/>
            <a:tailEnd/>
          </a:ln>
        </p:spPr>
        <p:txBody>
          <a:bodyPr/>
          <a:lstStyle/>
          <a:p>
            <a:pPr defTabSz="913980"/>
            <a:endParaRPr lang="en-US">
              <a:solidFill>
                <a:srgbClr val="1B587C"/>
              </a:solidFill>
            </a:endParaRPr>
          </a:p>
        </p:txBody>
      </p:sp>
      <p:sp>
        <p:nvSpPr>
          <p:cNvPr id="107568" name="Rectangle 48"/>
          <p:cNvSpPr>
            <a:spLocks noChangeArrowheads="1"/>
          </p:cNvSpPr>
          <p:nvPr/>
        </p:nvSpPr>
        <p:spPr bwMode="auto">
          <a:xfrm rot="16200000">
            <a:off x="583378" y="4783871"/>
            <a:ext cx="84965" cy="202636"/>
          </a:xfrm>
          <a:prstGeom prst="rect">
            <a:avLst/>
          </a:prstGeom>
          <a:noFill/>
          <a:ln w="9525">
            <a:noFill/>
            <a:miter lim="800000"/>
            <a:headEnd/>
            <a:tailEnd/>
          </a:ln>
        </p:spPr>
        <p:txBody>
          <a:bodyPr wrap="none" lIns="0" tIns="0" rIns="0" bIns="0">
            <a:spAutoFit/>
          </a:bodyPr>
          <a:lstStyle/>
          <a:p>
            <a:pPr defTabSz="912813"/>
            <a:r>
              <a:rPr lang="en-US" sz="1400">
                <a:solidFill>
                  <a:srgbClr val="000000"/>
                </a:solidFill>
              </a:rPr>
              <a:t>0</a:t>
            </a:r>
            <a:endParaRPr lang="en-US">
              <a:solidFill>
                <a:srgbClr val="000000"/>
              </a:solidFill>
            </a:endParaRPr>
          </a:p>
        </p:txBody>
      </p:sp>
      <p:sp>
        <p:nvSpPr>
          <p:cNvPr id="107569" name="Line 49"/>
          <p:cNvSpPr>
            <a:spLocks noChangeShapeType="1"/>
          </p:cNvSpPr>
          <p:nvPr/>
        </p:nvSpPr>
        <p:spPr bwMode="auto">
          <a:xfrm flipH="1">
            <a:off x="734776" y="4078767"/>
            <a:ext cx="80265" cy="0"/>
          </a:xfrm>
          <a:prstGeom prst="line">
            <a:avLst/>
          </a:prstGeom>
          <a:noFill/>
          <a:ln w="6">
            <a:solidFill>
              <a:srgbClr val="000000"/>
            </a:solidFill>
            <a:round/>
            <a:headEnd/>
            <a:tailEnd/>
          </a:ln>
        </p:spPr>
        <p:txBody>
          <a:bodyPr/>
          <a:lstStyle/>
          <a:p>
            <a:pPr defTabSz="913980"/>
            <a:endParaRPr lang="en-US">
              <a:solidFill>
                <a:srgbClr val="1B587C"/>
              </a:solidFill>
            </a:endParaRPr>
          </a:p>
        </p:txBody>
      </p:sp>
      <p:sp>
        <p:nvSpPr>
          <p:cNvPr id="107570" name="Rectangle 50"/>
          <p:cNvSpPr>
            <a:spLocks noChangeArrowheads="1"/>
          </p:cNvSpPr>
          <p:nvPr/>
        </p:nvSpPr>
        <p:spPr bwMode="auto">
          <a:xfrm rot="16200000">
            <a:off x="542193" y="3930312"/>
            <a:ext cx="171580" cy="205250"/>
          </a:xfrm>
          <a:prstGeom prst="rect">
            <a:avLst/>
          </a:prstGeom>
          <a:noFill/>
          <a:ln w="9525">
            <a:noFill/>
            <a:miter lim="800000"/>
            <a:headEnd/>
            <a:tailEnd/>
          </a:ln>
        </p:spPr>
        <p:txBody>
          <a:bodyPr wrap="none" lIns="0" tIns="0" rIns="0" bIns="0">
            <a:spAutoFit/>
          </a:bodyPr>
          <a:lstStyle/>
          <a:p>
            <a:pPr defTabSz="912813"/>
            <a:r>
              <a:rPr lang="en-US" sz="1400">
                <a:solidFill>
                  <a:srgbClr val="000000"/>
                </a:solidFill>
              </a:rPr>
              <a:t>10</a:t>
            </a:r>
            <a:endParaRPr lang="en-US">
              <a:solidFill>
                <a:srgbClr val="000000"/>
              </a:solidFill>
            </a:endParaRPr>
          </a:p>
        </p:txBody>
      </p:sp>
      <p:sp>
        <p:nvSpPr>
          <p:cNvPr id="107571" name="Line 51"/>
          <p:cNvSpPr>
            <a:spLocks noChangeShapeType="1"/>
          </p:cNvSpPr>
          <p:nvPr/>
        </p:nvSpPr>
        <p:spPr bwMode="auto">
          <a:xfrm flipH="1">
            <a:off x="734776" y="3234923"/>
            <a:ext cx="80265" cy="0"/>
          </a:xfrm>
          <a:prstGeom prst="line">
            <a:avLst/>
          </a:prstGeom>
          <a:noFill/>
          <a:ln w="6">
            <a:solidFill>
              <a:srgbClr val="000000"/>
            </a:solidFill>
            <a:round/>
            <a:headEnd/>
            <a:tailEnd/>
          </a:ln>
        </p:spPr>
        <p:txBody>
          <a:bodyPr/>
          <a:lstStyle/>
          <a:p>
            <a:pPr defTabSz="913980"/>
            <a:endParaRPr lang="en-US">
              <a:solidFill>
                <a:srgbClr val="1B587C"/>
              </a:solidFill>
            </a:endParaRPr>
          </a:p>
        </p:txBody>
      </p:sp>
      <p:sp>
        <p:nvSpPr>
          <p:cNvPr id="107572" name="Rectangle 52"/>
          <p:cNvSpPr>
            <a:spLocks noChangeArrowheads="1"/>
          </p:cNvSpPr>
          <p:nvPr/>
        </p:nvSpPr>
        <p:spPr bwMode="auto">
          <a:xfrm rot="16200000">
            <a:off x="542193" y="3086479"/>
            <a:ext cx="171580" cy="205250"/>
          </a:xfrm>
          <a:prstGeom prst="rect">
            <a:avLst/>
          </a:prstGeom>
          <a:noFill/>
          <a:ln w="9525">
            <a:noFill/>
            <a:miter lim="800000"/>
            <a:headEnd/>
            <a:tailEnd/>
          </a:ln>
        </p:spPr>
        <p:txBody>
          <a:bodyPr wrap="none" lIns="0" tIns="0" rIns="0" bIns="0">
            <a:spAutoFit/>
          </a:bodyPr>
          <a:lstStyle/>
          <a:p>
            <a:pPr defTabSz="912813"/>
            <a:r>
              <a:rPr lang="en-US" sz="1400">
                <a:solidFill>
                  <a:srgbClr val="000000"/>
                </a:solidFill>
              </a:rPr>
              <a:t>20</a:t>
            </a:r>
            <a:endParaRPr lang="en-US">
              <a:solidFill>
                <a:srgbClr val="000000"/>
              </a:solidFill>
            </a:endParaRPr>
          </a:p>
        </p:txBody>
      </p:sp>
      <p:sp>
        <p:nvSpPr>
          <p:cNvPr id="107573" name="Line 53"/>
          <p:cNvSpPr>
            <a:spLocks noChangeShapeType="1"/>
          </p:cNvSpPr>
          <p:nvPr/>
        </p:nvSpPr>
        <p:spPr bwMode="auto">
          <a:xfrm flipH="1">
            <a:off x="734776" y="2386715"/>
            <a:ext cx="80265" cy="0"/>
          </a:xfrm>
          <a:prstGeom prst="line">
            <a:avLst/>
          </a:prstGeom>
          <a:noFill/>
          <a:ln w="6">
            <a:solidFill>
              <a:srgbClr val="000000"/>
            </a:solidFill>
            <a:round/>
            <a:headEnd/>
            <a:tailEnd/>
          </a:ln>
        </p:spPr>
        <p:txBody>
          <a:bodyPr/>
          <a:lstStyle/>
          <a:p>
            <a:pPr defTabSz="913980"/>
            <a:endParaRPr lang="en-US">
              <a:solidFill>
                <a:srgbClr val="1B587C"/>
              </a:solidFill>
            </a:endParaRPr>
          </a:p>
        </p:txBody>
      </p:sp>
      <p:sp>
        <p:nvSpPr>
          <p:cNvPr id="107574" name="Rectangle 54"/>
          <p:cNvSpPr>
            <a:spLocks noChangeArrowheads="1"/>
          </p:cNvSpPr>
          <p:nvPr/>
        </p:nvSpPr>
        <p:spPr bwMode="auto">
          <a:xfrm rot="16200000">
            <a:off x="540896" y="2240157"/>
            <a:ext cx="169929" cy="202636"/>
          </a:xfrm>
          <a:prstGeom prst="rect">
            <a:avLst/>
          </a:prstGeom>
          <a:noFill/>
          <a:ln w="9525">
            <a:noFill/>
            <a:miter lim="800000"/>
            <a:headEnd/>
            <a:tailEnd/>
          </a:ln>
        </p:spPr>
        <p:txBody>
          <a:bodyPr wrap="none" lIns="0" tIns="0" rIns="0" bIns="0">
            <a:spAutoFit/>
          </a:bodyPr>
          <a:lstStyle/>
          <a:p>
            <a:pPr defTabSz="912813"/>
            <a:r>
              <a:rPr lang="en-US" sz="1400">
                <a:solidFill>
                  <a:srgbClr val="000000"/>
                </a:solidFill>
              </a:rPr>
              <a:t>30</a:t>
            </a:r>
            <a:endParaRPr lang="en-US">
              <a:solidFill>
                <a:srgbClr val="000000"/>
              </a:solidFill>
            </a:endParaRPr>
          </a:p>
        </p:txBody>
      </p:sp>
      <p:sp>
        <p:nvSpPr>
          <p:cNvPr id="107575" name="Line 55"/>
          <p:cNvSpPr>
            <a:spLocks noChangeShapeType="1"/>
          </p:cNvSpPr>
          <p:nvPr/>
        </p:nvSpPr>
        <p:spPr bwMode="auto">
          <a:xfrm flipH="1">
            <a:off x="734776" y="1542871"/>
            <a:ext cx="80265" cy="0"/>
          </a:xfrm>
          <a:prstGeom prst="line">
            <a:avLst/>
          </a:prstGeom>
          <a:noFill/>
          <a:ln w="6">
            <a:solidFill>
              <a:srgbClr val="000000"/>
            </a:solidFill>
            <a:round/>
            <a:headEnd/>
            <a:tailEnd/>
          </a:ln>
        </p:spPr>
        <p:txBody>
          <a:bodyPr/>
          <a:lstStyle/>
          <a:p>
            <a:pPr defTabSz="913980"/>
            <a:endParaRPr lang="en-US">
              <a:solidFill>
                <a:srgbClr val="1B587C"/>
              </a:solidFill>
            </a:endParaRPr>
          </a:p>
        </p:txBody>
      </p:sp>
      <p:sp>
        <p:nvSpPr>
          <p:cNvPr id="107576" name="Rectangle 56"/>
          <p:cNvSpPr>
            <a:spLocks noChangeArrowheads="1"/>
          </p:cNvSpPr>
          <p:nvPr/>
        </p:nvSpPr>
        <p:spPr bwMode="auto">
          <a:xfrm rot="16200000">
            <a:off x="540896" y="1396476"/>
            <a:ext cx="169929" cy="202636"/>
          </a:xfrm>
          <a:prstGeom prst="rect">
            <a:avLst/>
          </a:prstGeom>
          <a:noFill/>
          <a:ln w="9525">
            <a:noFill/>
            <a:miter lim="800000"/>
            <a:headEnd/>
            <a:tailEnd/>
          </a:ln>
        </p:spPr>
        <p:txBody>
          <a:bodyPr wrap="none" lIns="0" tIns="0" rIns="0" bIns="0">
            <a:spAutoFit/>
          </a:bodyPr>
          <a:lstStyle/>
          <a:p>
            <a:pPr defTabSz="912813"/>
            <a:r>
              <a:rPr lang="en-US" sz="1400">
                <a:solidFill>
                  <a:srgbClr val="000000"/>
                </a:solidFill>
              </a:rPr>
              <a:t>40</a:t>
            </a:r>
            <a:endParaRPr lang="en-US">
              <a:solidFill>
                <a:srgbClr val="000000"/>
              </a:solidFill>
            </a:endParaRPr>
          </a:p>
        </p:txBody>
      </p:sp>
      <p:sp>
        <p:nvSpPr>
          <p:cNvPr id="107577" name="Rectangle 60"/>
          <p:cNvSpPr>
            <a:spLocks noChangeArrowheads="1"/>
          </p:cNvSpPr>
          <p:nvPr/>
        </p:nvSpPr>
        <p:spPr bwMode="auto">
          <a:xfrm>
            <a:off x="1134894" y="5450159"/>
            <a:ext cx="620635" cy="260079"/>
          </a:xfrm>
          <a:prstGeom prst="rect">
            <a:avLst/>
          </a:prstGeom>
          <a:noFill/>
          <a:ln w="9525">
            <a:noFill/>
            <a:miter lim="800000"/>
            <a:headEnd/>
            <a:tailEnd/>
          </a:ln>
        </p:spPr>
        <p:txBody>
          <a:bodyPr wrap="none" lIns="0" tIns="0" rIns="0" bIns="0">
            <a:spAutoFit/>
          </a:bodyPr>
          <a:lstStyle/>
          <a:p>
            <a:pPr defTabSz="912813"/>
            <a:r>
              <a:rPr lang="en-US" b="1">
                <a:solidFill>
                  <a:srgbClr val="000000"/>
                </a:solidFill>
              </a:rPr>
              <a:t>Day 31</a:t>
            </a:r>
            <a:endParaRPr lang="en-US" sz="3200" b="1">
              <a:solidFill>
                <a:srgbClr val="000000"/>
              </a:solidFill>
            </a:endParaRPr>
          </a:p>
        </p:txBody>
      </p:sp>
      <p:sp>
        <p:nvSpPr>
          <p:cNvPr id="107578" name="Rectangle 61"/>
          <p:cNvSpPr>
            <a:spLocks noChangeArrowheads="1"/>
          </p:cNvSpPr>
          <p:nvPr/>
        </p:nvSpPr>
        <p:spPr bwMode="auto">
          <a:xfrm>
            <a:off x="2455636" y="5450873"/>
            <a:ext cx="618495" cy="257875"/>
          </a:xfrm>
          <a:prstGeom prst="rect">
            <a:avLst/>
          </a:prstGeom>
          <a:noFill/>
          <a:ln w="9525">
            <a:noFill/>
            <a:miter lim="800000"/>
            <a:headEnd/>
            <a:tailEnd/>
          </a:ln>
        </p:spPr>
        <p:txBody>
          <a:bodyPr wrap="none" lIns="0" tIns="0" rIns="0" bIns="0">
            <a:spAutoFit/>
          </a:bodyPr>
          <a:lstStyle/>
          <a:p>
            <a:pPr defTabSz="912813"/>
            <a:r>
              <a:rPr lang="en-US" b="1">
                <a:solidFill>
                  <a:srgbClr val="000000"/>
                </a:solidFill>
              </a:rPr>
              <a:t>Day 35</a:t>
            </a:r>
            <a:endParaRPr lang="en-US" sz="3200" b="1">
              <a:solidFill>
                <a:srgbClr val="000000"/>
              </a:solidFill>
            </a:endParaRPr>
          </a:p>
        </p:txBody>
      </p:sp>
      <p:sp>
        <p:nvSpPr>
          <p:cNvPr id="107579" name="Rectangle 62"/>
          <p:cNvSpPr>
            <a:spLocks noChangeArrowheads="1"/>
          </p:cNvSpPr>
          <p:nvPr/>
        </p:nvSpPr>
        <p:spPr bwMode="auto">
          <a:xfrm>
            <a:off x="3776834" y="5450159"/>
            <a:ext cx="620635" cy="260079"/>
          </a:xfrm>
          <a:prstGeom prst="rect">
            <a:avLst/>
          </a:prstGeom>
          <a:noFill/>
          <a:ln w="9525">
            <a:noFill/>
            <a:miter lim="800000"/>
            <a:headEnd/>
            <a:tailEnd/>
          </a:ln>
        </p:spPr>
        <p:txBody>
          <a:bodyPr wrap="none" lIns="0" tIns="0" rIns="0" bIns="0">
            <a:spAutoFit/>
          </a:bodyPr>
          <a:lstStyle/>
          <a:p>
            <a:pPr defTabSz="912813"/>
            <a:r>
              <a:rPr lang="en-US" b="1">
                <a:solidFill>
                  <a:srgbClr val="000000"/>
                </a:solidFill>
              </a:rPr>
              <a:t>Day 42</a:t>
            </a:r>
            <a:endParaRPr lang="en-US" sz="3200" b="1">
              <a:solidFill>
                <a:srgbClr val="000000"/>
              </a:solidFill>
            </a:endParaRPr>
          </a:p>
        </p:txBody>
      </p:sp>
      <p:sp>
        <p:nvSpPr>
          <p:cNvPr id="107580" name="Line 63"/>
          <p:cNvSpPr>
            <a:spLocks noChangeShapeType="1"/>
          </p:cNvSpPr>
          <p:nvPr/>
        </p:nvSpPr>
        <p:spPr bwMode="auto">
          <a:xfrm flipV="1">
            <a:off x="815041" y="4926977"/>
            <a:ext cx="4022327" cy="2623"/>
          </a:xfrm>
          <a:prstGeom prst="line">
            <a:avLst/>
          </a:prstGeom>
          <a:noFill/>
          <a:ln w="6">
            <a:solidFill>
              <a:schemeClr val="tx1"/>
            </a:solidFill>
            <a:round/>
            <a:headEnd/>
            <a:tailEnd/>
          </a:ln>
        </p:spPr>
        <p:txBody>
          <a:bodyPr/>
          <a:lstStyle/>
          <a:p>
            <a:pPr defTabSz="913980"/>
            <a:endParaRPr lang="en-US">
              <a:solidFill>
                <a:srgbClr val="1B587C"/>
              </a:solidFill>
            </a:endParaRPr>
          </a:p>
        </p:txBody>
      </p:sp>
      <p:sp>
        <p:nvSpPr>
          <p:cNvPr id="107581" name="Rectangle 70"/>
          <p:cNvSpPr>
            <a:spLocks noChangeArrowheads="1"/>
          </p:cNvSpPr>
          <p:nvPr/>
        </p:nvSpPr>
        <p:spPr bwMode="auto">
          <a:xfrm rot="18900000">
            <a:off x="539664" y="5197470"/>
            <a:ext cx="603373" cy="158004"/>
          </a:xfrm>
          <a:prstGeom prst="rect">
            <a:avLst/>
          </a:prstGeom>
          <a:noFill/>
          <a:ln w="9525">
            <a:noFill/>
            <a:miter lim="800000"/>
            <a:headEnd/>
            <a:tailEnd/>
          </a:ln>
        </p:spPr>
        <p:txBody>
          <a:bodyPr wrap="none" lIns="0" tIns="0" rIns="0" bIns="0">
            <a:spAutoFit/>
          </a:bodyPr>
          <a:lstStyle/>
          <a:p>
            <a:pPr defTabSz="912813"/>
            <a:r>
              <a:rPr lang="en-US" sz="1100">
                <a:solidFill>
                  <a:srgbClr val="000000"/>
                </a:solidFill>
              </a:rPr>
              <a:t>No Vaccine</a:t>
            </a:r>
            <a:endParaRPr lang="en-US">
              <a:solidFill>
                <a:srgbClr val="000000"/>
              </a:solidFill>
            </a:endParaRPr>
          </a:p>
        </p:txBody>
      </p:sp>
      <p:sp>
        <p:nvSpPr>
          <p:cNvPr id="107582" name="Rectangle 71"/>
          <p:cNvSpPr>
            <a:spLocks noChangeArrowheads="1"/>
          </p:cNvSpPr>
          <p:nvPr/>
        </p:nvSpPr>
        <p:spPr bwMode="auto">
          <a:xfrm rot="18900000">
            <a:off x="1186891" y="5088657"/>
            <a:ext cx="300930" cy="158004"/>
          </a:xfrm>
          <a:prstGeom prst="rect">
            <a:avLst/>
          </a:prstGeom>
          <a:noFill/>
          <a:ln w="9525">
            <a:noFill/>
            <a:miter lim="800000"/>
            <a:headEnd/>
            <a:tailEnd/>
          </a:ln>
        </p:spPr>
        <p:txBody>
          <a:bodyPr wrap="none" lIns="0" tIns="0" rIns="0" bIns="0">
            <a:spAutoFit/>
          </a:bodyPr>
          <a:lstStyle/>
          <a:p>
            <a:pPr defTabSz="912813"/>
            <a:r>
              <a:rPr lang="en-US" sz="1100">
                <a:solidFill>
                  <a:srgbClr val="000000"/>
                </a:solidFill>
              </a:rPr>
              <a:t>bOPV</a:t>
            </a:r>
            <a:endParaRPr lang="en-US">
              <a:solidFill>
                <a:srgbClr val="000000"/>
              </a:solidFill>
            </a:endParaRPr>
          </a:p>
        </p:txBody>
      </p:sp>
      <p:sp>
        <p:nvSpPr>
          <p:cNvPr id="107583" name="Rectangle 72"/>
          <p:cNvSpPr>
            <a:spLocks noChangeArrowheads="1"/>
          </p:cNvSpPr>
          <p:nvPr/>
        </p:nvSpPr>
        <p:spPr bwMode="auto">
          <a:xfrm rot="18900000">
            <a:off x="1684408" y="5042448"/>
            <a:ext cx="176929" cy="158004"/>
          </a:xfrm>
          <a:prstGeom prst="rect">
            <a:avLst/>
          </a:prstGeom>
          <a:noFill/>
          <a:ln w="9525">
            <a:noFill/>
            <a:miter lim="800000"/>
            <a:headEnd/>
            <a:tailEnd/>
          </a:ln>
        </p:spPr>
        <p:txBody>
          <a:bodyPr wrap="none" lIns="0" tIns="0" rIns="0" bIns="0">
            <a:spAutoFit/>
          </a:bodyPr>
          <a:lstStyle/>
          <a:p>
            <a:pPr defTabSz="912813"/>
            <a:r>
              <a:rPr lang="en-US" sz="1100">
                <a:solidFill>
                  <a:srgbClr val="000000"/>
                </a:solidFill>
              </a:rPr>
              <a:t>IPV</a:t>
            </a:r>
            <a:endParaRPr lang="en-US">
              <a:solidFill>
                <a:srgbClr val="000000"/>
              </a:solidFill>
            </a:endParaRPr>
          </a:p>
        </p:txBody>
      </p:sp>
      <p:sp>
        <p:nvSpPr>
          <p:cNvPr id="107584" name="Rectangle 73"/>
          <p:cNvSpPr>
            <a:spLocks noChangeArrowheads="1"/>
          </p:cNvSpPr>
          <p:nvPr/>
        </p:nvSpPr>
        <p:spPr bwMode="auto">
          <a:xfrm rot="18900000">
            <a:off x="1856801" y="5197470"/>
            <a:ext cx="603372" cy="158004"/>
          </a:xfrm>
          <a:prstGeom prst="rect">
            <a:avLst/>
          </a:prstGeom>
          <a:noFill/>
          <a:ln w="9525">
            <a:noFill/>
            <a:miter lim="800000"/>
            <a:headEnd/>
            <a:tailEnd/>
          </a:ln>
        </p:spPr>
        <p:txBody>
          <a:bodyPr wrap="none" lIns="0" tIns="0" rIns="0" bIns="0">
            <a:spAutoFit/>
          </a:bodyPr>
          <a:lstStyle/>
          <a:p>
            <a:pPr defTabSz="912813"/>
            <a:r>
              <a:rPr lang="en-US" sz="1100">
                <a:solidFill>
                  <a:srgbClr val="000000"/>
                </a:solidFill>
              </a:rPr>
              <a:t>No Vaccine</a:t>
            </a:r>
            <a:endParaRPr lang="en-US">
              <a:solidFill>
                <a:srgbClr val="000000"/>
              </a:solidFill>
            </a:endParaRPr>
          </a:p>
        </p:txBody>
      </p:sp>
      <p:sp>
        <p:nvSpPr>
          <p:cNvPr id="107585" name="Rectangle 74"/>
          <p:cNvSpPr>
            <a:spLocks noChangeArrowheads="1"/>
          </p:cNvSpPr>
          <p:nvPr/>
        </p:nvSpPr>
        <p:spPr bwMode="auto">
          <a:xfrm rot="18900000">
            <a:off x="2507051" y="5088657"/>
            <a:ext cx="300931" cy="158004"/>
          </a:xfrm>
          <a:prstGeom prst="rect">
            <a:avLst/>
          </a:prstGeom>
          <a:noFill/>
          <a:ln w="9525">
            <a:noFill/>
            <a:miter lim="800000"/>
            <a:headEnd/>
            <a:tailEnd/>
          </a:ln>
        </p:spPr>
        <p:txBody>
          <a:bodyPr wrap="none" lIns="0" tIns="0" rIns="0" bIns="0">
            <a:spAutoFit/>
          </a:bodyPr>
          <a:lstStyle/>
          <a:p>
            <a:pPr defTabSz="912813"/>
            <a:r>
              <a:rPr lang="en-US" sz="1100">
                <a:solidFill>
                  <a:srgbClr val="000000"/>
                </a:solidFill>
              </a:rPr>
              <a:t>bOPV</a:t>
            </a:r>
            <a:endParaRPr lang="en-US">
              <a:solidFill>
                <a:srgbClr val="000000"/>
              </a:solidFill>
            </a:endParaRPr>
          </a:p>
        </p:txBody>
      </p:sp>
      <p:sp>
        <p:nvSpPr>
          <p:cNvPr id="107586" name="Rectangle 75"/>
          <p:cNvSpPr>
            <a:spLocks noChangeArrowheads="1"/>
          </p:cNvSpPr>
          <p:nvPr/>
        </p:nvSpPr>
        <p:spPr bwMode="auto">
          <a:xfrm rot="18900000">
            <a:off x="3006008" y="5042166"/>
            <a:ext cx="178678" cy="158937"/>
          </a:xfrm>
          <a:prstGeom prst="rect">
            <a:avLst/>
          </a:prstGeom>
          <a:noFill/>
          <a:ln w="9525">
            <a:noFill/>
            <a:miter lim="800000"/>
            <a:headEnd/>
            <a:tailEnd/>
          </a:ln>
        </p:spPr>
        <p:txBody>
          <a:bodyPr wrap="none" lIns="0" tIns="0" rIns="0" bIns="0">
            <a:spAutoFit/>
          </a:bodyPr>
          <a:lstStyle/>
          <a:p>
            <a:pPr defTabSz="912813"/>
            <a:r>
              <a:rPr lang="en-US" sz="1100">
                <a:solidFill>
                  <a:srgbClr val="000000"/>
                </a:solidFill>
              </a:rPr>
              <a:t>IPV</a:t>
            </a:r>
            <a:endParaRPr lang="en-US">
              <a:solidFill>
                <a:srgbClr val="000000"/>
              </a:solidFill>
            </a:endParaRPr>
          </a:p>
        </p:txBody>
      </p:sp>
      <p:sp>
        <p:nvSpPr>
          <p:cNvPr id="107587" name="Rectangle 76"/>
          <p:cNvSpPr>
            <a:spLocks noChangeArrowheads="1"/>
          </p:cNvSpPr>
          <p:nvPr/>
        </p:nvSpPr>
        <p:spPr bwMode="auto">
          <a:xfrm rot="18900000">
            <a:off x="3178473" y="5197470"/>
            <a:ext cx="603372" cy="158004"/>
          </a:xfrm>
          <a:prstGeom prst="rect">
            <a:avLst/>
          </a:prstGeom>
          <a:noFill/>
          <a:ln w="9525">
            <a:noFill/>
            <a:miter lim="800000"/>
            <a:headEnd/>
            <a:tailEnd/>
          </a:ln>
        </p:spPr>
        <p:txBody>
          <a:bodyPr wrap="none" lIns="0" tIns="0" rIns="0" bIns="0">
            <a:spAutoFit/>
          </a:bodyPr>
          <a:lstStyle/>
          <a:p>
            <a:pPr defTabSz="912813"/>
            <a:r>
              <a:rPr lang="en-US" sz="1100">
                <a:solidFill>
                  <a:srgbClr val="000000"/>
                </a:solidFill>
              </a:rPr>
              <a:t>No Vaccine</a:t>
            </a:r>
            <a:endParaRPr lang="en-US">
              <a:solidFill>
                <a:srgbClr val="000000"/>
              </a:solidFill>
            </a:endParaRPr>
          </a:p>
        </p:txBody>
      </p:sp>
      <p:sp>
        <p:nvSpPr>
          <p:cNvPr id="107588" name="Rectangle 77"/>
          <p:cNvSpPr>
            <a:spLocks noChangeArrowheads="1"/>
          </p:cNvSpPr>
          <p:nvPr/>
        </p:nvSpPr>
        <p:spPr bwMode="auto">
          <a:xfrm rot="18900000">
            <a:off x="3824186" y="5088657"/>
            <a:ext cx="300931" cy="158004"/>
          </a:xfrm>
          <a:prstGeom prst="rect">
            <a:avLst/>
          </a:prstGeom>
          <a:noFill/>
          <a:ln w="9525">
            <a:noFill/>
            <a:miter lim="800000"/>
            <a:headEnd/>
            <a:tailEnd/>
          </a:ln>
        </p:spPr>
        <p:txBody>
          <a:bodyPr wrap="none" lIns="0" tIns="0" rIns="0" bIns="0">
            <a:spAutoFit/>
          </a:bodyPr>
          <a:lstStyle/>
          <a:p>
            <a:pPr defTabSz="912813"/>
            <a:r>
              <a:rPr lang="en-US" sz="1100">
                <a:solidFill>
                  <a:srgbClr val="000000"/>
                </a:solidFill>
              </a:rPr>
              <a:t>bOPV</a:t>
            </a:r>
            <a:endParaRPr lang="en-US">
              <a:solidFill>
                <a:srgbClr val="000000"/>
              </a:solidFill>
            </a:endParaRPr>
          </a:p>
        </p:txBody>
      </p:sp>
      <p:sp>
        <p:nvSpPr>
          <p:cNvPr id="107589" name="Rectangle 78"/>
          <p:cNvSpPr>
            <a:spLocks noChangeArrowheads="1"/>
          </p:cNvSpPr>
          <p:nvPr/>
        </p:nvSpPr>
        <p:spPr bwMode="auto">
          <a:xfrm rot="18900000">
            <a:off x="4321535" y="5042166"/>
            <a:ext cx="178678" cy="158937"/>
          </a:xfrm>
          <a:prstGeom prst="rect">
            <a:avLst/>
          </a:prstGeom>
          <a:noFill/>
          <a:ln w="9525">
            <a:noFill/>
            <a:miter lim="800000"/>
            <a:headEnd/>
            <a:tailEnd/>
          </a:ln>
        </p:spPr>
        <p:txBody>
          <a:bodyPr wrap="none" lIns="0" tIns="0" rIns="0" bIns="0">
            <a:spAutoFit/>
          </a:bodyPr>
          <a:lstStyle/>
          <a:p>
            <a:pPr defTabSz="912813"/>
            <a:r>
              <a:rPr lang="en-US" sz="1100">
                <a:solidFill>
                  <a:srgbClr val="000000"/>
                </a:solidFill>
              </a:rPr>
              <a:t>IPV</a:t>
            </a:r>
            <a:endParaRPr lang="en-US">
              <a:solidFill>
                <a:srgbClr val="000000"/>
              </a:solidFill>
            </a:endParaRPr>
          </a:p>
        </p:txBody>
      </p:sp>
      <p:sp>
        <p:nvSpPr>
          <p:cNvPr id="107590" name="Rectangle 79"/>
          <p:cNvSpPr>
            <a:spLocks noChangeArrowheads="1"/>
          </p:cNvSpPr>
          <p:nvPr/>
        </p:nvSpPr>
        <p:spPr bwMode="auto">
          <a:xfrm rot="16200000">
            <a:off x="-1526582" y="3082467"/>
            <a:ext cx="3781659" cy="290345"/>
          </a:xfrm>
          <a:prstGeom prst="rect">
            <a:avLst/>
          </a:prstGeom>
          <a:noFill/>
          <a:ln w="9525">
            <a:noFill/>
            <a:miter lim="800000"/>
            <a:headEnd/>
            <a:tailEnd/>
          </a:ln>
        </p:spPr>
        <p:txBody>
          <a:bodyPr wrap="none" lIns="0" tIns="0" rIns="0" bIns="0">
            <a:spAutoFit/>
          </a:bodyPr>
          <a:lstStyle/>
          <a:p>
            <a:pPr defTabSz="912813"/>
            <a:r>
              <a:rPr lang="en-US" sz="2000" dirty="0">
                <a:solidFill>
                  <a:srgbClr val="000000"/>
                </a:solidFill>
              </a:rPr>
              <a:t>P1 excretion after day 28 challenge (%)</a:t>
            </a:r>
            <a:endParaRPr lang="en-US" dirty="0">
              <a:solidFill>
                <a:srgbClr val="000000"/>
              </a:solidFill>
            </a:endParaRPr>
          </a:p>
        </p:txBody>
      </p:sp>
      <p:sp>
        <p:nvSpPr>
          <p:cNvPr id="60" name="Rectangle 81"/>
          <p:cNvSpPr>
            <a:spLocks noChangeArrowheads="1"/>
          </p:cNvSpPr>
          <p:nvPr/>
        </p:nvSpPr>
        <p:spPr bwMode="auto">
          <a:xfrm>
            <a:off x="179512" y="5961063"/>
            <a:ext cx="417513" cy="228600"/>
          </a:xfrm>
          <a:prstGeom prst="rect">
            <a:avLst/>
          </a:prstGeom>
          <a:solidFill>
            <a:schemeClr val="tx1">
              <a:lumMod val="60000"/>
              <a:lumOff val="40000"/>
            </a:schemeClr>
          </a:solidFill>
          <a:ln w="0">
            <a:solidFill>
              <a:srgbClr val="1A476F"/>
            </a:solidFill>
            <a:prstDash val="solid"/>
            <a:miter lim="800000"/>
            <a:headEnd/>
            <a:tailEnd/>
          </a:ln>
        </p:spPr>
        <p:txBody>
          <a:bodyPr/>
          <a:lstStyle/>
          <a:p>
            <a:pPr defTabSz="913980">
              <a:defRPr/>
            </a:pPr>
            <a:endParaRPr lang="en-US">
              <a:solidFill>
                <a:prstClr val="black"/>
              </a:solidFill>
            </a:endParaRPr>
          </a:p>
        </p:txBody>
      </p:sp>
      <p:sp>
        <p:nvSpPr>
          <p:cNvPr id="107524" name="Rectangle 82"/>
          <p:cNvSpPr>
            <a:spLocks noChangeArrowheads="1"/>
          </p:cNvSpPr>
          <p:nvPr/>
        </p:nvSpPr>
        <p:spPr bwMode="auto">
          <a:xfrm>
            <a:off x="2267744" y="5978525"/>
            <a:ext cx="415925" cy="228600"/>
          </a:xfrm>
          <a:prstGeom prst="rect">
            <a:avLst/>
          </a:prstGeom>
          <a:solidFill>
            <a:srgbClr val="FF6600"/>
          </a:solidFill>
          <a:ln w="0">
            <a:solidFill>
              <a:srgbClr val="90353B"/>
            </a:solidFill>
            <a:miter lim="800000"/>
            <a:headEnd/>
            <a:tailEnd/>
          </a:ln>
        </p:spPr>
        <p:txBody>
          <a:bodyPr/>
          <a:lstStyle/>
          <a:p>
            <a:pPr defTabSz="912813"/>
            <a:endParaRPr lang="en-IN">
              <a:solidFill>
                <a:srgbClr val="000000"/>
              </a:solidFill>
            </a:endParaRPr>
          </a:p>
        </p:txBody>
      </p:sp>
      <p:sp>
        <p:nvSpPr>
          <p:cNvPr id="107525" name="Rectangle 83"/>
          <p:cNvSpPr>
            <a:spLocks noChangeArrowheads="1"/>
          </p:cNvSpPr>
          <p:nvPr/>
        </p:nvSpPr>
        <p:spPr bwMode="auto">
          <a:xfrm>
            <a:off x="3923928" y="5978525"/>
            <a:ext cx="415925" cy="228600"/>
          </a:xfrm>
          <a:prstGeom prst="rect">
            <a:avLst/>
          </a:prstGeom>
          <a:solidFill>
            <a:srgbClr val="92D050"/>
          </a:solidFill>
          <a:ln w="0">
            <a:solidFill>
              <a:srgbClr val="55752F"/>
            </a:solidFill>
            <a:miter lim="800000"/>
            <a:headEnd/>
            <a:tailEnd/>
          </a:ln>
        </p:spPr>
        <p:txBody>
          <a:bodyPr/>
          <a:lstStyle/>
          <a:p>
            <a:pPr defTabSz="912813"/>
            <a:endParaRPr lang="en-IN">
              <a:solidFill>
                <a:srgbClr val="000000"/>
              </a:solidFill>
            </a:endParaRPr>
          </a:p>
        </p:txBody>
      </p:sp>
      <p:sp>
        <p:nvSpPr>
          <p:cNvPr id="107526" name="Rectangle 84"/>
          <p:cNvSpPr>
            <a:spLocks noChangeArrowheads="1"/>
          </p:cNvSpPr>
          <p:nvPr/>
        </p:nvSpPr>
        <p:spPr bwMode="auto">
          <a:xfrm>
            <a:off x="635622" y="5961063"/>
            <a:ext cx="1056058" cy="246221"/>
          </a:xfrm>
          <a:prstGeom prst="rect">
            <a:avLst/>
          </a:prstGeom>
          <a:noFill/>
          <a:ln w="9525">
            <a:noFill/>
            <a:miter lim="800000"/>
            <a:headEnd/>
            <a:tailEnd/>
          </a:ln>
        </p:spPr>
        <p:txBody>
          <a:bodyPr wrap="none" lIns="0" tIns="0" rIns="0" bIns="0">
            <a:spAutoFit/>
          </a:bodyPr>
          <a:lstStyle/>
          <a:p>
            <a:pPr defTabSz="912813"/>
            <a:r>
              <a:rPr lang="en-US" sz="1600" dirty="0">
                <a:solidFill>
                  <a:srgbClr val="000000"/>
                </a:solidFill>
              </a:rPr>
              <a:t>6-11 months</a:t>
            </a:r>
          </a:p>
        </p:txBody>
      </p:sp>
      <p:sp>
        <p:nvSpPr>
          <p:cNvPr id="107527" name="Rectangle 85"/>
          <p:cNvSpPr>
            <a:spLocks noChangeArrowheads="1"/>
          </p:cNvSpPr>
          <p:nvPr/>
        </p:nvSpPr>
        <p:spPr bwMode="auto">
          <a:xfrm>
            <a:off x="2788737" y="5978525"/>
            <a:ext cx="559127" cy="246221"/>
          </a:xfrm>
          <a:prstGeom prst="rect">
            <a:avLst/>
          </a:prstGeom>
          <a:noFill/>
          <a:ln w="9525">
            <a:noFill/>
            <a:miter lim="800000"/>
            <a:headEnd/>
            <a:tailEnd/>
          </a:ln>
        </p:spPr>
        <p:txBody>
          <a:bodyPr wrap="none" lIns="0" tIns="0" rIns="0" bIns="0">
            <a:spAutoFit/>
          </a:bodyPr>
          <a:lstStyle/>
          <a:p>
            <a:pPr defTabSz="912813"/>
            <a:r>
              <a:rPr lang="en-US" sz="1600" dirty="0">
                <a:solidFill>
                  <a:srgbClr val="000000"/>
                </a:solidFill>
              </a:rPr>
              <a:t>5-6 </a:t>
            </a:r>
            <a:r>
              <a:rPr lang="en-US" sz="1600" dirty="0" err="1">
                <a:solidFill>
                  <a:srgbClr val="000000"/>
                </a:solidFill>
              </a:rPr>
              <a:t>yrs</a:t>
            </a:r>
            <a:endParaRPr lang="en-US" sz="1600" dirty="0">
              <a:solidFill>
                <a:srgbClr val="000000"/>
              </a:solidFill>
            </a:endParaRPr>
          </a:p>
        </p:txBody>
      </p:sp>
      <p:sp>
        <p:nvSpPr>
          <p:cNvPr id="107528" name="Rectangle 86"/>
          <p:cNvSpPr>
            <a:spLocks noChangeArrowheads="1"/>
          </p:cNvSpPr>
          <p:nvPr/>
        </p:nvSpPr>
        <p:spPr bwMode="auto">
          <a:xfrm>
            <a:off x="4380546" y="5978525"/>
            <a:ext cx="767518" cy="246221"/>
          </a:xfrm>
          <a:prstGeom prst="rect">
            <a:avLst/>
          </a:prstGeom>
          <a:noFill/>
          <a:ln w="9525">
            <a:noFill/>
            <a:miter lim="800000"/>
            <a:headEnd/>
            <a:tailEnd/>
          </a:ln>
        </p:spPr>
        <p:txBody>
          <a:bodyPr wrap="none" lIns="0" tIns="0" rIns="0" bIns="0">
            <a:spAutoFit/>
          </a:bodyPr>
          <a:lstStyle/>
          <a:p>
            <a:pPr defTabSz="912813"/>
            <a:r>
              <a:rPr lang="en-US" sz="1600" dirty="0">
                <a:solidFill>
                  <a:srgbClr val="000000"/>
                </a:solidFill>
              </a:rPr>
              <a:t>10-11 </a:t>
            </a:r>
            <a:r>
              <a:rPr lang="en-US" sz="1600" dirty="0" err="1">
                <a:solidFill>
                  <a:srgbClr val="000000"/>
                </a:solidFill>
              </a:rPr>
              <a:t>yrs</a:t>
            </a:r>
            <a:endParaRPr lang="en-US" sz="1600" dirty="0">
              <a:solidFill>
                <a:srgbClr val="000000"/>
              </a:solidFill>
            </a:endParaRPr>
          </a:p>
        </p:txBody>
      </p:sp>
      <p:cxnSp>
        <p:nvCxnSpPr>
          <p:cNvPr id="66" name="Straight Connector 65"/>
          <p:cNvCxnSpPr/>
          <p:nvPr/>
        </p:nvCxnSpPr>
        <p:spPr>
          <a:xfrm>
            <a:off x="2070279" y="1032591"/>
            <a:ext cx="0" cy="384968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505200" y="1027112"/>
            <a:ext cx="0" cy="384968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7532" name="Line 71"/>
          <p:cNvSpPr>
            <a:spLocks noChangeShapeType="1"/>
          </p:cNvSpPr>
          <p:nvPr/>
        </p:nvSpPr>
        <p:spPr bwMode="auto">
          <a:xfrm>
            <a:off x="5003800" y="1268413"/>
            <a:ext cx="0" cy="4441825"/>
          </a:xfrm>
          <a:prstGeom prst="line">
            <a:avLst/>
          </a:prstGeom>
          <a:noFill/>
          <a:ln w="9525">
            <a:solidFill>
              <a:schemeClr val="tx1"/>
            </a:solidFill>
            <a:round/>
            <a:headEnd/>
            <a:tailEnd/>
          </a:ln>
        </p:spPr>
        <p:txBody>
          <a:bodyPr/>
          <a:lstStyle/>
          <a:p>
            <a:pPr defTabSz="913980"/>
            <a:endParaRPr lang="en-US">
              <a:solidFill>
                <a:srgbClr val="1B587C"/>
              </a:solidFill>
            </a:endParaRPr>
          </a:p>
        </p:txBody>
      </p:sp>
      <p:sp>
        <p:nvSpPr>
          <p:cNvPr id="5" name="TextBox 4"/>
          <p:cNvSpPr txBox="1"/>
          <p:nvPr/>
        </p:nvSpPr>
        <p:spPr>
          <a:xfrm>
            <a:off x="2587229" y="6327085"/>
            <a:ext cx="596638" cy="276999"/>
          </a:xfrm>
          <a:prstGeom prst="rect">
            <a:avLst/>
          </a:prstGeom>
          <a:noFill/>
        </p:spPr>
        <p:txBody>
          <a:bodyPr wrap="none">
            <a:spAutoFit/>
          </a:bodyPr>
          <a:lstStyle/>
          <a:p>
            <a:pPr defTabSz="913980">
              <a:defRPr/>
            </a:pPr>
            <a:r>
              <a:rPr lang="en-US" sz="1200" dirty="0">
                <a:solidFill>
                  <a:srgbClr val="1B587C"/>
                </a:solidFill>
              </a:rPr>
              <a:t>N=990</a:t>
            </a:r>
          </a:p>
        </p:txBody>
      </p:sp>
      <p:sp>
        <p:nvSpPr>
          <p:cNvPr id="2" name="Down Arrow 1"/>
          <p:cNvSpPr/>
          <p:nvPr/>
        </p:nvSpPr>
        <p:spPr>
          <a:xfrm>
            <a:off x="1606550" y="2241550"/>
            <a:ext cx="44450" cy="61277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980">
              <a:defRPr/>
            </a:pPr>
            <a:endParaRPr lang="en-GB">
              <a:solidFill>
                <a:srgbClr val="323232"/>
              </a:solidFill>
            </a:endParaRPr>
          </a:p>
        </p:txBody>
      </p:sp>
      <p:sp>
        <p:nvSpPr>
          <p:cNvPr id="3" name="Down Arrow 2"/>
          <p:cNvSpPr/>
          <p:nvPr/>
        </p:nvSpPr>
        <p:spPr>
          <a:xfrm>
            <a:off x="1959646" y="3143912"/>
            <a:ext cx="46038" cy="54927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980">
              <a:defRPr/>
            </a:pPr>
            <a:endParaRPr lang="en-GB">
              <a:solidFill>
                <a:srgbClr val="323232"/>
              </a:solidFill>
            </a:endParaRPr>
          </a:p>
        </p:txBody>
      </p:sp>
      <p:sp>
        <p:nvSpPr>
          <p:cNvPr id="109581" name="TextBox 3"/>
          <p:cNvSpPr txBox="1">
            <a:spLocks noChangeArrowheads="1"/>
          </p:cNvSpPr>
          <p:nvPr/>
        </p:nvSpPr>
        <p:spPr bwMode="auto">
          <a:xfrm>
            <a:off x="1389063" y="1879600"/>
            <a:ext cx="579437" cy="366713"/>
          </a:xfrm>
          <a:prstGeom prst="rect">
            <a:avLst/>
          </a:prstGeom>
          <a:noFill/>
          <a:ln w="9525">
            <a:noFill/>
            <a:miter lim="800000"/>
            <a:headEnd/>
            <a:tailEnd/>
          </a:ln>
        </p:spPr>
        <p:txBody>
          <a:bodyPr wrap="none">
            <a:spAutoFit/>
          </a:bodyPr>
          <a:lstStyle/>
          <a:p>
            <a:pPr defTabSz="912813"/>
            <a:r>
              <a:rPr lang="en-US" dirty="0">
                <a:solidFill>
                  <a:srgbClr val="323232"/>
                </a:solidFill>
              </a:rPr>
              <a:t>50%</a:t>
            </a:r>
            <a:endParaRPr lang="en-GB" dirty="0">
              <a:solidFill>
                <a:srgbClr val="323232"/>
              </a:solidFill>
            </a:endParaRPr>
          </a:p>
        </p:txBody>
      </p:sp>
      <p:sp>
        <p:nvSpPr>
          <p:cNvPr id="109582" name="TextBox 68"/>
          <p:cNvSpPr txBox="1">
            <a:spLocks noChangeArrowheads="1"/>
          </p:cNvSpPr>
          <p:nvPr/>
        </p:nvSpPr>
        <p:spPr bwMode="auto">
          <a:xfrm>
            <a:off x="1708150" y="2649538"/>
            <a:ext cx="579438" cy="366712"/>
          </a:xfrm>
          <a:prstGeom prst="rect">
            <a:avLst/>
          </a:prstGeom>
          <a:noFill/>
          <a:ln w="9525">
            <a:noFill/>
            <a:miter lim="800000"/>
            <a:headEnd/>
            <a:tailEnd/>
          </a:ln>
        </p:spPr>
        <p:txBody>
          <a:bodyPr wrap="none">
            <a:spAutoFit/>
          </a:bodyPr>
          <a:lstStyle/>
          <a:p>
            <a:pPr defTabSz="912813"/>
            <a:r>
              <a:rPr lang="en-US">
                <a:solidFill>
                  <a:srgbClr val="323232"/>
                </a:solidFill>
              </a:rPr>
              <a:t>75%</a:t>
            </a:r>
            <a:endParaRPr lang="en-GB">
              <a:solidFill>
                <a:srgbClr val="323232"/>
              </a:solidFill>
            </a:endParaRPr>
          </a:p>
        </p:txBody>
      </p:sp>
      <p:grpSp>
        <p:nvGrpSpPr>
          <p:cNvPr id="72" name="Group 71"/>
          <p:cNvGrpSpPr/>
          <p:nvPr/>
        </p:nvGrpSpPr>
        <p:grpSpPr>
          <a:xfrm>
            <a:off x="5003801" y="1879600"/>
            <a:ext cx="4046590" cy="4680973"/>
            <a:chOff x="228600" y="1374055"/>
            <a:chExt cx="4495800" cy="5024288"/>
          </a:xfrm>
        </p:grpSpPr>
        <p:sp>
          <p:nvSpPr>
            <p:cNvPr id="73" name="Straight Connector 72"/>
            <p:cNvSpPr/>
            <p:nvPr/>
          </p:nvSpPr>
          <p:spPr>
            <a:xfrm>
              <a:off x="228600" y="1374055"/>
              <a:ext cx="4495800" cy="0"/>
            </a:xfrm>
            <a:prstGeom prst="line">
              <a:avLst/>
            </a:prstGeom>
          </p:spPr>
          <p:style>
            <a:lnRef idx="2">
              <a:schemeClr val="accent3">
                <a:shade val="80000"/>
                <a:hueOff val="0"/>
                <a:satOff val="0"/>
                <a:lumOff val="0"/>
                <a:alphaOff val="0"/>
              </a:schemeClr>
            </a:lnRef>
            <a:fillRef idx="1">
              <a:schemeClr val="accent3">
                <a:shade val="80000"/>
                <a:hueOff val="0"/>
                <a:satOff val="0"/>
                <a:lumOff val="0"/>
                <a:alphaOff val="0"/>
              </a:schemeClr>
            </a:fillRef>
            <a:effectRef idx="1">
              <a:schemeClr val="accent3">
                <a:shade val="80000"/>
                <a:hueOff val="0"/>
                <a:satOff val="0"/>
                <a:lumOff val="0"/>
                <a:alphaOff val="0"/>
              </a:schemeClr>
            </a:effectRef>
            <a:fontRef idx="minor">
              <a:schemeClr val="lt1"/>
            </a:fontRef>
          </p:style>
        </p:sp>
        <p:sp>
          <p:nvSpPr>
            <p:cNvPr id="74" name="Freeform 73"/>
            <p:cNvSpPr/>
            <p:nvPr/>
          </p:nvSpPr>
          <p:spPr>
            <a:xfrm>
              <a:off x="228600" y="1374055"/>
              <a:ext cx="46796" cy="5024288"/>
            </a:xfrm>
            <a:custGeom>
              <a:avLst/>
              <a:gdLst>
                <a:gd name="connsiteX0" fmla="*/ 0 w 46796"/>
                <a:gd name="connsiteY0" fmla="*/ 0 h 5024288"/>
                <a:gd name="connsiteX1" fmla="*/ 46796 w 46796"/>
                <a:gd name="connsiteY1" fmla="*/ 0 h 5024288"/>
                <a:gd name="connsiteX2" fmla="*/ 46796 w 46796"/>
                <a:gd name="connsiteY2" fmla="*/ 5024288 h 5024288"/>
                <a:gd name="connsiteX3" fmla="*/ 0 w 46796"/>
                <a:gd name="connsiteY3" fmla="*/ 5024288 h 5024288"/>
                <a:gd name="connsiteX4" fmla="*/ 0 w 46796"/>
                <a:gd name="connsiteY4" fmla="*/ 0 h 5024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96" h="5024288">
                  <a:moveTo>
                    <a:pt x="0" y="0"/>
                  </a:moveTo>
                  <a:lnTo>
                    <a:pt x="46796" y="0"/>
                  </a:lnTo>
                  <a:lnTo>
                    <a:pt x="46796" y="5024288"/>
                  </a:lnTo>
                  <a:lnTo>
                    <a:pt x="0" y="502428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050" tIns="19050" rIns="19050" bIns="19050" numCol="1" spcCol="1270" anchor="t" anchorCtr="0">
              <a:noAutofit/>
            </a:bodyPr>
            <a:lstStyle/>
            <a:p>
              <a:pPr defTabSz="222250">
                <a:lnSpc>
                  <a:spcPct val="90000"/>
                </a:lnSpc>
                <a:spcBef>
                  <a:spcPct val="0"/>
                </a:spcBef>
                <a:spcAft>
                  <a:spcPct val="35000"/>
                </a:spcAft>
              </a:pPr>
              <a:endParaRPr lang="en-US" sz="500" dirty="0">
                <a:solidFill>
                  <a:srgbClr val="1B587C">
                    <a:hueOff val="0"/>
                    <a:satOff val="0"/>
                    <a:lumOff val="0"/>
                    <a:alphaOff val="0"/>
                  </a:srgbClr>
                </a:solidFill>
              </a:endParaRPr>
            </a:p>
          </p:txBody>
        </p:sp>
        <p:sp>
          <p:nvSpPr>
            <p:cNvPr id="75" name="Freeform 74"/>
            <p:cNvSpPr/>
            <p:nvPr/>
          </p:nvSpPr>
          <p:spPr>
            <a:xfrm>
              <a:off x="228600" y="1374055"/>
              <a:ext cx="4381664" cy="1181247"/>
            </a:xfrm>
            <a:custGeom>
              <a:avLst/>
              <a:gdLst>
                <a:gd name="connsiteX0" fmla="*/ 0 w 4381664"/>
                <a:gd name="connsiteY0" fmla="*/ 0 h 1181247"/>
                <a:gd name="connsiteX1" fmla="*/ 4381664 w 4381664"/>
                <a:gd name="connsiteY1" fmla="*/ 0 h 1181247"/>
                <a:gd name="connsiteX2" fmla="*/ 4381664 w 4381664"/>
                <a:gd name="connsiteY2" fmla="*/ 1181247 h 1181247"/>
                <a:gd name="connsiteX3" fmla="*/ 0 w 4381664"/>
                <a:gd name="connsiteY3" fmla="*/ 1181247 h 1181247"/>
                <a:gd name="connsiteX4" fmla="*/ 0 w 4381664"/>
                <a:gd name="connsiteY4" fmla="*/ 0 h 1181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1664" h="1181247">
                  <a:moveTo>
                    <a:pt x="0" y="0"/>
                  </a:moveTo>
                  <a:lnTo>
                    <a:pt x="4381664" y="0"/>
                  </a:lnTo>
                  <a:lnTo>
                    <a:pt x="4381664" y="1181247"/>
                  </a:lnTo>
                  <a:lnTo>
                    <a:pt x="0" y="11812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68580" rIns="68580" bIns="68580" numCol="1" spcCol="1270" anchor="t" anchorCtr="0">
              <a:noAutofit/>
            </a:bodyPr>
            <a:lstStyle/>
            <a:p>
              <a:pPr defTabSz="800100">
                <a:lnSpc>
                  <a:spcPct val="90000"/>
                </a:lnSpc>
                <a:spcBef>
                  <a:spcPct val="0"/>
                </a:spcBef>
                <a:spcAft>
                  <a:spcPct val="35000"/>
                </a:spcAft>
              </a:pPr>
              <a:endParaRPr lang="en-US" dirty="0">
                <a:solidFill>
                  <a:srgbClr val="1B587C">
                    <a:hueOff val="0"/>
                    <a:satOff val="0"/>
                    <a:lumOff val="0"/>
                    <a:alphaOff val="0"/>
                  </a:srgbClr>
                </a:solidFill>
              </a:endParaRPr>
            </a:p>
          </p:txBody>
        </p:sp>
        <p:sp>
          <p:nvSpPr>
            <p:cNvPr id="77" name="Freeform 76"/>
            <p:cNvSpPr/>
            <p:nvPr/>
          </p:nvSpPr>
          <p:spPr>
            <a:xfrm>
              <a:off x="341120" y="1832269"/>
              <a:ext cx="4269143" cy="1181247"/>
            </a:xfrm>
            <a:custGeom>
              <a:avLst/>
              <a:gdLst>
                <a:gd name="connsiteX0" fmla="*/ 0 w 3439594"/>
                <a:gd name="connsiteY0" fmla="*/ 0 h 1181247"/>
                <a:gd name="connsiteX1" fmla="*/ 3439594 w 3439594"/>
                <a:gd name="connsiteY1" fmla="*/ 0 h 1181247"/>
                <a:gd name="connsiteX2" fmla="*/ 3439594 w 3439594"/>
                <a:gd name="connsiteY2" fmla="*/ 1181247 h 1181247"/>
                <a:gd name="connsiteX3" fmla="*/ 0 w 3439594"/>
                <a:gd name="connsiteY3" fmla="*/ 1181247 h 1181247"/>
                <a:gd name="connsiteX4" fmla="*/ 0 w 3439594"/>
                <a:gd name="connsiteY4" fmla="*/ 0 h 1181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9594" h="1181247">
                  <a:moveTo>
                    <a:pt x="0" y="0"/>
                  </a:moveTo>
                  <a:lnTo>
                    <a:pt x="3439594" y="0"/>
                  </a:lnTo>
                  <a:lnTo>
                    <a:pt x="3439594" y="1181247"/>
                  </a:lnTo>
                  <a:lnTo>
                    <a:pt x="0" y="11812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285750" indent="-285750" defTabSz="711200">
                <a:lnSpc>
                  <a:spcPct val="90000"/>
                </a:lnSpc>
                <a:spcBef>
                  <a:spcPct val="0"/>
                </a:spcBef>
                <a:spcAft>
                  <a:spcPct val="35000"/>
                </a:spcAft>
                <a:buFont typeface="Wingdings" charset="2"/>
                <a:buChar char=""/>
              </a:pPr>
              <a:r>
                <a:rPr lang="en-US" dirty="0">
                  <a:solidFill>
                    <a:srgbClr val="1B587C">
                      <a:hueOff val="0"/>
                      <a:satOff val="0"/>
                      <a:lumOff val="0"/>
                      <a:alphaOff val="0"/>
                    </a:srgbClr>
                  </a:solidFill>
                </a:rPr>
                <a:t>IPV reduced fecal excretion for poliovirus types 1 and 3 between 38.9-74.2% and 52.8-75.7%, respectively, compared to control</a:t>
              </a:r>
            </a:p>
          </p:txBody>
        </p:sp>
        <p:sp>
          <p:nvSpPr>
            <p:cNvPr id="78" name="Straight Connector 77"/>
            <p:cNvSpPr/>
            <p:nvPr/>
          </p:nvSpPr>
          <p:spPr>
            <a:xfrm>
              <a:off x="493193" y="3815236"/>
              <a:ext cx="3505320" cy="0"/>
            </a:xfrm>
            <a:prstGeom prst="line">
              <a:avLst/>
            </a:prstGeom>
          </p:spPr>
          <p:style>
            <a:lnRef idx="2">
              <a:schemeClr val="accent3">
                <a:hueOff val="0"/>
                <a:satOff val="0"/>
                <a:lumOff val="0"/>
                <a:alphaOff val="0"/>
              </a:schemeClr>
            </a:lnRef>
            <a:fillRef idx="1">
              <a:schemeClr val="accent3">
                <a:hueOff val="0"/>
                <a:satOff val="0"/>
                <a:lumOff val="0"/>
                <a:alphaOff val="0"/>
              </a:schemeClr>
            </a:fillRef>
            <a:effectRef idx="1">
              <a:schemeClr val="accent3">
                <a:hueOff val="0"/>
                <a:satOff val="0"/>
                <a:lumOff val="0"/>
                <a:alphaOff val="0"/>
              </a:schemeClr>
            </a:effectRef>
            <a:fontRef idx="minor">
              <a:schemeClr val="tx1">
                <a:hueOff val="0"/>
                <a:satOff val="0"/>
                <a:lumOff val="0"/>
                <a:alphaOff val="0"/>
              </a:schemeClr>
            </a:fontRef>
          </p:style>
        </p:sp>
        <p:sp>
          <p:nvSpPr>
            <p:cNvPr id="79" name="Freeform 78"/>
            <p:cNvSpPr/>
            <p:nvPr/>
          </p:nvSpPr>
          <p:spPr>
            <a:xfrm>
              <a:off x="341120" y="3913737"/>
              <a:ext cx="4383280" cy="1181247"/>
            </a:xfrm>
            <a:custGeom>
              <a:avLst/>
              <a:gdLst>
                <a:gd name="connsiteX0" fmla="*/ 0 w 3439594"/>
                <a:gd name="connsiteY0" fmla="*/ 0 h 1181247"/>
                <a:gd name="connsiteX1" fmla="*/ 3439594 w 3439594"/>
                <a:gd name="connsiteY1" fmla="*/ 0 h 1181247"/>
                <a:gd name="connsiteX2" fmla="*/ 3439594 w 3439594"/>
                <a:gd name="connsiteY2" fmla="*/ 1181247 h 1181247"/>
                <a:gd name="connsiteX3" fmla="*/ 0 w 3439594"/>
                <a:gd name="connsiteY3" fmla="*/ 1181247 h 1181247"/>
                <a:gd name="connsiteX4" fmla="*/ 0 w 3439594"/>
                <a:gd name="connsiteY4" fmla="*/ 0 h 1181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9594" h="1181247">
                  <a:moveTo>
                    <a:pt x="0" y="0"/>
                  </a:moveTo>
                  <a:lnTo>
                    <a:pt x="3439594" y="0"/>
                  </a:lnTo>
                  <a:lnTo>
                    <a:pt x="3439594" y="1181247"/>
                  </a:lnTo>
                  <a:lnTo>
                    <a:pt x="0" y="11812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285750" indent="-285750" defTabSz="711200">
                <a:lnSpc>
                  <a:spcPct val="90000"/>
                </a:lnSpc>
                <a:spcBef>
                  <a:spcPct val="0"/>
                </a:spcBef>
                <a:spcAft>
                  <a:spcPct val="35000"/>
                </a:spcAft>
                <a:buFont typeface="Wingdings" charset="2"/>
                <a:buChar char=""/>
              </a:pPr>
              <a:r>
                <a:rPr lang="en-US" dirty="0">
                  <a:solidFill>
                    <a:srgbClr val="1B587C">
                      <a:hueOff val="0"/>
                      <a:satOff val="0"/>
                      <a:lumOff val="0"/>
                      <a:alphaOff val="0"/>
                    </a:srgbClr>
                  </a:solidFill>
                </a:rPr>
                <a:t>After challenge with vaccine viruses, the reduction in fecal excretion was also greater in children who received an additional dose of IPV prior to challenge, than children who received an additional dose of bOPV</a:t>
              </a:r>
            </a:p>
          </p:txBody>
        </p:sp>
      </p:grpSp>
      <p:pic>
        <p:nvPicPr>
          <p:cNvPr id="83" name="Picture 82" descr="Science Logo"/>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63302" y="992493"/>
            <a:ext cx="2286000" cy="1239964"/>
          </a:xfrm>
          <a:prstGeom prst="rect">
            <a:avLst/>
          </a:prstGeom>
        </p:spPr>
      </p:pic>
      <p:sp>
        <p:nvSpPr>
          <p:cNvPr id="84" name="TextBox 83"/>
          <p:cNvSpPr txBox="1"/>
          <p:nvPr/>
        </p:nvSpPr>
        <p:spPr>
          <a:xfrm>
            <a:off x="3933440" y="6604084"/>
            <a:ext cx="5292932" cy="253916"/>
          </a:xfrm>
          <a:prstGeom prst="rect">
            <a:avLst/>
          </a:prstGeom>
          <a:noFill/>
        </p:spPr>
        <p:txBody>
          <a:bodyPr wrap="none" rtlCol="0">
            <a:spAutoFit/>
          </a:bodyPr>
          <a:lstStyle/>
          <a:p>
            <a:pPr defTabSz="913980"/>
            <a:r>
              <a:rPr lang="en-US" sz="1000" dirty="0">
                <a:solidFill>
                  <a:srgbClr val="1B587C"/>
                </a:solidFill>
              </a:rPr>
              <a:t>*</a:t>
            </a:r>
            <a:r>
              <a:rPr lang="en-US" sz="1050" dirty="0">
                <a:solidFill>
                  <a:srgbClr val="1B587C"/>
                </a:solidFill>
              </a:rPr>
              <a:t>Hamid </a:t>
            </a:r>
            <a:r>
              <a:rPr lang="en-US" sz="1050" dirty="0" err="1">
                <a:solidFill>
                  <a:srgbClr val="1B587C"/>
                </a:solidFill>
              </a:rPr>
              <a:t>Jafari</a:t>
            </a:r>
            <a:r>
              <a:rPr lang="en-US" sz="1050" dirty="0">
                <a:solidFill>
                  <a:srgbClr val="1B587C"/>
                </a:solidFill>
              </a:rPr>
              <a:t> et al. Efficacy of inactivated poliovirus vaccine in India. Science 345, 922 (2014);</a:t>
            </a:r>
          </a:p>
        </p:txBody>
      </p:sp>
    </p:spTree>
    <p:custDataLst>
      <p:tags r:id="rId1"/>
    </p:custDataLst>
    <p:extLst>
      <p:ext uri="{BB962C8B-B14F-4D97-AF65-F5344CB8AC3E}">
        <p14:creationId xmlns:p14="http://schemas.microsoft.com/office/powerpoint/2010/main" val="31890849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958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958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09581" grpId="0"/>
      <p:bldP spid="10958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nvPr>
        </p:nvGraphicFramePr>
        <p:xfrm>
          <a:off x="533400" y="2133600"/>
          <a:ext cx="80772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457200" y="6096000"/>
            <a:ext cx="5334000" cy="261610"/>
          </a:xfrm>
          <a:prstGeom prst="rect">
            <a:avLst/>
          </a:prstGeom>
          <a:noFill/>
        </p:spPr>
        <p:txBody>
          <a:bodyPr wrap="square" rtlCol="0">
            <a:spAutoFit/>
          </a:bodyPr>
          <a:lstStyle/>
          <a:p>
            <a:pPr defTabSz="913980"/>
            <a:r>
              <a:rPr lang="ro-RO" sz="1100" dirty="0">
                <a:solidFill>
                  <a:srgbClr val="1B587C"/>
                </a:solidFill>
              </a:rPr>
              <a:t>*http://dx.doi.org/10.1016/S0140-6736(14)60934-X</a:t>
            </a:r>
            <a:endParaRPr lang="en-US" sz="1100" dirty="0">
              <a:solidFill>
                <a:srgbClr val="1B587C"/>
              </a:solidFill>
            </a:endParaRPr>
          </a:p>
        </p:txBody>
      </p:sp>
      <p:pic>
        <p:nvPicPr>
          <p:cNvPr id="6" name="Picture 5" descr="Headlin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200" y="228600"/>
            <a:ext cx="8610600" cy="1771686"/>
          </a:xfrm>
          <a:prstGeom prst="rect">
            <a:avLst/>
          </a:prstGeom>
        </p:spPr>
      </p:pic>
      <p:pic>
        <p:nvPicPr>
          <p:cNvPr id="7" name="Picture 6" descr="logo_site.gif"/>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96000" y="152400"/>
            <a:ext cx="2930524" cy="431489"/>
          </a:xfrm>
          <a:prstGeom prst="rect">
            <a:avLst/>
          </a:prstGeom>
        </p:spPr>
      </p:pic>
    </p:spTree>
    <p:extLst>
      <p:ext uri="{BB962C8B-B14F-4D97-AF65-F5344CB8AC3E}">
        <p14:creationId xmlns:p14="http://schemas.microsoft.com/office/powerpoint/2010/main" val="40250983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Title 3"/>
          <p:cNvSpPr>
            <a:spLocks noGrp="1"/>
          </p:cNvSpPr>
          <p:nvPr>
            <p:ph type="title"/>
          </p:nvPr>
        </p:nvSpPr>
        <p:spPr>
          <a:xfrm>
            <a:off x="0" y="190500"/>
            <a:ext cx="9144000" cy="935038"/>
          </a:xfrm>
          <a:effectLst/>
        </p:spPr>
        <p:txBody>
          <a:bodyPr rtlCol="0">
            <a:normAutofit fontScale="90000"/>
          </a:bodyPr>
          <a:lstStyle/>
          <a:p>
            <a:pPr defTabSz="913980" eaLnBrk="1" fontAlgn="auto" hangingPunct="1">
              <a:spcAft>
                <a:spcPts val="0"/>
              </a:spcAft>
              <a:defRPr/>
            </a:pPr>
            <a:r>
              <a:rPr lang="en-US" sz="4000" b="0" dirty="0" smtClean="0">
                <a:solidFill>
                  <a:srgbClr val="C00000"/>
                </a:solidFill>
                <a:effectLst/>
                <a:latin typeface="+mn-lt"/>
              </a:rPr>
              <a:t>Early versus later IPV administration</a:t>
            </a:r>
            <a:br>
              <a:rPr lang="en-US" sz="4000" b="0" dirty="0" smtClean="0">
                <a:solidFill>
                  <a:srgbClr val="C00000"/>
                </a:solidFill>
                <a:effectLst/>
                <a:latin typeface="+mn-lt"/>
              </a:rPr>
            </a:br>
            <a:endParaRPr lang="en-GB" sz="4000" b="0" dirty="0" smtClean="0">
              <a:solidFill>
                <a:srgbClr val="C00000"/>
              </a:solidFill>
              <a:effectLst/>
              <a:latin typeface="+mn-lt"/>
            </a:endParaRPr>
          </a:p>
        </p:txBody>
      </p:sp>
      <p:sp>
        <p:nvSpPr>
          <p:cNvPr id="10" name="Content Placeholder 2"/>
          <p:cNvSpPr txBox="1">
            <a:spLocks/>
          </p:cNvSpPr>
          <p:nvPr/>
        </p:nvSpPr>
        <p:spPr bwMode="auto">
          <a:xfrm>
            <a:off x="250825" y="4748213"/>
            <a:ext cx="8569325" cy="1201737"/>
          </a:xfrm>
          <a:prstGeom prst="rect">
            <a:avLst/>
          </a:prstGeom>
          <a:noFill/>
          <a:ln w="19050">
            <a:noFill/>
            <a:miter lim="800000"/>
            <a:headEnd/>
            <a:tailEnd/>
          </a:ln>
        </p:spPr>
        <p:txBody>
          <a:bodyPr/>
          <a:lstStyle/>
          <a:p>
            <a:pPr marL="358775" indent="-342900" defTabSz="913980" eaLnBrk="0" hangingPunct="0">
              <a:buFontTx/>
              <a:buChar char="•"/>
            </a:pPr>
            <a:r>
              <a:rPr lang="en-US" sz="2200" i="1">
                <a:solidFill>
                  <a:srgbClr val="1B587C"/>
                </a:solidFill>
              </a:rPr>
              <a:t>4 month IPV dose: 63% seroconversion; 99% seroconversion &amp; priming</a:t>
            </a:r>
          </a:p>
          <a:p>
            <a:pPr marL="358775" indent="-342900" defTabSz="913980" eaLnBrk="0" hangingPunct="0">
              <a:buFontTx/>
              <a:buChar char="•"/>
            </a:pPr>
            <a:r>
              <a:rPr lang="en-US" sz="2200" i="1">
                <a:solidFill>
                  <a:srgbClr val="1B587C"/>
                </a:solidFill>
              </a:rPr>
              <a:t>Earlier administration (potential losses): seroconversion decreased (32-39% vs 63%); priming also lower (&lt;90%)</a:t>
            </a:r>
          </a:p>
          <a:p>
            <a:pPr marL="358775" indent="-342900" defTabSz="913980" eaLnBrk="0" hangingPunct="0">
              <a:buFontTx/>
              <a:buChar char="•"/>
            </a:pPr>
            <a:r>
              <a:rPr lang="en-US" sz="2200" i="1">
                <a:solidFill>
                  <a:srgbClr val="1B587C"/>
                </a:solidFill>
              </a:rPr>
              <a:t>Later administration: (potential gains): ? Seroconversion (&gt;63%); </a:t>
            </a:r>
          </a:p>
          <a:p>
            <a:pPr marL="358775" indent="-342900" defTabSz="913980" eaLnBrk="0" hangingPunct="0"/>
            <a:r>
              <a:rPr lang="en-US" sz="2200" i="1">
                <a:solidFill>
                  <a:srgbClr val="1B587C"/>
                </a:solidFill>
              </a:rPr>
              <a:t>     ? Priming (&gt; 98%)</a:t>
            </a:r>
          </a:p>
        </p:txBody>
      </p:sp>
      <p:graphicFrame>
        <p:nvGraphicFramePr>
          <p:cNvPr id="2" name="Table 1"/>
          <p:cNvGraphicFramePr>
            <a:graphicFrameLocks noGrp="1"/>
          </p:cNvGraphicFramePr>
          <p:nvPr/>
        </p:nvGraphicFramePr>
        <p:xfrm>
          <a:off x="1174750" y="765175"/>
          <a:ext cx="6794501" cy="4029665"/>
        </p:xfrm>
        <a:graphic>
          <a:graphicData uri="http://schemas.openxmlformats.org/drawingml/2006/table">
            <a:tbl>
              <a:tblPr/>
              <a:tblGrid>
                <a:gridCol w="1132417"/>
                <a:gridCol w="989675"/>
                <a:gridCol w="1056288"/>
                <a:gridCol w="989675"/>
                <a:gridCol w="1141933"/>
                <a:gridCol w="1484513"/>
              </a:tblGrid>
              <a:tr h="858350">
                <a:tc gridSpan="6">
                  <a:txBody>
                    <a:bodyPr/>
                    <a:lstStyle/>
                    <a:p>
                      <a:pPr algn="ctr" rtl="0" fontAlgn="b"/>
                      <a:r>
                        <a:rPr lang="en-US" sz="2400" b="0" i="0" u="none" strike="noStrike" dirty="0">
                          <a:solidFill>
                            <a:srgbClr val="000000"/>
                          </a:solidFill>
                          <a:effectLst/>
                          <a:latin typeface="Calibri"/>
                        </a:rPr>
                        <a:t>Seroconversion for type 2 after a dose of IPV – </a:t>
                      </a:r>
                      <a:endParaRPr lang="en-US" sz="2400" b="0" i="0" u="none" strike="noStrike" dirty="0" smtClean="0">
                        <a:solidFill>
                          <a:srgbClr val="000000"/>
                        </a:solidFill>
                        <a:effectLst/>
                        <a:latin typeface="Calibri"/>
                      </a:endParaRPr>
                    </a:p>
                    <a:p>
                      <a:pPr algn="ctr" rtl="0" fontAlgn="b"/>
                      <a:r>
                        <a:rPr lang="en-US" sz="2400" b="0" i="0" u="none" strike="noStrike" dirty="0" smtClean="0">
                          <a:solidFill>
                            <a:srgbClr val="000000"/>
                          </a:solidFill>
                          <a:effectLst/>
                          <a:latin typeface="Calibri"/>
                        </a:rPr>
                        <a:t>studies </a:t>
                      </a:r>
                      <a:r>
                        <a:rPr lang="en-US" sz="2400" b="0" i="0" u="none" strike="noStrike" dirty="0">
                          <a:solidFill>
                            <a:srgbClr val="000000"/>
                          </a:solidFill>
                          <a:effectLst/>
                          <a:latin typeface="Calibri"/>
                        </a:rPr>
                        <a:t>from different countries</a:t>
                      </a:r>
                    </a:p>
                  </a:txBody>
                  <a:tcPr marL="9525" marR="9525" marT="9525" marB="0" anchor="b">
                    <a:lnL>
                      <a:noFill/>
                    </a:lnL>
                    <a:lnR>
                      <a:noFill/>
                    </a:lnR>
                    <a:lnT>
                      <a:noFill/>
                    </a:lnT>
                    <a:lnB w="6350" cap="flat" cmpd="sng" algn="ctr">
                      <a:solidFill>
                        <a:srgbClr val="FFFFFF"/>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599811">
                <a:tc>
                  <a:txBody>
                    <a:bodyPr/>
                    <a:lstStyle/>
                    <a:p>
                      <a:pPr algn="ctr" rtl="0" fontAlgn="ctr"/>
                      <a:r>
                        <a:rPr lang="en-US" sz="1600" b="1" i="0" u="none" strike="noStrike">
                          <a:solidFill>
                            <a:srgbClr val="000000"/>
                          </a:solidFill>
                          <a:effectLst/>
                          <a:latin typeface="Calibri"/>
                        </a:rPr>
                        <a:t>Author </a:t>
                      </a:r>
                    </a:p>
                  </a:txBody>
                  <a:tcPr marL="95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1" i="0" u="none" strike="noStrike">
                          <a:solidFill>
                            <a:srgbClr val="000000"/>
                          </a:solidFill>
                          <a:effectLst/>
                          <a:latin typeface="Calibri"/>
                        </a:rPr>
                        <a:t>Year</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1" i="0" u="none" strike="noStrike">
                          <a:solidFill>
                            <a:srgbClr val="000000"/>
                          </a:solidFill>
                          <a:effectLst/>
                          <a:latin typeface="Calibri"/>
                        </a:rPr>
                        <a:t>Country</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1" i="0" u="none" strike="noStrike">
                          <a:solidFill>
                            <a:srgbClr val="000000"/>
                          </a:solidFill>
                          <a:effectLst/>
                          <a:latin typeface="Calibri"/>
                        </a:rPr>
                        <a:t>Number of Subjects</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1" i="0" u="none" strike="noStrike">
                          <a:solidFill>
                            <a:srgbClr val="000000"/>
                          </a:solidFill>
                          <a:effectLst/>
                          <a:latin typeface="Calibri"/>
                        </a:rPr>
                        <a:t>Schedul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1" i="0" u="none" strike="noStrike">
                          <a:solidFill>
                            <a:srgbClr val="000000"/>
                          </a:solidFill>
                          <a:effectLst/>
                          <a:latin typeface="Calibri"/>
                        </a:rPr>
                        <a:t>% Seroconversion for Type 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r>
              <a:tr h="486054">
                <a:tc>
                  <a:txBody>
                    <a:bodyPr/>
                    <a:lstStyle/>
                    <a:p>
                      <a:pPr algn="l" rtl="0" fontAlgn="ctr"/>
                      <a:r>
                        <a:rPr lang="en-US" sz="1600" b="0" i="0" u="none" strike="noStrike">
                          <a:solidFill>
                            <a:srgbClr val="000000"/>
                          </a:solidFill>
                          <a:effectLst/>
                          <a:latin typeface="Calibri"/>
                        </a:rPr>
                        <a:t>McBean</a:t>
                      </a:r>
                    </a:p>
                  </a:txBody>
                  <a:tcPr marL="857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dirty="0">
                          <a:solidFill>
                            <a:srgbClr val="000000"/>
                          </a:solidFill>
                          <a:effectLst/>
                          <a:latin typeface="Calibri"/>
                        </a:rPr>
                        <a:t>1988</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a:solidFill>
                            <a:srgbClr val="000000"/>
                          </a:solidFill>
                          <a:effectLst/>
                          <a:latin typeface="Calibri"/>
                        </a:rPr>
                        <a:t>US</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a:solidFill>
                            <a:srgbClr val="000000"/>
                          </a:solidFill>
                          <a:effectLst/>
                          <a:latin typeface="Calibri"/>
                        </a:rPr>
                        <a:t>30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a:solidFill>
                            <a:srgbClr val="000000"/>
                          </a:solidFill>
                          <a:effectLst/>
                          <a:latin typeface="Calibri"/>
                        </a:rPr>
                        <a:t>2 Month</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a:solidFill>
                            <a:srgbClr val="000000"/>
                          </a:solidFill>
                          <a:effectLst/>
                          <a:latin typeface="Calibri"/>
                        </a:rPr>
                        <a:t>3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r>
              <a:tr h="486054">
                <a:tc>
                  <a:txBody>
                    <a:bodyPr/>
                    <a:lstStyle/>
                    <a:p>
                      <a:pPr algn="l" rtl="0" fontAlgn="ctr"/>
                      <a:r>
                        <a:rPr lang="en-US" sz="1600" b="0" i="0" u="none" strike="noStrike">
                          <a:solidFill>
                            <a:srgbClr val="000000"/>
                          </a:solidFill>
                          <a:effectLst/>
                          <a:latin typeface="Calibri"/>
                        </a:rPr>
                        <a:t>Simasathein</a:t>
                      </a:r>
                    </a:p>
                  </a:txBody>
                  <a:tcPr marL="857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199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Thailand</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10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2 Month</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3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r>
              <a:tr h="486054">
                <a:tc>
                  <a:txBody>
                    <a:bodyPr/>
                    <a:lstStyle/>
                    <a:p>
                      <a:pPr algn="l" rtl="0" fontAlgn="ctr"/>
                      <a:r>
                        <a:rPr lang="en-US" sz="1600" b="0" i="0" u="none" strike="noStrike">
                          <a:solidFill>
                            <a:srgbClr val="000000"/>
                          </a:solidFill>
                          <a:effectLst/>
                          <a:latin typeface="Calibri"/>
                        </a:rPr>
                        <a:t>Resik</a:t>
                      </a:r>
                    </a:p>
                  </a:txBody>
                  <a:tcPr marL="857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a:solidFill>
                            <a:srgbClr val="000000"/>
                          </a:solidFill>
                          <a:effectLst/>
                          <a:latin typeface="Calibri"/>
                        </a:rPr>
                        <a:t>201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a:solidFill>
                            <a:srgbClr val="000000"/>
                          </a:solidFill>
                          <a:effectLst/>
                          <a:latin typeface="Calibri"/>
                        </a:rPr>
                        <a:t>Cuba</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a:solidFill>
                            <a:srgbClr val="000000"/>
                          </a:solidFill>
                          <a:effectLst/>
                          <a:latin typeface="Calibri"/>
                        </a:rPr>
                        <a:t>177</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a:solidFill>
                            <a:srgbClr val="000000"/>
                          </a:solidFill>
                          <a:effectLst/>
                          <a:latin typeface="Calibri"/>
                        </a:rPr>
                        <a:t>6 Weeks</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c>
                  <a:txBody>
                    <a:bodyPr/>
                    <a:lstStyle/>
                    <a:p>
                      <a:pPr algn="ctr" rtl="0" fontAlgn="ctr"/>
                      <a:r>
                        <a:rPr lang="en-US" sz="1600" b="0" i="0" u="none" strike="noStrike" dirty="0">
                          <a:solidFill>
                            <a:srgbClr val="000000"/>
                          </a:solidFill>
                          <a:effectLst/>
                          <a:latin typeface="Calibri"/>
                        </a:rPr>
                        <a:t>3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CC0DA"/>
                    </a:solidFill>
                  </a:tcPr>
                </a:tc>
              </a:tr>
              <a:tr h="486054">
                <a:tc>
                  <a:txBody>
                    <a:bodyPr/>
                    <a:lstStyle/>
                    <a:p>
                      <a:pPr algn="l" rtl="0" fontAlgn="ctr"/>
                      <a:r>
                        <a:rPr lang="en-US" sz="1600" b="0" i="0" u="none" strike="noStrike">
                          <a:solidFill>
                            <a:srgbClr val="000000"/>
                          </a:solidFill>
                          <a:effectLst/>
                          <a:latin typeface="Calibri"/>
                        </a:rPr>
                        <a:t>Mohammed</a:t>
                      </a:r>
                    </a:p>
                  </a:txBody>
                  <a:tcPr marL="857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2010</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Oma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18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2 Month</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c>
                  <a:txBody>
                    <a:bodyPr/>
                    <a:lstStyle/>
                    <a:p>
                      <a:pPr algn="ctr" rtl="0" fontAlgn="ctr"/>
                      <a:r>
                        <a:rPr lang="en-US" sz="1600" b="0" i="0" u="none" strike="noStrike">
                          <a:solidFill>
                            <a:srgbClr val="000000"/>
                          </a:solidFill>
                          <a:effectLst/>
                          <a:latin typeface="Calibri"/>
                        </a:rPr>
                        <a:t>32%</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4DFEC"/>
                    </a:solidFill>
                  </a:tcPr>
                </a:tc>
              </a:tr>
              <a:tr h="486054">
                <a:tc>
                  <a:txBody>
                    <a:bodyPr/>
                    <a:lstStyle/>
                    <a:p>
                      <a:pPr algn="l" rtl="0" fontAlgn="ctr"/>
                      <a:r>
                        <a:rPr lang="en-US" sz="1600" b="0" i="0" u="none" strike="noStrike">
                          <a:solidFill>
                            <a:srgbClr val="000000"/>
                          </a:solidFill>
                          <a:effectLst/>
                          <a:latin typeface="Calibri"/>
                        </a:rPr>
                        <a:t>Resik</a:t>
                      </a:r>
                    </a:p>
                  </a:txBody>
                  <a:tcPr marL="85725" marR="9525" marT="9525"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CCC0DA"/>
                    </a:solidFill>
                  </a:tcPr>
                </a:tc>
                <a:tc>
                  <a:txBody>
                    <a:bodyPr/>
                    <a:lstStyle/>
                    <a:p>
                      <a:pPr algn="ctr" rtl="0" fontAlgn="ctr"/>
                      <a:r>
                        <a:rPr lang="en-US" sz="1600" b="0" i="0" u="none" strike="noStrike">
                          <a:solidFill>
                            <a:srgbClr val="000000"/>
                          </a:solidFill>
                          <a:effectLst/>
                          <a:latin typeface="Calibri"/>
                        </a:rPr>
                        <a:t>201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CCC0DA"/>
                    </a:solidFill>
                  </a:tcPr>
                </a:tc>
                <a:tc>
                  <a:txBody>
                    <a:bodyPr/>
                    <a:lstStyle/>
                    <a:p>
                      <a:pPr algn="ctr" rtl="0" fontAlgn="ctr"/>
                      <a:r>
                        <a:rPr lang="en-US" sz="1600" b="0" i="0" u="none" strike="noStrike" dirty="0">
                          <a:solidFill>
                            <a:srgbClr val="000000"/>
                          </a:solidFill>
                          <a:effectLst/>
                          <a:latin typeface="Calibri"/>
                        </a:rPr>
                        <a:t>Cuba</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CCC0DA"/>
                    </a:solidFill>
                  </a:tcPr>
                </a:tc>
                <a:tc>
                  <a:txBody>
                    <a:bodyPr/>
                    <a:lstStyle/>
                    <a:p>
                      <a:pPr algn="ctr" rtl="0" fontAlgn="ctr"/>
                      <a:r>
                        <a:rPr lang="en-US" sz="1600" b="0" i="0" u="none" strike="noStrike">
                          <a:solidFill>
                            <a:srgbClr val="000000"/>
                          </a:solidFill>
                          <a:effectLst/>
                          <a:latin typeface="Calibri"/>
                        </a:rPr>
                        <a:t>15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CCC0DA"/>
                    </a:solidFill>
                  </a:tcPr>
                </a:tc>
                <a:tc>
                  <a:txBody>
                    <a:bodyPr/>
                    <a:lstStyle/>
                    <a:p>
                      <a:pPr algn="ctr" rtl="0" fontAlgn="ctr"/>
                      <a:r>
                        <a:rPr lang="en-US" sz="1600" b="0" i="0" u="none" strike="noStrike" dirty="0">
                          <a:solidFill>
                            <a:srgbClr val="000000"/>
                          </a:solidFill>
                          <a:effectLst/>
                          <a:latin typeface="Calibri"/>
                        </a:rPr>
                        <a:t>4 Month</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CCC0DA"/>
                    </a:solidFill>
                  </a:tcPr>
                </a:tc>
                <a:tc>
                  <a:txBody>
                    <a:bodyPr/>
                    <a:lstStyle/>
                    <a:p>
                      <a:pPr algn="ctr" rtl="0" fontAlgn="ctr"/>
                      <a:r>
                        <a:rPr lang="en-US" sz="1600" b="0" i="0" u="none" strike="noStrike" dirty="0">
                          <a:solidFill>
                            <a:srgbClr val="000000"/>
                          </a:solidFill>
                          <a:effectLst/>
                          <a:latin typeface="Calibri"/>
                        </a:rPr>
                        <a:t>6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CCC0DA"/>
                    </a:solidFill>
                  </a:tcPr>
                </a:tc>
              </a:tr>
            </a:tbl>
          </a:graphicData>
        </a:graphic>
      </p:graphicFrame>
      <p:sp>
        <p:nvSpPr>
          <p:cNvPr id="7" name="Oval 6"/>
          <p:cNvSpPr/>
          <p:nvPr/>
        </p:nvSpPr>
        <p:spPr>
          <a:xfrm>
            <a:off x="5364163" y="4289425"/>
            <a:ext cx="2592387" cy="458788"/>
          </a:xfrm>
          <a:prstGeom prst="ellipse">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980">
              <a:defRPr/>
            </a:pPr>
            <a:endParaRPr lang="en-US">
              <a:solidFill>
                <a:srgbClr val="323232"/>
              </a:solidFill>
            </a:endParaRPr>
          </a:p>
        </p:txBody>
      </p:sp>
    </p:spTree>
    <p:extLst>
      <p:ext uri="{BB962C8B-B14F-4D97-AF65-F5344CB8AC3E}">
        <p14:creationId xmlns:p14="http://schemas.microsoft.com/office/powerpoint/2010/main" val="551538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73" name="Object 209"/>
          <p:cNvGraphicFramePr>
            <a:graphicFrameLocks noGrp="1"/>
          </p:cNvGraphicFramePr>
          <p:nvPr>
            <p:ph idx="1"/>
          </p:nvPr>
        </p:nvGraphicFramePr>
        <p:xfrm>
          <a:off x="739775" y="1412875"/>
          <a:ext cx="7216775" cy="5019675"/>
        </p:xfrm>
        <a:graphic>
          <a:graphicData uri="http://schemas.openxmlformats.org/presentationml/2006/ole">
            <mc:AlternateContent xmlns:mc="http://schemas.openxmlformats.org/markup-compatibility/2006">
              <mc:Choice xmlns:v="urn:schemas-microsoft-com:vml" Requires="v">
                <p:oleObj spid="_x0000_s7175" r:id="rId3" imgW="8327858" imgH="4627265" progId="Excel.Sheet.8">
                  <p:embed/>
                </p:oleObj>
              </mc:Choice>
              <mc:Fallback>
                <p:oleObj r:id="rId3" imgW="8327858" imgH="4627265" progId="Excel.Sheet.8">
                  <p:embed/>
                  <p:pic>
                    <p:nvPicPr>
                      <p:cNvPr id="0" name=""/>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775" y="1412875"/>
                        <a:ext cx="7216775" cy="50196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4" name="TextBox 5"/>
          <p:cNvSpPr txBox="1">
            <a:spLocks noChangeArrowheads="1"/>
          </p:cNvSpPr>
          <p:nvPr/>
        </p:nvSpPr>
        <p:spPr bwMode="auto">
          <a:xfrm rot="10800000">
            <a:off x="279400" y="2847975"/>
            <a:ext cx="458788" cy="1431925"/>
          </a:xfrm>
          <a:prstGeom prst="rect">
            <a:avLst/>
          </a:prstGeom>
          <a:noFill/>
          <a:ln w="9525">
            <a:noFill/>
            <a:miter lim="800000"/>
            <a:headEnd/>
            <a:tailEnd/>
          </a:ln>
        </p:spPr>
        <p:txBody>
          <a:bodyPr vert="eaVert" wrap="none">
            <a:spAutoFit/>
          </a:bodyPr>
          <a:lstStyle/>
          <a:p>
            <a:pPr defTabSz="913980"/>
            <a:r>
              <a:rPr lang="en-US">
                <a:solidFill>
                  <a:srgbClr val="000000"/>
                </a:solidFill>
              </a:rPr>
              <a:t>VAPP number </a:t>
            </a:r>
            <a:endParaRPr lang="en-GB">
              <a:solidFill>
                <a:srgbClr val="000000"/>
              </a:solidFill>
            </a:endParaRPr>
          </a:p>
        </p:txBody>
      </p:sp>
      <p:sp>
        <p:nvSpPr>
          <p:cNvPr id="11475" name="TextBox 6"/>
          <p:cNvSpPr txBox="1">
            <a:spLocks noChangeArrowheads="1"/>
          </p:cNvSpPr>
          <p:nvPr/>
        </p:nvSpPr>
        <p:spPr bwMode="auto">
          <a:xfrm>
            <a:off x="4140200" y="6251575"/>
            <a:ext cx="598488" cy="366713"/>
          </a:xfrm>
          <a:prstGeom prst="rect">
            <a:avLst/>
          </a:prstGeom>
          <a:noFill/>
          <a:ln w="9525">
            <a:noFill/>
            <a:miter lim="800000"/>
            <a:headEnd/>
            <a:tailEnd/>
          </a:ln>
        </p:spPr>
        <p:txBody>
          <a:bodyPr wrap="none">
            <a:spAutoFit/>
          </a:bodyPr>
          <a:lstStyle/>
          <a:p>
            <a:pPr defTabSz="913980"/>
            <a:r>
              <a:rPr lang="en-US">
                <a:solidFill>
                  <a:srgbClr val="000000"/>
                </a:solidFill>
              </a:rPr>
              <a:t>Year</a:t>
            </a:r>
            <a:endParaRPr lang="en-GB">
              <a:solidFill>
                <a:srgbClr val="000000"/>
              </a:solidFill>
            </a:endParaRPr>
          </a:p>
        </p:txBody>
      </p:sp>
      <p:sp>
        <p:nvSpPr>
          <p:cNvPr id="8" name="TextBox 7"/>
          <p:cNvSpPr txBox="1"/>
          <p:nvPr/>
        </p:nvSpPr>
        <p:spPr>
          <a:xfrm>
            <a:off x="4284663" y="1835150"/>
            <a:ext cx="1819275" cy="925513"/>
          </a:xfrm>
          <a:prstGeom prst="rect">
            <a:avLst/>
          </a:prstGeom>
          <a:solidFill>
            <a:schemeClr val="accent6">
              <a:lumMod val="20000"/>
              <a:lumOff val="80000"/>
            </a:schemeClr>
          </a:solidFill>
          <a:ln>
            <a:solidFill>
              <a:schemeClr val="accent6">
                <a:lumMod val="50000"/>
              </a:schemeClr>
            </a:solidFill>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980" eaLnBrk="1" hangingPunct="1">
              <a:defRPr/>
            </a:pPr>
            <a:r>
              <a:rPr lang="en-US" dirty="0" smtClean="0">
                <a:solidFill>
                  <a:srgbClr val="000000"/>
                </a:solidFill>
              </a:rPr>
              <a:t>In 1992, </a:t>
            </a:r>
          </a:p>
          <a:p>
            <a:pPr defTabSz="913980" eaLnBrk="1" hangingPunct="1">
              <a:defRPr/>
            </a:pPr>
            <a:r>
              <a:rPr lang="en-US" dirty="0" smtClean="0">
                <a:solidFill>
                  <a:srgbClr val="000000"/>
                </a:solidFill>
              </a:rPr>
              <a:t>single-dose </a:t>
            </a:r>
          </a:p>
          <a:p>
            <a:pPr defTabSz="913980" eaLnBrk="1" hangingPunct="1">
              <a:defRPr/>
            </a:pPr>
            <a:r>
              <a:rPr lang="en-US" dirty="0" smtClean="0">
                <a:solidFill>
                  <a:srgbClr val="000000"/>
                </a:solidFill>
              </a:rPr>
              <a:t>IPV at 3 months</a:t>
            </a:r>
          </a:p>
        </p:txBody>
      </p:sp>
      <p:sp>
        <p:nvSpPr>
          <p:cNvPr id="10" name="TextBox 9"/>
          <p:cNvSpPr txBox="1"/>
          <p:nvPr/>
        </p:nvSpPr>
        <p:spPr>
          <a:xfrm>
            <a:off x="6227763" y="3211513"/>
            <a:ext cx="1120775" cy="925512"/>
          </a:xfrm>
          <a:prstGeom prst="rect">
            <a:avLst/>
          </a:prstGeom>
          <a:solidFill>
            <a:schemeClr val="accent6">
              <a:lumMod val="20000"/>
              <a:lumOff val="80000"/>
            </a:schemeClr>
          </a:solidFill>
          <a:ln>
            <a:solidFill>
              <a:schemeClr val="accent6">
                <a:lumMod val="50000"/>
              </a:schemeClr>
            </a:solidFill>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980" eaLnBrk="1" hangingPunct="1">
              <a:defRPr/>
            </a:pPr>
            <a:r>
              <a:rPr lang="en-US" dirty="0" smtClean="0">
                <a:solidFill>
                  <a:srgbClr val="000000"/>
                </a:solidFill>
              </a:rPr>
              <a:t>In 2006, </a:t>
            </a:r>
          </a:p>
          <a:p>
            <a:pPr defTabSz="913980" eaLnBrk="1" hangingPunct="1">
              <a:defRPr/>
            </a:pPr>
            <a:r>
              <a:rPr lang="en-US" dirty="0" smtClean="0">
                <a:solidFill>
                  <a:srgbClr val="000000"/>
                </a:solidFill>
              </a:rPr>
              <a:t>IPV-only </a:t>
            </a:r>
          </a:p>
          <a:p>
            <a:pPr defTabSz="913980" eaLnBrk="1" hangingPunct="1">
              <a:defRPr/>
            </a:pPr>
            <a:r>
              <a:rPr lang="en-US" dirty="0" smtClean="0">
                <a:solidFill>
                  <a:srgbClr val="000000"/>
                </a:solidFill>
              </a:rPr>
              <a:t>schedule</a:t>
            </a:r>
            <a:endParaRPr lang="en-GB" dirty="0" smtClean="0">
              <a:solidFill>
                <a:srgbClr val="000000"/>
              </a:solidFill>
            </a:endParaRPr>
          </a:p>
        </p:txBody>
      </p:sp>
      <p:graphicFrame>
        <p:nvGraphicFramePr>
          <p:cNvPr id="2" name="Diagram 1"/>
          <p:cNvGraphicFramePr/>
          <p:nvPr>
            <p:extLst/>
          </p:nvPr>
        </p:nvGraphicFramePr>
        <p:xfrm>
          <a:off x="0" y="1"/>
          <a:ext cx="8991600" cy="12687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479" name="Line 196"/>
          <p:cNvSpPr>
            <a:spLocks noChangeShapeType="1"/>
          </p:cNvSpPr>
          <p:nvPr/>
        </p:nvSpPr>
        <p:spPr bwMode="auto">
          <a:xfrm>
            <a:off x="7740650" y="1700213"/>
            <a:ext cx="0" cy="4176712"/>
          </a:xfrm>
          <a:prstGeom prst="line">
            <a:avLst/>
          </a:prstGeom>
          <a:noFill/>
          <a:ln w="9525">
            <a:solidFill>
              <a:srgbClr val="C0C0C0"/>
            </a:solidFill>
            <a:round/>
            <a:headEnd/>
            <a:tailEnd/>
          </a:ln>
        </p:spPr>
        <p:txBody>
          <a:bodyPr/>
          <a:lstStyle/>
          <a:p>
            <a:pPr defTabSz="913980"/>
            <a:endParaRPr lang="en-US">
              <a:solidFill>
                <a:srgbClr val="1B587C"/>
              </a:solidFill>
            </a:endParaRPr>
          </a:p>
        </p:txBody>
      </p:sp>
      <p:sp>
        <p:nvSpPr>
          <p:cNvPr id="11480" name="Line 219"/>
          <p:cNvSpPr>
            <a:spLocks noChangeShapeType="1"/>
          </p:cNvSpPr>
          <p:nvPr/>
        </p:nvSpPr>
        <p:spPr bwMode="auto">
          <a:xfrm>
            <a:off x="5219700" y="2781300"/>
            <a:ext cx="0" cy="1079500"/>
          </a:xfrm>
          <a:prstGeom prst="line">
            <a:avLst/>
          </a:prstGeom>
          <a:noFill/>
          <a:ln w="57150">
            <a:solidFill>
              <a:srgbClr val="800000"/>
            </a:solidFill>
            <a:round/>
            <a:headEnd/>
            <a:tailEnd type="triangle" w="med" len="med"/>
          </a:ln>
        </p:spPr>
        <p:txBody>
          <a:bodyPr/>
          <a:lstStyle/>
          <a:p>
            <a:pPr defTabSz="913980"/>
            <a:endParaRPr lang="en-US">
              <a:solidFill>
                <a:srgbClr val="1B587C"/>
              </a:solidFill>
            </a:endParaRPr>
          </a:p>
        </p:txBody>
      </p:sp>
      <p:sp>
        <p:nvSpPr>
          <p:cNvPr id="11481" name="Line 220"/>
          <p:cNvSpPr>
            <a:spLocks noChangeShapeType="1"/>
          </p:cNvSpPr>
          <p:nvPr/>
        </p:nvSpPr>
        <p:spPr bwMode="auto">
          <a:xfrm>
            <a:off x="6948488" y="4149725"/>
            <a:ext cx="0" cy="1079500"/>
          </a:xfrm>
          <a:prstGeom prst="line">
            <a:avLst/>
          </a:prstGeom>
          <a:noFill/>
          <a:ln w="57150">
            <a:solidFill>
              <a:srgbClr val="800000"/>
            </a:solidFill>
            <a:round/>
            <a:headEnd/>
            <a:tailEnd type="triangle" w="med" len="med"/>
          </a:ln>
        </p:spPr>
        <p:txBody>
          <a:bodyPr/>
          <a:lstStyle/>
          <a:p>
            <a:pPr defTabSz="913980"/>
            <a:endParaRPr lang="en-US">
              <a:solidFill>
                <a:srgbClr val="1B587C"/>
              </a:solidFill>
            </a:endParaRPr>
          </a:p>
        </p:txBody>
      </p:sp>
    </p:spTree>
    <p:extLst>
      <p:ext uri="{BB962C8B-B14F-4D97-AF65-F5344CB8AC3E}">
        <p14:creationId xmlns:p14="http://schemas.microsoft.com/office/powerpoint/2010/main" val="2834094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3325711564"/>
              </p:ext>
            </p:extLst>
          </p:nvPr>
        </p:nvGraphicFramePr>
        <p:xfrm>
          <a:off x="414311" y="149030"/>
          <a:ext cx="8308731" cy="7694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381000" y="1844830"/>
            <a:ext cx="8534400" cy="3231654"/>
          </a:xfrm>
          <a:prstGeom prst="rect">
            <a:avLst/>
          </a:prstGeom>
          <a:noFill/>
        </p:spPr>
        <p:txBody>
          <a:bodyPr wrap="square">
            <a:spAutoFit/>
          </a:bodyP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indent="0" defTabSz="913980" eaLnBrk="1" fontAlgn="base" hangingPunct="1">
              <a:spcBef>
                <a:spcPts val="4200"/>
              </a:spcBef>
              <a:spcAft>
                <a:spcPct val="0"/>
              </a:spcAft>
            </a:pPr>
            <a:r>
              <a:rPr lang="en-US" sz="3200" b="1" dirty="0" smtClean="0">
                <a:solidFill>
                  <a:srgbClr val="323232"/>
                </a:solidFill>
                <a:latin typeface="Calibri" pitchFamily="34" charset="0"/>
              </a:rPr>
              <a:t>Emphasis on routine </a:t>
            </a:r>
            <a:r>
              <a:rPr lang="en-US" sz="3200" b="1" dirty="0">
                <a:solidFill>
                  <a:srgbClr val="323232"/>
                </a:solidFill>
                <a:latin typeface="Calibri" pitchFamily="34" charset="0"/>
              </a:rPr>
              <a:t>immunization </a:t>
            </a:r>
            <a:r>
              <a:rPr lang="en-US" sz="3200" b="1" dirty="0" smtClean="0">
                <a:solidFill>
                  <a:srgbClr val="323232"/>
                </a:solidFill>
                <a:latin typeface="Calibri" pitchFamily="34" charset="0"/>
              </a:rPr>
              <a:t>strengthening</a:t>
            </a:r>
            <a:endParaRPr lang="en-US" sz="3200" b="1" dirty="0">
              <a:solidFill>
                <a:srgbClr val="323232"/>
              </a:solidFill>
              <a:latin typeface="Calibri" pitchFamily="34" charset="0"/>
            </a:endParaRPr>
          </a:p>
          <a:p>
            <a:pPr marL="914400" lvl="1" indent="-457200" defTabSz="913980" eaLnBrk="1" fontAlgn="base" hangingPunct="1">
              <a:spcBef>
                <a:spcPts val="1200"/>
              </a:spcBef>
              <a:spcAft>
                <a:spcPct val="0"/>
              </a:spcAft>
              <a:buFont typeface="Arial" panose="020B0604020202020204" pitchFamily="34" charset="0"/>
              <a:buChar char="•"/>
            </a:pPr>
            <a:r>
              <a:rPr lang="en-US" sz="2800" i="1" dirty="0">
                <a:solidFill>
                  <a:srgbClr val="323232"/>
                </a:solidFill>
                <a:latin typeface="Calibri" pitchFamily="34" charset="0"/>
              </a:rPr>
              <a:t>r</a:t>
            </a:r>
            <a:r>
              <a:rPr lang="en-US" sz="2800" i="1" dirty="0" smtClean="0">
                <a:solidFill>
                  <a:srgbClr val="323232"/>
                </a:solidFill>
                <a:latin typeface="Calibri" pitchFamily="34" charset="0"/>
              </a:rPr>
              <a:t>aising coverage critical </a:t>
            </a:r>
            <a:r>
              <a:rPr lang="en-US" sz="2800" i="1" dirty="0">
                <a:solidFill>
                  <a:srgbClr val="323232"/>
                </a:solidFill>
                <a:latin typeface="Calibri" pitchFamily="34" charset="0"/>
              </a:rPr>
              <a:t>for achieving the </a:t>
            </a:r>
            <a:r>
              <a:rPr lang="en-US" sz="2800" i="1" dirty="0" smtClean="0">
                <a:solidFill>
                  <a:srgbClr val="323232"/>
                </a:solidFill>
                <a:latin typeface="Calibri" pitchFamily="34" charset="0"/>
              </a:rPr>
              <a:t>endgame</a:t>
            </a:r>
          </a:p>
          <a:p>
            <a:pPr marL="0" lvl="1" indent="0" defTabSz="913980" eaLnBrk="1" fontAlgn="base" hangingPunct="1">
              <a:spcBef>
                <a:spcPts val="4200"/>
              </a:spcBef>
              <a:spcAft>
                <a:spcPct val="0"/>
              </a:spcAft>
            </a:pPr>
            <a:r>
              <a:rPr lang="en-US" sz="3200" b="1" dirty="0">
                <a:solidFill>
                  <a:srgbClr val="323232"/>
                </a:solidFill>
                <a:latin typeface="Calibri" pitchFamily="34" charset="0"/>
              </a:rPr>
              <a:t>IPV to be introduced into the routine program</a:t>
            </a:r>
          </a:p>
          <a:p>
            <a:pPr marL="0" lvl="1" indent="0" defTabSz="913980" eaLnBrk="1" fontAlgn="base" hangingPunct="1">
              <a:spcBef>
                <a:spcPts val="4200"/>
              </a:spcBef>
              <a:spcAft>
                <a:spcPct val="0"/>
              </a:spcAft>
            </a:pPr>
            <a:r>
              <a:rPr lang="en-US" sz="3200" b="1" dirty="0" smtClean="0">
                <a:solidFill>
                  <a:srgbClr val="323232"/>
                </a:solidFill>
                <a:latin typeface="Calibri" pitchFamily="34" charset="0"/>
              </a:rPr>
              <a:t>Switch from </a:t>
            </a:r>
            <a:r>
              <a:rPr lang="en-US" sz="3200" b="1" dirty="0" err="1" smtClean="0">
                <a:solidFill>
                  <a:srgbClr val="323232"/>
                </a:solidFill>
                <a:latin typeface="Calibri" pitchFamily="34" charset="0"/>
              </a:rPr>
              <a:t>tOPV</a:t>
            </a:r>
            <a:r>
              <a:rPr lang="en-US" sz="3200" b="1" dirty="0" smtClean="0">
                <a:solidFill>
                  <a:srgbClr val="323232"/>
                </a:solidFill>
                <a:latin typeface="Calibri" pitchFamily="34" charset="0"/>
              </a:rPr>
              <a:t> to </a:t>
            </a:r>
            <a:r>
              <a:rPr lang="en-US" sz="3200" b="1" dirty="0" err="1" smtClean="0">
                <a:solidFill>
                  <a:srgbClr val="323232"/>
                </a:solidFill>
                <a:latin typeface="Calibri" pitchFamily="34" charset="0"/>
              </a:rPr>
              <a:t>bOPV</a:t>
            </a:r>
            <a:endParaRPr lang="en-US" sz="3200" b="1" dirty="0">
              <a:solidFill>
                <a:srgbClr val="323232"/>
              </a:solidFill>
              <a:latin typeface="Calibri" pitchFamily="34" charset="0"/>
            </a:endParaRPr>
          </a:p>
        </p:txBody>
      </p:sp>
    </p:spTree>
    <p:extLst>
      <p:ext uri="{BB962C8B-B14F-4D97-AF65-F5344CB8AC3E}">
        <p14:creationId xmlns:p14="http://schemas.microsoft.com/office/powerpoint/2010/main" val="3878042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911744267"/>
              </p:ext>
            </p:extLst>
          </p:nvPr>
        </p:nvGraphicFramePr>
        <p:xfrm>
          <a:off x="457200" y="152400"/>
          <a:ext cx="8229600" cy="9445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Content Placeholder 1"/>
          <p:cNvGraphicFramePr>
            <a:graphicFrameLocks noGrp="1"/>
          </p:cNvGraphicFramePr>
          <p:nvPr>
            <p:ph idx="1"/>
            <p:extLst>
              <p:ext uri="{D42A27DB-BD31-4B8C-83A1-F6EECF244321}">
                <p14:modId xmlns:p14="http://schemas.microsoft.com/office/powerpoint/2010/main" val="2091196118"/>
              </p:ext>
            </p:extLst>
          </p:nvPr>
        </p:nvGraphicFramePr>
        <p:xfrm>
          <a:off x="533400" y="1295400"/>
          <a:ext cx="8229600" cy="452596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TextBox 8"/>
          <p:cNvSpPr txBox="1"/>
          <p:nvPr/>
        </p:nvSpPr>
        <p:spPr>
          <a:xfrm>
            <a:off x="1295400" y="6067265"/>
            <a:ext cx="6668877" cy="307777"/>
          </a:xfrm>
          <a:prstGeom prst="rect">
            <a:avLst/>
          </a:prstGeom>
          <a:noFill/>
        </p:spPr>
        <p:txBody>
          <a:bodyPr wrap="none" rtlCol="0">
            <a:spAutoFit/>
          </a:bodyPr>
          <a:lstStyle/>
          <a:p>
            <a:pPr defTabSz="913980"/>
            <a:r>
              <a:rPr lang="en-US" sz="1400" i="1" dirty="0">
                <a:solidFill>
                  <a:srgbClr val="323232"/>
                </a:solidFill>
              </a:rPr>
              <a:t>WER, 3 Jan 2014, vol. 89, 1 (pp 1-20): at </a:t>
            </a:r>
            <a:r>
              <a:rPr lang="en-US" sz="1200" dirty="0">
                <a:solidFill>
                  <a:srgbClr val="1B587C"/>
                </a:solidFill>
                <a:hlinkClick r:id="rId13"/>
              </a:rPr>
              <a:t>http://www.who.int/wer/2014/wer8901/en/index.html</a:t>
            </a:r>
            <a:r>
              <a:rPr lang="en-US" sz="1200" dirty="0">
                <a:solidFill>
                  <a:srgbClr val="1B587C"/>
                </a:solidFill>
              </a:rPr>
              <a:t>  </a:t>
            </a:r>
            <a:endParaRPr lang="en-US" sz="1200" i="1" dirty="0">
              <a:solidFill>
                <a:srgbClr val="323232"/>
              </a:solidFill>
            </a:endParaRPr>
          </a:p>
        </p:txBody>
      </p:sp>
    </p:spTree>
    <p:extLst>
      <p:ext uri="{BB962C8B-B14F-4D97-AF65-F5344CB8AC3E}">
        <p14:creationId xmlns:p14="http://schemas.microsoft.com/office/powerpoint/2010/main" val="2813080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6F15528-21DE-4FAA-801E-634DDDAF4B2B}" type="slidenum">
              <a:rPr lang="en-US" smtClean="0">
                <a:solidFill>
                  <a:prstClr val="black">
                    <a:tint val="75000"/>
                  </a:prstClr>
                </a:solidFill>
              </a:rPr>
              <a:pPr/>
              <a:t>49</a:t>
            </a:fld>
            <a:endParaRPr lang="en-US">
              <a:solidFill>
                <a:prstClr val="black">
                  <a:tint val="75000"/>
                </a:prstClr>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668194064"/>
              </p:ext>
            </p:extLst>
          </p:nvPr>
        </p:nvGraphicFramePr>
        <p:xfrm>
          <a:off x="492369" y="1178169"/>
          <a:ext cx="7948246" cy="4360983"/>
        </p:xfrm>
        <a:graphic>
          <a:graphicData uri="http://schemas.openxmlformats.org/drawingml/2006/table">
            <a:tbl>
              <a:tblPr firstRow="1" firstCol="1" bandRow="1">
                <a:tableStyleId>{21E4AEA4-8DFA-4A89-87EB-49C32662AFE0}</a:tableStyleId>
              </a:tblPr>
              <a:tblGrid>
                <a:gridCol w="2851905"/>
                <a:gridCol w="5096341"/>
              </a:tblGrid>
              <a:tr h="396453">
                <a:tc>
                  <a:txBody>
                    <a:bodyPr/>
                    <a:lstStyle/>
                    <a:p>
                      <a:pPr algn="just">
                        <a:lnSpc>
                          <a:spcPct val="107000"/>
                        </a:lnSpc>
                        <a:spcAft>
                          <a:spcPts val="0"/>
                        </a:spcAft>
                      </a:pPr>
                      <a:r>
                        <a:rPr lang="en-IN" sz="1800" dirty="0">
                          <a:effectLst/>
                        </a:rPr>
                        <a:t>Age</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smtClean="0">
                          <a:effectLst/>
                        </a:rPr>
                        <a:t>Vaccines given </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r>
              <a:tr h="396453">
                <a:tc>
                  <a:txBody>
                    <a:bodyPr/>
                    <a:lstStyle/>
                    <a:p>
                      <a:pPr algn="just">
                        <a:lnSpc>
                          <a:spcPct val="107000"/>
                        </a:lnSpc>
                        <a:spcAft>
                          <a:spcPts val="0"/>
                        </a:spcAft>
                      </a:pPr>
                      <a:r>
                        <a:rPr lang="en-IN" sz="1800" dirty="0">
                          <a:effectLst/>
                        </a:rPr>
                        <a:t>Birth</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a:effectLst/>
                        </a:rPr>
                        <a:t>BCG, OPV, Hepatitis B</a:t>
                      </a:r>
                      <a:endParaRPr lang="en-IN" sz="1800">
                        <a:effectLst/>
                        <a:latin typeface="Calibri"/>
                        <a:ea typeface="Calibri"/>
                        <a:cs typeface="Times New Roman"/>
                      </a:endParaRPr>
                    </a:p>
                  </a:txBody>
                  <a:tcPr marL="63305" marR="63305" marT="0" marB="0"/>
                </a:tc>
              </a:tr>
              <a:tr h="396453">
                <a:tc>
                  <a:txBody>
                    <a:bodyPr/>
                    <a:lstStyle/>
                    <a:p>
                      <a:pPr algn="just">
                        <a:lnSpc>
                          <a:spcPct val="107000"/>
                        </a:lnSpc>
                        <a:spcAft>
                          <a:spcPts val="0"/>
                        </a:spcAft>
                      </a:pPr>
                      <a:r>
                        <a:rPr lang="en-IN" sz="1800" dirty="0">
                          <a:effectLst/>
                        </a:rPr>
                        <a:t>6 Weeks</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smtClean="0">
                          <a:effectLst/>
                        </a:rPr>
                        <a:t>Pentavalent-1/DPT1+Hep-B1, OPV1</a:t>
                      </a:r>
                      <a:endParaRPr lang="en-IN" sz="1800" dirty="0">
                        <a:effectLst/>
                        <a:latin typeface="Calibri"/>
                        <a:ea typeface="Calibri"/>
                        <a:cs typeface="Times New Roman"/>
                      </a:endParaRPr>
                    </a:p>
                  </a:txBody>
                  <a:tcPr marL="63305" marR="63305" marT="0" marB="0"/>
                </a:tc>
              </a:tr>
              <a:tr h="396453">
                <a:tc>
                  <a:txBody>
                    <a:bodyPr/>
                    <a:lstStyle/>
                    <a:p>
                      <a:pPr algn="just">
                        <a:lnSpc>
                          <a:spcPct val="107000"/>
                        </a:lnSpc>
                        <a:spcAft>
                          <a:spcPts val="0"/>
                        </a:spcAft>
                      </a:pPr>
                      <a:r>
                        <a:rPr lang="en-IN" sz="1800" dirty="0">
                          <a:effectLst/>
                        </a:rPr>
                        <a:t>10 weeks</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smtClean="0">
                          <a:effectLst/>
                        </a:rPr>
                        <a:t>Pentavalent-2/DPT2+Hep-B2, OPV2</a:t>
                      </a:r>
                      <a:endParaRPr lang="en-IN" sz="1800" dirty="0">
                        <a:effectLst/>
                        <a:latin typeface="Calibri"/>
                        <a:ea typeface="Calibri"/>
                        <a:cs typeface="Times New Roman"/>
                      </a:endParaRPr>
                    </a:p>
                  </a:txBody>
                  <a:tcPr marL="63305" marR="63305" marT="0" marB="0"/>
                </a:tc>
              </a:tr>
              <a:tr h="396453">
                <a:tc>
                  <a:txBody>
                    <a:bodyPr/>
                    <a:lstStyle/>
                    <a:p>
                      <a:pPr algn="just">
                        <a:lnSpc>
                          <a:spcPct val="107000"/>
                        </a:lnSpc>
                        <a:spcAft>
                          <a:spcPts val="0"/>
                        </a:spcAft>
                      </a:pPr>
                      <a:r>
                        <a:rPr lang="en-IN" sz="1800" dirty="0">
                          <a:effectLst/>
                        </a:rPr>
                        <a:t>14 weeks</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smtClean="0">
                          <a:effectLst/>
                        </a:rPr>
                        <a:t>Pentavalent-3/DPT3+Hep-B3,OPV3,</a:t>
                      </a:r>
                      <a:r>
                        <a:rPr lang="en-IN" sz="1800" b="1" baseline="0" dirty="0" smtClean="0">
                          <a:solidFill>
                            <a:srgbClr val="FF0000"/>
                          </a:solidFill>
                          <a:effectLst/>
                        </a:rPr>
                        <a:t>   IPV</a:t>
                      </a:r>
                      <a:endParaRPr lang="en-IN" sz="1800" b="1" dirty="0">
                        <a:solidFill>
                          <a:srgbClr val="FF0000"/>
                        </a:solidFill>
                        <a:effectLst/>
                        <a:latin typeface="Calibri"/>
                        <a:ea typeface="Calibri"/>
                        <a:cs typeface="Times New Roman"/>
                      </a:endParaRPr>
                    </a:p>
                  </a:txBody>
                  <a:tcPr marL="63305" marR="63305" marT="0" marB="0"/>
                </a:tc>
              </a:tr>
              <a:tr h="396453">
                <a:tc>
                  <a:txBody>
                    <a:bodyPr/>
                    <a:lstStyle/>
                    <a:p>
                      <a:pPr algn="just">
                        <a:lnSpc>
                          <a:spcPct val="107000"/>
                        </a:lnSpc>
                        <a:spcAft>
                          <a:spcPts val="0"/>
                        </a:spcAft>
                      </a:pPr>
                      <a:r>
                        <a:rPr lang="en-IN" sz="1800" dirty="0">
                          <a:effectLst/>
                        </a:rPr>
                        <a:t>9-12 months</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smtClean="0">
                          <a:effectLst/>
                        </a:rPr>
                        <a:t>Measles (MCV1), </a:t>
                      </a:r>
                      <a:r>
                        <a:rPr lang="en-IN" sz="1800" dirty="0">
                          <a:effectLst/>
                        </a:rPr>
                        <a:t>JE**</a:t>
                      </a:r>
                      <a:endParaRPr lang="en-IN" sz="1800" dirty="0">
                        <a:effectLst/>
                        <a:latin typeface="Calibri"/>
                        <a:ea typeface="Calibri"/>
                        <a:cs typeface="Times New Roman"/>
                      </a:endParaRPr>
                    </a:p>
                  </a:txBody>
                  <a:tcPr marL="63305" marR="63305" marT="0" marB="0"/>
                </a:tc>
              </a:tr>
              <a:tr h="396453">
                <a:tc>
                  <a:txBody>
                    <a:bodyPr/>
                    <a:lstStyle/>
                    <a:p>
                      <a:pPr algn="just">
                        <a:lnSpc>
                          <a:spcPct val="107000"/>
                        </a:lnSpc>
                        <a:spcAft>
                          <a:spcPts val="0"/>
                        </a:spcAft>
                      </a:pPr>
                      <a:r>
                        <a:rPr lang="en-IN" sz="1800" dirty="0">
                          <a:effectLst/>
                        </a:rPr>
                        <a:t>16-24 months</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smtClean="0">
                          <a:effectLst/>
                        </a:rPr>
                        <a:t>Measles (MCV2), </a:t>
                      </a:r>
                      <a:r>
                        <a:rPr lang="en-IN" sz="1800" dirty="0">
                          <a:effectLst/>
                        </a:rPr>
                        <a:t>JE**, </a:t>
                      </a:r>
                      <a:r>
                        <a:rPr lang="en-IN" sz="1800" dirty="0" smtClean="0">
                          <a:effectLst/>
                        </a:rPr>
                        <a:t>DPT booster-1, </a:t>
                      </a:r>
                      <a:r>
                        <a:rPr lang="en-IN" sz="1800" dirty="0">
                          <a:effectLst/>
                        </a:rPr>
                        <a:t>OPV</a:t>
                      </a:r>
                      <a:endParaRPr lang="en-IN" sz="1800" dirty="0">
                        <a:effectLst/>
                        <a:latin typeface="Calibri"/>
                        <a:ea typeface="Calibri"/>
                        <a:cs typeface="Times New Roman"/>
                      </a:endParaRPr>
                    </a:p>
                  </a:txBody>
                  <a:tcPr marL="63305" marR="63305" marT="0" marB="0"/>
                </a:tc>
              </a:tr>
              <a:tr h="396453">
                <a:tc>
                  <a:txBody>
                    <a:bodyPr/>
                    <a:lstStyle/>
                    <a:p>
                      <a:pPr algn="just">
                        <a:lnSpc>
                          <a:spcPct val="107000"/>
                        </a:lnSpc>
                        <a:spcAft>
                          <a:spcPts val="0"/>
                        </a:spcAft>
                      </a:pPr>
                      <a:r>
                        <a:rPr lang="en-IN" sz="1800" dirty="0">
                          <a:effectLst/>
                        </a:rPr>
                        <a:t>5-6 years</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smtClean="0">
                          <a:effectLst/>
                        </a:rPr>
                        <a:t>DPT booster 2</a:t>
                      </a:r>
                      <a:endParaRPr lang="en-IN" sz="1800" dirty="0">
                        <a:effectLst/>
                        <a:latin typeface="Calibri"/>
                        <a:ea typeface="Calibri"/>
                        <a:cs typeface="Times New Roman"/>
                      </a:endParaRPr>
                    </a:p>
                  </a:txBody>
                  <a:tcPr marL="63305" marR="63305" marT="0" marB="0"/>
                </a:tc>
              </a:tr>
              <a:tr h="396453">
                <a:tc>
                  <a:txBody>
                    <a:bodyPr/>
                    <a:lstStyle/>
                    <a:p>
                      <a:pPr algn="just">
                        <a:lnSpc>
                          <a:spcPct val="107000"/>
                        </a:lnSpc>
                        <a:spcAft>
                          <a:spcPts val="0"/>
                        </a:spcAft>
                      </a:pPr>
                      <a:r>
                        <a:rPr lang="en-IN" sz="1800" dirty="0">
                          <a:effectLst/>
                        </a:rPr>
                        <a:t>10 years</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a:effectLst/>
                        </a:rPr>
                        <a:t>TT</a:t>
                      </a:r>
                      <a:endParaRPr lang="en-IN" sz="1800" dirty="0">
                        <a:effectLst/>
                        <a:latin typeface="Calibri"/>
                        <a:ea typeface="Calibri"/>
                        <a:cs typeface="Times New Roman"/>
                      </a:endParaRPr>
                    </a:p>
                  </a:txBody>
                  <a:tcPr marL="63305" marR="63305" marT="0" marB="0"/>
                </a:tc>
              </a:tr>
              <a:tr h="396453">
                <a:tc>
                  <a:txBody>
                    <a:bodyPr/>
                    <a:lstStyle/>
                    <a:p>
                      <a:pPr algn="just">
                        <a:lnSpc>
                          <a:spcPct val="107000"/>
                        </a:lnSpc>
                        <a:spcAft>
                          <a:spcPts val="0"/>
                        </a:spcAft>
                      </a:pPr>
                      <a:r>
                        <a:rPr lang="en-IN" sz="1800" dirty="0">
                          <a:effectLst/>
                        </a:rPr>
                        <a:t>16 years</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a:effectLst/>
                        </a:rPr>
                        <a:t>TT</a:t>
                      </a:r>
                      <a:endParaRPr lang="en-IN" sz="1800" dirty="0">
                        <a:effectLst/>
                        <a:latin typeface="Calibri"/>
                        <a:ea typeface="Calibri"/>
                        <a:cs typeface="Times New Roman"/>
                      </a:endParaRPr>
                    </a:p>
                  </a:txBody>
                  <a:tcPr marL="63305" marR="63305" marT="0" marB="0"/>
                </a:tc>
              </a:tr>
              <a:tr h="396453">
                <a:tc>
                  <a:txBody>
                    <a:bodyPr/>
                    <a:lstStyle/>
                    <a:p>
                      <a:pPr algn="just">
                        <a:lnSpc>
                          <a:spcPct val="107000"/>
                        </a:lnSpc>
                        <a:spcAft>
                          <a:spcPts val="0"/>
                        </a:spcAft>
                      </a:pPr>
                      <a:r>
                        <a:rPr lang="en-IN" sz="1800" dirty="0">
                          <a:effectLst/>
                        </a:rPr>
                        <a:t>Pregnant Mother </a:t>
                      </a:r>
                      <a:endParaRPr lang="en-IN" sz="1800" dirty="0">
                        <a:effectLst/>
                        <a:latin typeface="Calibri"/>
                        <a:ea typeface="Calibri"/>
                        <a:cs typeface="Times New Roman"/>
                      </a:endParaRPr>
                    </a:p>
                  </a:txBody>
                  <a:tcPr marL="63305" marR="63305" marT="0" marB="0">
                    <a:solidFill>
                      <a:schemeClr val="tx1">
                        <a:lumMod val="40000"/>
                        <a:lumOff val="60000"/>
                      </a:schemeClr>
                    </a:solidFill>
                  </a:tcPr>
                </a:tc>
                <a:tc>
                  <a:txBody>
                    <a:bodyPr/>
                    <a:lstStyle/>
                    <a:p>
                      <a:pPr algn="just">
                        <a:lnSpc>
                          <a:spcPct val="107000"/>
                        </a:lnSpc>
                        <a:spcAft>
                          <a:spcPts val="0"/>
                        </a:spcAft>
                      </a:pPr>
                      <a:r>
                        <a:rPr lang="en-IN" sz="1800" dirty="0">
                          <a:effectLst/>
                        </a:rPr>
                        <a:t>TT1, 2 or TT Booster***</a:t>
                      </a:r>
                      <a:endParaRPr lang="en-IN" sz="1800" dirty="0">
                        <a:effectLst/>
                        <a:latin typeface="Calibri"/>
                        <a:ea typeface="Calibri"/>
                        <a:cs typeface="Times New Roman"/>
                      </a:endParaRPr>
                    </a:p>
                  </a:txBody>
                  <a:tcPr marL="63305" marR="63305" marT="0" marB="0"/>
                </a:tc>
              </a:tr>
            </a:tbl>
          </a:graphicData>
        </a:graphic>
      </p:graphicFrame>
      <p:sp>
        <p:nvSpPr>
          <p:cNvPr id="8" name="TextBox 7"/>
          <p:cNvSpPr txBox="1"/>
          <p:nvPr/>
        </p:nvSpPr>
        <p:spPr>
          <a:xfrm>
            <a:off x="351693" y="5750171"/>
            <a:ext cx="8440615" cy="774251"/>
          </a:xfrm>
          <a:prstGeom prst="rect">
            <a:avLst/>
          </a:prstGeom>
          <a:noFill/>
        </p:spPr>
        <p:txBody>
          <a:bodyPr wrap="square" rtlCol="0">
            <a:spAutoFit/>
          </a:bodyPr>
          <a:lstStyle/>
          <a:p>
            <a:pPr defTabSz="913980"/>
            <a:r>
              <a:rPr lang="en-IN" sz="1477" b="1" dirty="0">
                <a:solidFill>
                  <a:prstClr val="black"/>
                </a:solidFill>
              </a:rPr>
              <a:t>*</a:t>
            </a:r>
            <a:r>
              <a:rPr lang="en-IN" sz="1477" dirty="0">
                <a:solidFill>
                  <a:prstClr val="black"/>
                </a:solidFill>
              </a:rPr>
              <a:t>Pentavalent (</a:t>
            </a:r>
            <a:r>
              <a:rPr lang="en-IN" sz="1477" dirty="0" err="1">
                <a:solidFill>
                  <a:prstClr val="black"/>
                </a:solidFill>
              </a:rPr>
              <a:t>DPT+HepB+Hib</a:t>
            </a:r>
            <a:r>
              <a:rPr lang="en-IN" sz="1477" dirty="0">
                <a:solidFill>
                  <a:prstClr val="black"/>
                </a:solidFill>
              </a:rPr>
              <a:t>)</a:t>
            </a:r>
            <a:r>
              <a:rPr lang="en-IN" sz="1477" b="1" dirty="0">
                <a:solidFill>
                  <a:prstClr val="black"/>
                </a:solidFill>
              </a:rPr>
              <a:t>- </a:t>
            </a:r>
            <a:r>
              <a:rPr lang="en-IN" sz="1477" dirty="0">
                <a:solidFill>
                  <a:prstClr val="black"/>
                </a:solidFill>
              </a:rPr>
              <a:t>currently in 20 s</a:t>
            </a:r>
            <a:r>
              <a:rPr lang="en-IN" sz="1477" i="1" dirty="0">
                <a:solidFill>
                  <a:prstClr val="black"/>
                </a:solidFill>
              </a:rPr>
              <a:t>tates, to be </a:t>
            </a:r>
            <a:r>
              <a:rPr lang="en-IN" sz="1477" b="1" i="1" u="sng" dirty="0">
                <a:solidFill>
                  <a:prstClr val="black"/>
                </a:solidFill>
              </a:rPr>
              <a:t>rolled out in 16 states</a:t>
            </a:r>
            <a:r>
              <a:rPr lang="en-IN" sz="1477" b="1" i="1" dirty="0">
                <a:solidFill>
                  <a:prstClr val="black"/>
                </a:solidFill>
              </a:rPr>
              <a:t> </a:t>
            </a:r>
            <a:r>
              <a:rPr lang="en-IN" sz="1477" i="1" dirty="0">
                <a:solidFill>
                  <a:prstClr val="black"/>
                </a:solidFill>
              </a:rPr>
              <a:t>by Sep/Oct 2015</a:t>
            </a:r>
            <a:endParaRPr lang="en-IN" sz="1477" dirty="0">
              <a:solidFill>
                <a:prstClr val="black"/>
              </a:solidFill>
            </a:endParaRPr>
          </a:p>
          <a:p>
            <a:pPr defTabSz="913980"/>
            <a:r>
              <a:rPr lang="en-IN" sz="1477" dirty="0">
                <a:solidFill>
                  <a:prstClr val="black"/>
                </a:solidFill>
              </a:rPr>
              <a:t>** </a:t>
            </a:r>
            <a:r>
              <a:rPr lang="en-IN" sz="1477" i="1" dirty="0">
                <a:solidFill>
                  <a:prstClr val="black"/>
                </a:solidFill>
              </a:rPr>
              <a:t>in endemic districts only</a:t>
            </a:r>
            <a:r>
              <a:rPr lang="en-IN" sz="1477" dirty="0">
                <a:solidFill>
                  <a:prstClr val="black"/>
                </a:solidFill>
              </a:rPr>
              <a:t>   </a:t>
            </a:r>
          </a:p>
          <a:p>
            <a:pPr defTabSz="913980"/>
            <a:r>
              <a:rPr lang="en-IN" sz="1477" dirty="0">
                <a:solidFill>
                  <a:prstClr val="black"/>
                </a:solidFill>
              </a:rPr>
              <a:t>*** </a:t>
            </a:r>
            <a:r>
              <a:rPr lang="en-US" sz="1477" i="1" dirty="0">
                <a:solidFill>
                  <a:prstClr val="black"/>
                </a:solidFill>
              </a:rPr>
              <a:t>one dose if previously vaccinated within 3 years</a:t>
            </a:r>
            <a:endParaRPr lang="en-IN" sz="1477" dirty="0">
              <a:solidFill>
                <a:prstClr val="black"/>
              </a:solidFill>
            </a:endParaRPr>
          </a:p>
        </p:txBody>
      </p:sp>
      <p:sp>
        <p:nvSpPr>
          <p:cNvPr id="7" name="Title 1"/>
          <p:cNvSpPr txBox="1">
            <a:spLocks/>
          </p:cNvSpPr>
          <p:nvPr/>
        </p:nvSpPr>
        <p:spPr>
          <a:xfrm>
            <a:off x="228600" y="197893"/>
            <a:ext cx="8440615" cy="773723"/>
          </a:xfrm>
          <a:prstGeom prst="rect">
            <a:avLst/>
          </a:prstGeom>
          <a:solidFill>
            <a:srgbClr val="7030A0"/>
          </a:solidFill>
          <a:ln>
            <a:noFill/>
          </a:ln>
          <a:extLst/>
        </p:spPr>
        <p:txBody>
          <a:bodyPr vert="horz" wrap="square" lIns="84406" tIns="42203" rIns="84406" bIns="42203" numCol="1" rtlCol="0" anchor="ctr" anchorCtr="0" compatLnSpc="1">
            <a:prstTxWarp prst="textNoShape">
              <a:avLst/>
            </a:prstTxWarp>
            <a:normAutofit/>
          </a:bodyPr>
          <a:lstStyle>
            <a:lvl1pPr algn="ctr" eaLnBrk="0" fontAlgn="base" hangingPunct="0">
              <a:spcBef>
                <a:spcPct val="0"/>
              </a:spcBef>
              <a:spcAft>
                <a:spcPct val="0"/>
              </a:spcAft>
              <a:buNone/>
              <a:defRPr sz="3600" b="1">
                <a:solidFill>
                  <a:schemeClr val="bg1"/>
                </a:solidFill>
                <a:latin typeface="+mj-lt"/>
                <a:ea typeface="+mj-ea"/>
                <a:cs typeface="+mj-cs"/>
              </a:defRPr>
            </a:lvl1pPr>
          </a:lstStyle>
          <a:p>
            <a:pPr defTabSz="913980"/>
            <a:r>
              <a:rPr lang="en-US" sz="3323" dirty="0">
                <a:solidFill>
                  <a:srgbClr val="323232">
                    <a:lumMod val="10000"/>
                    <a:lumOff val="90000"/>
                  </a:srgbClr>
                </a:solidFill>
              </a:rPr>
              <a:t>National Immunization Schedule</a:t>
            </a:r>
          </a:p>
        </p:txBody>
      </p:sp>
      <p:sp>
        <p:nvSpPr>
          <p:cNvPr id="4" name="Oval 3"/>
          <p:cNvSpPr/>
          <p:nvPr/>
        </p:nvSpPr>
        <p:spPr>
          <a:xfrm>
            <a:off x="6822831" y="2655277"/>
            <a:ext cx="492369" cy="56270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80"/>
            <a:endParaRPr lang="en-US" sz="1662">
              <a:solidFill>
                <a:prstClr val="white"/>
              </a:solidFill>
            </a:endParaRPr>
          </a:p>
        </p:txBody>
      </p:sp>
    </p:spTree>
    <p:extLst>
      <p:ext uri="{BB962C8B-B14F-4D97-AF65-F5344CB8AC3E}">
        <p14:creationId xmlns:p14="http://schemas.microsoft.com/office/powerpoint/2010/main" val="14185597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polioeradication.org/Portals/0/Image/Media/NewsStories/20150921_WPV2certification.JPG?scale=both&amp;h=400&amp;mode=cro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96" y="1347192"/>
            <a:ext cx="9060200" cy="546618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5496" y="116632"/>
            <a:ext cx="9060200" cy="1200329"/>
          </a:xfrm>
          <a:prstGeom prst="rect">
            <a:avLst/>
          </a:prstGeom>
        </p:spPr>
        <p:txBody>
          <a:bodyPr wrap="square">
            <a:spAutoFit/>
          </a:bodyPr>
          <a:lstStyle/>
          <a:p>
            <a:pPr algn="ctr" defTabSz="913980"/>
            <a:r>
              <a:rPr lang="en-IN" sz="2400" b="1" dirty="0">
                <a:solidFill>
                  <a:srgbClr val="002060"/>
                </a:solidFill>
              </a:rPr>
              <a:t>Global eradication of wild poliovirus type 2 declared</a:t>
            </a:r>
          </a:p>
          <a:p>
            <a:pPr algn="ctr" defTabSz="913980"/>
            <a:r>
              <a:rPr lang="en-IN" sz="2400" b="1" i="1" dirty="0">
                <a:solidFill>
                  <a:srgbClr val="002060"/>
                </a:solidFill>
              </a:rPr>
              <a:t>Declaration further milestone for globally-coordinated vaccine switch in 2016</a:t>
            </a:r>
            <a:endParaRPr lang="en-IN" sz="2400" b="1" dirty="0">
              <a:solidFill>
                <a:srgbClr val="002060"/>
              </a:solidFill>
            </a:endParaRPr>
          </a:p>
        </p:txBody>
      </p:sp>
    </p:spTree>
    <p:extLst>
      <p:ext uri="{BB962C8B-B14F-4D97-AF65-F5344CB8AC3E}">
        <p14:creationId xmlns:p14="http://schemas.microsoft.com/office/powerpoint/2010/main" val="95803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l="1897" t="10944" r="1379" b="3741"/>
          <a:stretch/>
        </p:blipFill>
        <p:spPr>
          <a:xfrm>
            <a:off x="173421" y="3105808"/>
            <a:ext cx="8844454" cy="3594538"/>
          </a:xfrm>
          <a:prstGeom prst="rect">
            <a:avLst/>
          </a:prstGeom>
        </p:spPr>
      </p:pic>
      <p:sp>
        <p:nvSpPr>
          <p:cNvPr id="4" name="TextBox 3"/>
          <p:cNvSpPr txBox="1"/>
          <p:nvPr/>
        </p:nvSpPr>
        <p:spPr>
          <a:xfrm>
            <a:off x="0" y="304800"/>
            <a:ext cx="9144000" cy="369332"/>
          </a:xfrm>
          <a:prstGeom prst="rect">
            <a:avLst/>
          </a:prstGeom>
          <a:noFill/>
        </p:spPr>
        <p:txBody>
          <a:bodyPr wrap="square" rtlCol="0">
            <a:spAutoFit/>
          </a:bodyPr>
          <a:lstStyle/>
          <a:p>
            <a:endParaRPr lang="en-US" dirty="0">
              <a:solidFill>
                <a:prstClr val="black"/>
              </a:solidFill>
            </a:endParaRPr>
          </a:p>
        </p:txBody>
      </p:sp>
      <p:sp>
        <p:nvSpPr>
          <p:cNvPr id="6" name="TextBox 5"/>
          <p:cNvSpPr txBox="1"/>
          <p:nvPr/>
        </p:nvSpPr>
        <p:spPr>
          <a:xfrm>
            <a:off x="304800" y="228600"/>
            <a:ext cx="8686800" cy="2800767"/>
          </a:xfrm>
          <a:prstGeom prst="rect">
            <a:avLst/>
          </a:prstGeom>
          <a:solidFill>
            <a:srgbClr val="0070C0"/>
          </a:solidFill>
        </p:spPr>
        <p:txBody>
          <a:bodyPr wrap="square" rtlCol="0">
            <a:spAutoFit/>
          </a:bodyPr>
          <a:lstStyle/>
          <a:p>
            <a:r>
              <a:rPr lang="en-GB" sz="4400" b="1" dirty="0">
                <a:solidFill>
                  <a:prstClr val="white"/>
                </a:solidFill>
                <a:cs typeface="Calibri" pitchFamily="34" charset="0"/>
              </a:rPr>
              <a:t>Combined use of IPV and OPV provides strong intestinal immunity and antibody protection against all three serotypes</a:t>
            </a:r>
            <a:endParaRPr lang="en-US" sz="4400" dirty="0">
              <a:solidFill>
                <a:prstClr val="white"/>
              </a:solidFill>
            </a:endParaRPr>
          </a:p>
        </p:txBody>
      </p:sp>
    </p:spTree>
    <p:extLst>
      <p:ext uri="{BB962C8B-B14F-4D97-AF65-F5344CB8AC3E}">
        <p14:creationId xmlns:p14="http://schemas.microsoft.com/office/powerpoint/2010/main" val="357696804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lstStyle/>
          <a:p>
            <a:r>
              <a:rPr lang="en-US" b="0" dirty="0" smtClean="0">
                <a:solidFill>
                  <a:srgbClr val="C00000"/>
                </a:solidFill>
                <a:effectLst/>
              </a:rPr>
              <a:t>Summary – Polio End Game</a:t>
            </a:r>
            <a:endParaRPr lang="en-US" b="0" dirty="0">
              <a:solidFill>
                <a:srgbClr val="C00000"/>
              </a:solidFill>
              <a:effectLst/>
            </a:endParaRPr>
          </a:p>
        </p:txBody>
      </p:sp>
      <p:sp>
        <p:nvSpPr>
          <p:cNvPr id="3" name="Content Placeholder 2"/>
          <p:cNvSpPr txBox="1">
            <a:spLocks/>
          </p:cNvSpPr>
          <p:nvPr/>
        </p:nvSpPr>
        <p:spPr>
          <a:xfrm>
            <a:off x="251520" y="914400"/>
            <a:ext cx="8712968" cy="5257800"/>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800" dirty="0" smtClean="0">
                <a:solidFill>
                  <a:srgbClr val="1B587C"/>
                </a:solidFill>
              </a:rPr>
              <a:t>Globally coordinated withdrawal of OPV type 2 essential to eliminate VDPV and VAPP risks associated with continued use of OPV type 2</a:t>
            </a:r>
          </a:p>
          <a:p>
            <a:r>
              <a:rPr lang="en-GB" sz="2800" dirty="0" smtClean="0">
                <a:solidFill>
                  <a:srgbClr val="1B587C"/>
                </a:solidFill>
              </a:rPr>
              <a:t>Withdrawal of type 2 OPV implies switching from tOPV to bOPV in the programme</a:t>
            </a:r>
          </a:p>
          <a:p>
            <a:r>
              <a:rPr lang="en-GB" sz="2800" dirty="0" smtClean="0">
                <a:solidFill>
                  <a:srgbClr val="1B587C"/>
                </a:solidFill>
              </a:rPr>
              <a:t>Single dose of IPV will helps boost both humoral and mucosal immunity in children that </a:t>
            </a:r>
            <a:r>
              <a:rPr lang="en-GB" sz="2800" b="1" dirty="0" smtClean="0">
                <a:solidFill>
                  <a:srgbClr val="1B587C"/>
                </a:solidFill>
              </a:rPr>
              <a:t>have received OPV doses</a:t>
            </a:r>
          </a:p>
          <a:p>
            <a:r>
              <a:rPr lang="en-GB" sz="2800" b="1" dirty="0" smtClean="0">
                <a:solidFill>
                  <a:srgbClr val="1B587C"/>
                </a:solidFill>
              </a:rPr>
              <a:t>Single dose of IPV at 14 weeks or the first contact thereafter is preferred option </a:t>
            </a:r>
          </a:p>
          <a:p>
            <a:r>
              <a:rPr lang="en-GB" sz="2800" dirty="0" smtClean="0">
                <a:solidFill>
                  <a:srgbClr val="1B587C"/>
                </a:solidFill>
              </a:rPr>
              <a:t>Routine Immunization needs to be strengthened and AFP surveillance should remain highly sensitive  </a:t>
            </a:r>
          </a:p>
          <a:p>
            <a:endParaRPr lang="en-GB" sz="2400" dirty="0" smtClean="0">
              <a:solidFill>
                <a:srgbClr val="1B587C"/>
              </a:solidFill>
            </a:endParaRPr>
          </a:p>
        </p:txBody>
      </p:sp>
    </p:spTree>
    <p:extLst>
      <p:ext uri="{BB962C8B-B14F-4D97-AF65-F5344CB8AC3E}">
        <p14:creationId xmlns:p14="http://schemas.microsoft.com/office/powerpoint/2010/main" val="193860650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2060848"/>
            <a:ext cx="8229600" cy="1143000"/>
          </a:xfrm>
        </p:spPr>
        <p:txBody>
          <a:bodyPr/>
          <a:lstStyle/>
          <a:p>
            <a:r>
              <a:rPr lang="en-IN" dirty="0" smtClean="0"/>
              <a:t>Thank you</a:t>
            </a:r>
            <a:endParaRPr lang="en-IN" dirty="0"/>
          </a:p>
        </p:txBody>
      </p:sp>
    </p:spTree>
    <p:extLst>
      <p:ext uri="{BB962C8B-B14F-4D97-AF65-F5344CB8AC3E}">
        <p14:creationId xmlns:p14="http://schemas.microsoft.com/office/powerpoint/2010/main" val="3109233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79464"/>
            <a:ext cx="9144000" cy="954107"/>
          </a:xfrm>
          <a:prstGeom prst="rect">
            <a:avLst/>
          </a:prstGeom>
        </p:spPr>
        <p:txBody>
          <a:bodyPr wrap="square">
            <a:spAutoFit/>
          </a:bodyPr>
          <a:lstStyle/>
          <a:p>
            <a:pPr algn="ctr" defTabSz="913980"/>
            <a:r>
              <a:rPr lang="en-IN" sz="2800" b="1" dirty="0">
                <a:solidFill>
                  <a:prstClr val="white"/>
                </a:solidFill>
              </a:rPr>
              <a:t>Friday, September 25, 2015</a:t>
            </a:r>
          </a:p>
          <a:p>
            <a:pPr algn="ctr" defTabSz="913980"/>
            <a:r>
              <a:rPr lang="en-IN" sz="2800" b="1" dirty="0">
                <a:solidFill>
                  <a:prstClr val="white"/>
                </a:solidFill>
              </a:rPr>
              <a:t>WHO Removes Nigeria from Polio Endemic List !!</a:t>
            </a:r>
          </a:p>
        </p:txBody>
      </p:sp>
      <p:pic>
        <p:nvPicPr>
          <p:cNvPr id="3074" name="Picture 2" descr="For the first time in history, no child has been paralyzed by wild poliovirus for a year in Niger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00" y="2276872"/>
            <a:ext cx="9055726" cy="46085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32101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www.polioeradication.org/portals/0/Image/Data&amp;Monitoring/currentyea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20" y="1553"/>
            <a:ext cx="9144000" cy="685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6635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9416" y="1169057"/>
            <a:ext cx="8693064" cy="528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4456" y="371430"/>
            <a:ext cx="8296070" cy="690310"/>
          </a:xfrm>
        </p:spPr>
        <p:txBody>
          <a:bodyPr>
            <a:normAutofit/>
          </a:bodyPr>
          <a:lstStyle/>
          <a:p>
            <a:r>
              <a:rPr lang="en-GB" sz="3692" b="1" dirty="0">
                <a:solidFill>
                  <a:schemeClr val="bg1"/>
                </a:solidFill>
                <a:latin typeface="Calibri" panose="020F0502020204030204" pitchFamily="34" charset="0"/>
                <a:cs typeface="Calibri" panose="020F0502020204030204" pitchFamily="34" charset="0"/>
              </a:rPr>
              <a:t>Wild Poliovirus Cases </a:t>
            </a:r>
            <a:r>
              <a:rPr lang="en-GB" sz="3692" b="1" dirty="0" smtClean="0">
                <a:solidFill>
                  <a:schemeClr val="bg1"/>
                </a:solidFill>
                <a:latin typeface="Calibri" panose="020F0502020204030204" pitchFamily="34" charset="0"/>
                <a:cs typeface="Calibri" panose="020F0502020204030204" pitchFamily="34" charset="0"/>
              </a:rPr>
              <a:t>in 2014-15</a:t>
            </a:r>
            <a:endParaRPr lang="en-GB" sz="3692" b="1" dirty="0">
              <a:solidFill>
                <a:schemeClr val="bg1"/>
              </a:solidFill>
              <a:latin typeface="Calibri" panose="020F0502020204030204" pitchFamily="34" charset="0"/>
              <a:cs typeface="Calibri" panose="020F0502020204030204" pitchFamily="34" charset="0"/>
            </a:endParaRPr>
          </a:p>
        </p:txBody>
      </p:sp>
      <p:sp>
        <p:nvSpPr>
          <p:cNvPr id="4" name="TextBox 3"/>
          <p:cNvSpPr txBox="1"/>
          <p:nvPr/>
        </p:nvSpPr>
        <p:spPr>
          <a:xfrm>
            <a:off x="1704587" y="5627994"/>
            <a:ext cx="6037594" cy="433196"/>
          </a:xfrm>
          <a:prstGeom prst="rect">
            <a:avLst/>
          </a:prstGeom>
          <a:solidFill>
            <a:srgbClr val="FFFFFF"/>
          </a:solidFill>
          <a:ln w="28575">
            <a:solidFill>
              <a:srgbClr val="002060"/>
            </a:solidFill>
          </a:ln>
        </p:spPr>
        <p:txBody>
          <a:bodyPr wrap="square" rtlCol="0">
            <a:spAutoFit/>
          </a:bodyPr>
          <a:lstStyle/>
          <a:p>
            <a:pPr algn="ctr" defTabSz="844083"/>
            <a:r>
              <a:rPr lang="en-GB" sz="2215" b="1" dirty="0">
                <a:solidFill>
                  <a:srgbClr val="002060"/>
                </a:solidFill>
              </a:rPr>
              <a:t>No WPV Reported in Africa or Middle East</a:t>
            </a:r>
          </a:p>
        </p:txBody>
      </p:sp>
      <p:grpSp>
        <p:nvGrpSpPr>
          <p:cNvPr id="7" name="Group 6"/>
          <p:cNvGrpSpPr/>
          <p:nvPr/>
        </p:nvGrpSpPr>
        <p:grpSpPr>
          <a:xfrm>
            <a:off x="1846774" y="1169057"/>
            <a:ext cx="4045425" cy="930565"/>
            <a:chOff x="2221668" y="1484784"/>
            <a:chExt cx="4382544" cy="1008112"/>
          </a:xfrm>
        </p:grpSpPr>
        <p:sp>
          <p:nvSpPr>
            <p:cNvPr id="8" name="TextBox 7"/>
            <p:cNvSpPr txBox="1"/>
            <p:nvPr/>
          </p:nvSpPr>
          <p:spPr>
            <a:xfrm>
              <a:off x="2221668" y="1556792"/>
              <a:ext cx="2921286" cy="931297"/>
            </a:xfrm>
            <a:prstGeom prst="rect">
              <a:avLst/>
            </a:prstGeom>
            <a:solidFill>
              <a:srgbClr val="FFFFFF"/>
            </a:solidFill>
            <a:ln w="28575">
              <a:solidFill>
                <a:srgbClr val="C00000"/>
              </a:solidFill>
            </a:ln>
          </p:spPr>
          <p:txBody>
            <a:bodyPr wrap="none" rtlCol="0">
              <a:spAutoFit/>
            </a:bodyPr>
            <a:lstStyle/>
            <a:p>
              <a:pPr defTabSz="844083" eaLnBrk="0" fontAlgn="base" hangingPunct="0">
                <a:spcBef>
                  <a:spcPct val="0"/>
                </a:spcBef>
                <a:spcAft>
                  <a:spcPct val="0"/>
                </a:spcAft>
                <a:defRPr/>
              </a:pPr>
              <a:r>
                <a:rPr lang="en-GB" sz="1662" b="1" kern="0" dirty="0">
                  <a:solidFill>
                    <a:srgbClr val="C00000"/>
                  </a:solidFill>
                </a:rPr>
                <a:t>Last Case Iraq, 7 April, 2014</a:t>
              </a:r>
            </a:p>
            <a:p>
              <a:pPr defTabSz="844083" eaLnBrk="0" fontAlgn="base" hangingPunct="0">
                <a:spcBef>
                  <a:spcPct val="0"/>
                </a:spcBef>
                <a:spcAft>
                  <a:spcPct val="0"/>
                </a:spcAft>
                <a:defRPr/>
              </a:pPr>
              <a:r>
                <a:rPr lang="en-GB" sz="1662" b="1" kern="0" dirty="0">
                  <a:solidFill>
                    <a:srgbClr val="C00000"/>
                  </a:solidFill>
                </a:rPr>
                <a:t>Syria: 21 Jan, 2014</a:t>
              </a:r>
            </a:p>
            <a:p>
              <a:pPr defTabSz="844083" eaLnBrk="0" fontAlgn="base" hangingPunct="0">
                <a:spcBef>
                  <a:spcPct val="0"/>
                </a:spcBef>
                <a:spcAft>
                  <a:spcPct val="0"/>
                </a:spcAft>
                <a:defRPr/>
              </a:pPr>
              <a:r>
                <a:rPr lang="en-GB" sz="1662" b="1" kern="0" dirty="0">
                  <a:solidFill>
                    <a:srgbClr val="C00000"/>
                  </a:solidFill>
                </a:rPr>
                <a:t>Israel (</a:t>
              </a:r>
              <a:r>
                <a:rPr lang="en-GB" sz="1662" b="1" kern="0" dirty="0" err="1">
                  <a:solidFill>
                    <a:srgbClr val="C00000"/>
                  </a:solidFill>
                </a:rPr>
                <a:t>Env</a:t>
              </a:r>
              <a:r>
                <a:rPr lang="en-GB" sz="1662" b="1" kern="0" dirty="0">
                  <a:solidFill>
                    <a:srgbClr val="C00000"/>
                  </a:solidFill>
                </a:rPr>
                <a:t>.): 30 March, 2014</a:t>
              </a:r>
            </a:p>
          </p:txBody>
        </p:sp>
        <p:sp>
          <p:nvSpPr>
            <p:cNvPr id="9" name="Oval 8"/>
            <p:cNvSpPr/>
            <p:nvPr/>
          </p:nvSpPr>
          <p:spPr>
            <a:xfrm>
              <a:off x="5390020" y="1484784"/>
              <a:ext cx="1214192" cy="1008112"/>
            </a:xfrm>
            <a:prstGeom prst="ellipse">
              <a:avLst/>
            </a:prstGeom>
            <a:solidFill>
              <a:srgbClr val="C00000">
                <a:alpha val="16078"/>
              </a:srgbClr>
            </a:solidFill>
            <a:ln w="28575" cap="flat" cmpd="sng" algn="ctr">
              <a:solidFill>
                <a:srgbClr val="C00000"/>
              </a:solidFill>
              <a:prstDash val="solid"/>
            </a:ln>
            <a:effectLst/>
          </p:spPr>
          <p:txBody>
            <a:bodyPr rtlCol="0" anchor="ctr"/>
            <a:lstStyle/>
            <a:p>
              <a:pPr algn="ctr" defTabSz="844083" eaLnBrk="0" fontAlgn="base" hangingPunct="0">
                <a:spcBef>
                  <a:spcPct val="0"/>
                </a:spcBef>
                <a:spcAft>
                  <a:spcPct val="0"/>
                </a:spcAft>
                <a:defRPr/>
              </a:pPr>
              <a:endParaRPr lang="en-GB" sz="1662" kern="0">
                <a:solidFill>
                  <a:srgbClr val="FFFFFF"/>
                </a:solidFill>
                <a:latin typeface="Arial"/>
                <a:cs typeface="Arial"/>
              </a:endParaRPr>
            </a:p>
          </p:txBody>
        </p:sp>
        <p:cxnSp>
          <p:nvCxnSpPr>
            <p:cNvPr id="10" name="Straight Connector 9"/>
            <p:cNvCxnSpPr/>
            <p:nvPr/>
          </p:nvCxnSpPr>
          <p:spPr>
            <a:xfrm rot="5400000">
              <a:off x="5209129" y="1807950"/>
              <a:ext cx="0" cy="361781"/>
            </a:xfrm>
            <a:prstGeom prst="line">
              <a:avLst/>
            </a:prstGeom>
            <a:noFill/>
            <a:ln w="28575" cap="flat" cmpd="sng" algn="ctr">
              <a:solidFill>
                <a:srgbClr val="C00000"/>
              </a:solidFill>
              <a:prstDash val="solid"/>
            </a:ln>
            <a:effectLst/>
          </p:spPr>
        </p:cxnSp>
      </p:grpSp>
      <p:grpSp>
        <p:nvGrpSpPr>
          <p:cNvPr id="11" name="Group 10"/>
          <p:cNvGrpSpPr/>
          <p:nvPr/>
        </p:nvGrpSpPr>
        <p:grpSpPr>
          <a:xfrm>
            <a:off x="4723384" y="2897248"/>
            <a:ext cx="3160985" cy="2200744"/>
            <a:chOff x="5101988" y="1340768"/>
            <a:chExt cx="3424400" cy="2384139"/>
          </a:xfrm>
        </p:grpSpPr>
        <p:sp>
          <p:nvSpPr>
            <p:cNvPr id="12" name="TextBox 11"/>
            <p:cNvSpPr txBox="1"/>
            <p:nvPr/>
          </p:nvSpPr>
          <p:spPr>
            <a:xfrm>
              <a:off x="5101988" y="3070701"/>
              <a:ext cx="3424400" cy="654206"/>
            </a:xfrm>
            <a:prstGeom prst="rect">
              <a:avLst/>
            </a:prstGeom>
            <a:solidFill>
              <a:srgbClr val="FFFFFF"/>
            </a:solidFill>
            <a:ln w="28575">
              <a:solidFill>
                <a:srgbClr val="C00000"/>
              </a:solidFill>
            </a:ln>
          </p:spPr>
          <p:txBody>
            <a:bodyPr wrap="square" rtlCol="0">
              <a:spAutoFit/>
            </a:bodyPr>
            <a:lstStyle/>
            <a:p>
              <a:pPr defTabSz="844083" eaLnBrk="0" fontAlgn="base" hangingPunct="0">
                <a:spcBef>
                  <a:spcPct val="0"/>
                </a:spcBef>
                <a:spcAft>
                  <a:spcPct val="0"/>
                </a:spcAft>
                <a:defRPr/>
              </a:pPr>
              <a:r>
                <a:rPr lang="en-GB" sz="1662" b="1" kern="0" dirty="0">
                  <a:solidFill>
                    <a:srgbClr val="C00000"/>
                  </a:solidFill>
                </a:rPr>
                <a:t>Last Case Somalia, 11 Aug, 2014</a:t>
              </a:r>
            </a:p>
            <a:p>
              <a:pPr defTabSz="844083" eaLnBrk="0" fontAlgn="base" hangingPunct="0">
                <a:spcBef>
                  <a:spcPct val="0"/>
                </a:spcBef>
                <a:spcAft>
                  <a:spcPct val="0"/>
                </a:spcAft>
                <a:defRPr/>
              </a:pPr>
              <a:r>
                <a:rPr lang="en-GB" sz="1662" b="1" kern="0" dirty="0">
                  <a:solidFill>
                    <a:srgbClr val="C00000"/>
                  </a:solidFill>
                </a:rPr>
                <a:t>Ethiopia: 5 Jan, 2014</a:t>
              </a:r>
            </a:p>
          </p:txBody>
        </p:sp>
        <p:sp>
          <p:nvSpPr>
            <p:cNvPr id="13" name="Oval 12"/>
            <p:cNvSpPr/>
            <p:nvPr/>
          </p:nvSpPr>
          <p:spPr>
            <a:xfrm>
              <a:off x="5457056" y="1340768"/>
              <a:ext cx="1224136" cy="1224136"/>
            </a:xfrm>
            <a:prstGeom prst="ellipse">
              <a:avLst/>
            </a:prstGeom>
            <a:solidFill>
              <a:srgbClr val="C00000">
                <a:alpha val="16078"/>
              </a:srgbClr>
            </a:solidFill>
            <a:ln w="28575" cap="flat" cmpd="sng" algn="ctr">
              <a:solidFill>
                <a:srgbClr val="C00000"/>
              </a:solidFill>
              <a:prstDash val="solid"/>
            </a:ln>
            <a:effectLst/>
          </p:spPr>
          <p:txBody>
            <a:bodyPr rtlCol="0" anchor="ctr"/>
            <a:lstStyle/>
            <a:p>
              <a:pPr algn="ctr" defTabSz="844083" eaLnBrk="0" fontAlgn="base" hangingPunct="0">
                <a:spcBef>
                  <a:spcPct val="0"/>
                </a:spcBef>
                <a:spcAft>
                  <a:spcPct val="0"/>
                </a:spcAft>
                <a:defRPr/>
              </a:pPr>
              <a:endParaRPr lang="en-GB" sz="1662" kern="0">
                <a:solidFill>
                  <a:srgbClr val="FFFFFF"/>
                </a:solidFill>
                <a:latin typeface="Arial"/>
                <a:cs typeface="Arial"/>
              </a:endParaRPr>
            </a:p>
          </p:txBody>
        </p:sp>
        <p:cxnSp>
          <p:nvCxnSpPr>
            <p:cNvPr id="14" name="Straight Connector 13"/>
            <p:cNvCxnSpPr>
              <a:stCxn id="13" idx="4"/>
            </p:cNvCxnSpPr>
            <p:nvPr/>
          </p:nvCxnSpPr>
          <p:spPr>
            <a:xfrm>
              <a:off x="6069124" y="2564904"/>
              <a:ext cx="0" cy="505797"/>
            </a:xfrm>
            <a:prstGeom prst="line">
              <a:avLst/>
            </a:prstGeom>
            <a:noFill/>
            <a:ln w="28575" cap="flat" cmpd="sng" algn="ctr">
              <a:solidFill>
                <a:srgbClr val="C00000"/>
              </a:solidFill>
              <a:prstDash val="solid"/>
            </a:ln>
            <a:effectLst/>
          </p:spPr>
        </p:cxnSp>
      </p:grpSp>
      <p:grpSp>
        <p:nvGrpSpPr>
          <p:cNvPr id="15" name="Group 14"/>
          <p:cNvGrpSpPr/>
          <p:nvPr/>
        </p:nvGrpSpPr>
        <p:grpSpPr>
          <a:xfrm>
            <a:off x="938738" y="3430607"/>
            <a:ext cx="3300918" cy="1532841"/>
            <a:chOff x="3666252" y="1916832"/>
            <a:chExt cx="3575994" cy="1660578"/>
          </a:xfrm>
        </p:grpSpPr>
        <p:sp>
          <p:nvSpPr>
            <p:cNvPr id="16" name="TextBox 15"/>
            <p:cNvSpPr txBox="1"/>
            <p:nvPr/>
          </p:nvSpPr>
          <p:spPr>
            <a:xfrm>
              <a:off x="3666252" y="2923203"/>
              <a:ext cx="3575994" cy="654207"/>
            </a:xfrm>
            <a:prstGeom prst="rect">
              <a:avLst/>
            </a:prstGeom>
            <a:solidFill>
              <a:srgbClr val="FFFFFF"/>
            </a:solidFill>
            <a:ln w="28575">
              <a:solidFill>
                <a:srgbClr val="C00000"/>
              </a:solidFill>
            </a:ln>
          </p:spPr>
          <p:txBody>
            <a:bodyPr wrap="square" rtlCol="0">
              <a:spAutoFit/>
            </a:bodyPr>
            <a:lstStyle/>
            <a:p>
              <a:pPr defTabSz="844083" eaLnBrk="0" fontAlgn="base" hangingPunct="0">
                <a:spcBef>
                  <a:spcPct val="0"/>
                </a:spcBef>
                <a:spcAft>
                  <a:spcPct val="0"/>
                </a:spcAft>
                <a:defRPr/>
              </a:pPr>
              <a:r>
                <a:rPr lang="en-GB" sz="1662" b="1" kern="0" dirty="0">
                  <a:solidFill>
                    <a:srgbClr val="C00000"/>
                  </a:solidFill>
                </a:rPr>
                <a:t>Last Case Cameroon, 9 Jul, 2014</a:t>
              </a:r>
            </a:p>
            <a:p>
              <a:pPr defTabSz="844083" eaLnBrk="0" fontAlgn="base" hangingPunct="0">
                <a:spcBef>
                  <a:spcPct val="0"/>
                </a:spcBef>
                <a:spcAft>
                  <a:spcPct val="0"/>
                </a:spcAft>
                <a:defRPr/>
              </a:pPr>
              <a:r>
                <a:rPr lang="en-GB" sz="1662" b="1" kern="0" dirty="0">
                  <a:solidFill>
                    <a:srgbClr val="C00000"/>
                  </a:solidFill>
                </a:rPr>
                <a:t>Equatorial Guinea: 3 May, 2014</a:t>
              </a:r>
            </a:p>
          </p:txBody>
        </p:sp>
        <p:sp>
          <p:nvSpPr>
            <p:cNvPr id="17" name="Oval 16"/>
            <p:cNvSpPr/>
            <p:nvPr/>
          </p:nvSpPr>
          <p:spPr>
            <a:xfrm>
              <a:off x="5715068" y="1916832"/>
              <a:ext cx="735090" cy="648072"/>
            </a:xfrm>
            <a:prstGeom prst="ellipse">
              <a:avLst/>
            </a:prstGeom>
            <a:solidFill>
              <a:srgbClr val="C00000">
                <a:alpha val="16078"/>
              </a:srgbClr>
            </a:solidFill>
            <a:ln w="28575" cap="flat" cmpd="sng" algn="ctr">
              <a:solidFill>
                <a:srgbClr val="C00000"/>
              </a:solidFill>
              <a:prstDash val="solid"/>
            </a:ln>
            <a:effectLst/>
          </p:spPr>
          <p:txBody>
            <a:bodyPr rtlCol="0" anchor="ctr"/>
            <a:lstStyle/>
            <a:p>
              <a:pPr algn="ctr" defTabSz="844083" eaLnBrk="0" fontAlgn="base" hangingPunct="0">
                <a:spcBef>
                  <a:spcPct val="0"/>
                </a:spcBef>
                <a:spcAft>
                  <a:spcPct val="0"/>
                </a:spcAft>
                <a:defRPr/>
              </a:pPr>
              <a:endParaRPr lang="en-GB" sz="1662" kern="0">
                <a:solidFill>
                  <a:srgbClr val="FFFFFF"/>
                </a:solidFill>
                <a:latin typeface="Arial"/>
                <a:cs typeface="Arial"/>
              </a:endParaRPr>
            </a:p>
          </p:txBody>
        </p:sp>
        <p:cxnSp>
          <p:nvCxnSpPr>
            <p:cNvPr id="18" name="Straight Connector 17"/>
            <p:cNvCxnSpPr>
              <a:endCxn id="16" idx="0"/>
            </p:cNvCxnSpPr>
            <p:nvPr/>
          </p:nvCxnSpPr>
          <p:spPr>
            <a:xfrm flipH="1">
              <a:off x="5454249" y="2491155"/>
              <a:ext cx="357251" cy="432049"/>
            </a:xfrm>
            <a:prstGeom prst="line">
              <a:avLst/>
            </a:prstGeom>
            <a:noFill/>
            <a:ln w="28575" cap="flat" cmpd="sng" algn="ctr">
              <a:solidFill>
                <a:srgbClr val="C00000"/>
              </a:solidFill>
              <a:prstDash val="solid"/>
            </a:ln>
            <a:effectLst/>
          </p:spPr>
        </p:cxnSp>
      </p:grpSp>
      <p:sp>
        <p:nvSpPr>
          <p:cNvPr id="19" name="TextBox 18"/>
          <p:cNvSpPr txBox="1"/>
          <p:nvPr/>
        </p:nvSpPr>
        <p:spPr>
          <a:xfrm>
            <a:off x="384457" y="2356921"/>
            <a:ext cx="2996074" cy="348109"/>
          </a:xfrm>
          <a:prstGeom prst="rect">
            <a:avLst/>
          </a:prstGeom>
          <a:solidFill>
            <a:srgbClr val="FFFFFF"/>
          </a:solidFill>
          <a:ln w="28575">
            <a:solidFill>
              <a:srgbClr val="C00000"/>
            </a:solidFill>
          </a:ln>
        </p:spPr>
        <p:txBody>
          <a:bodyPr wrap="square" rtlCol="0">
            <a:spAutoFit/>
          </a:bodyPr>
          <a:lstStyle/>
          <a:p>
            <a:pPr defTabSz="844083" eaLnBrk="0" fontAlgn="base" hangingPunct="0">
              <a:spcBef>
                <a:spcPct val="0"/>
              </a:spcBef>
              <a:spcAft>
                <a:spcPct val="0"/>
              </a:spcAft>
            </a:pPr>
            <a:r>
              <a:rPr lang="en-GB" sz="1662" b="1" dirty="0">
                <a:solidFill>
                  <a:srgbClr val="C00000"/>
                </a:solidFill>
              </a:rPr>
              <a:t>Last Case Nigeria, 24 Jul, 2014</a:t>
            </a:r>
          </a:p>
        </p:txBody>
      </p:sp>
      <p:sp>
        <p:nvSpPr>
          <p:cNvPr id="20" name="Oval 19"/>
          <p:cNvSpPr/>
          <p:nvPr/>
        </p:nvSpPr>
        <p:spPr>
          <a:xfrm>
            <a:off x="2378526" y="2797545"/>
            <a:ext cx="752597" cy="764393"/>
          </a:xfrm>
          <a:prstGeom prst="ellipse">
            <a:avLst/>
          </a:prstGeom>
          <a:solidFill>
            <a:srgbClr val="C00000">
              <a:alpha val="16078"/>
            </a:srgbClr>
          </a:solidFill>
          <a:ln w="28575" cap="flat" cmpd="sng" algn="ctr">
            <a:solidFill>
              <a:srgbClr val="C00000"/>
            </a:solidFill>
            <a:prstDash val="solid"/>
          </a:ln>
          <a:effectLst/>
        </p:spPr>
        <p:txBody>
          <a:bodyPr rtlCol="0" anchor="ctr"/>
          <a:lstStyle/>
          <a:p>
            <a:pPr algn="ctr" defTabSz="844083" eaLnBrk="0" fontAlgn="base" hangingPunct="0">
              <a:spcBef>
                <a:spcPct val="0"/>
              </a:spcBef>
              <a:spcAft>
                <a:spcPct val="0"/>
              </a:spcAft>
              <a:defRPr/>
            </a:pPr>
            <a:endParaRPr lang="en-GB" sz="1662" kern="0">
              <a:solidFill>
                <a:srgbClr val="FFFFFF"/>
              </a:solidFill>
              <a:latin typeface="Arial"/>
              <a:cs typeface="Arial"/>
            </a:endParaRPr>
          </a:p>
        </p:txBody>
      </p:sp>
      <p:cxnSp>
        <p:nvCxnSpPr>
          <p:cNvPr id="21" name="Straight Connector 20"/>
          <p:cNvCxnSpPr>
            <a:endCxn id="20" idx="1"/>
          </p:cNvCxnSpPr>
          <p:nvPr/>
        </p:nvCxnSpPr>
        <p:spPr>
          <a:xfrm>
            <a:off x="2152613" y="2731102"/>
            <a:ext cx="336128" cy="178386"/>
          </a:xfrm>
          <a:prstGeom prst="line">
            <a:avLst/>
          </a:prstGeom>
          <a:noFill/>
          <a:ln w="28575" cap="flat" cmpd="sng" algn="ctr">
            <a:solidFill>
              <a:srgbClr val="C00000"/>
            </a:solidFill>
            <a:prstDash val="solid"/>
          </a:ln>
          <a:effectLst/>
        </p:spPr>
      </p:cxnSp>
      <p:sp>
        <p:nvSpPr>
          <p:cNvPr id="22" name="Rounded Rectangle 21"/>
          <p:cNvSpPr/>
          <p:nvPr/>
        </p:nvSpPr>
        <p:spPr>
          <a:xfrm>
            <a:off x="199416" y="304962"/>
            <a:ext cx="8693064" cy="731158"/>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en-US" sz="1662">
              <a:solidFill>
                <a:prstClr val="white"/>
              </a:solidFill>
            </a:endParaRPr>
          </a:p>
        </p:txBody>
      </p:sp>
    </p:spTree>
    <p:extLst>
      <p:ext uri="{BB962C8B-B14F-4D97-AF65-F5344CB8AC3E}">
        <p14:creationId xmlns:p14="http://schemas.microsoft.com/office/powerpoint/2010/main" val="24582152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83750"/>
            <a:ext cx="9144000" cy="452369"/>
          </a:xfrm>
        </p:spPr>
        <p:txBody>
          <a:bodyPr>
            <a:normAutofit fontScale="90000"/>
          </a:bodyPr>
          <a:lstStyle/>
          <a:p>
            <a:r>
              <a:rPr lang="en-GB" sz="3692" dirty="0">
                <a:solidFill>
                  <a:schemeClr val="bg1"/>
                </a:solidFill>
              </a:rPr>
              <a:t>International exportation of poliovirus in 2014</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79512" y="1497497"/>
            <a:ext cx="8717280" cy="4114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13"/>
          <p:cNvSpPr/>
          <p:nvPr/>
        </p:nvSpPr>
        <p:spPr>
          <a:xfrm>
            <a:off x="2473642" y="3817629"/>
            <a:ext cx="2694511" cy="1064633"/>
          </a:xfrm>
          <a:custGeom>
            <a:avLst/>
            <a:gdLst>
              <a:gd name="connsiteX0" fmla="*/ 2123523 w 2123523"/>
              <a:gd name="connsiteY0" fmla="*/ 0 h 680132"/>
              <a:gd name="connsiteX1" fmla="*/ 1284694 w 2123523"/>
              <a:gd name="connsiteY1" fmla="*/ 559219 h 680132"/>
              <a:gd name="connsiteX2" fmla="*/ 0 w 2123523"/>
              <a:gd name="connsiteY2" fmla="*/ 680132 h 680132"/>
            </a:gdLst>
            <a:ahLst/>
            <a:cxnLst>
              <a:cxn ang="0">
                <a:pos x="connsiteX0" y="connsiteY0"/>
              </a:cxn>
              <a:cxn ang="0">
                <a:pos x="connsiteX1" y="connsiteY1"/>
              </a:cxn>
              <a:cxn ang="0">
                <a:pos x="connsiteX2" y="connsiteY2"/>
              </a:cxn>
            </a:cxnLst>
            <a:rect l="l" t="t" r="r" b="b"/>
            <a:pathLst>
              <a:path w="2123523" h="680132">
                <a:moveTo>
                  <a:pt x="2123523" y="0"/>
                </a:moveTo>
                <a:cubicBezTo>
                  <a:pt x="1881068" y="222932"/>
                  <a:pt x="1638614" y="445864"/>
                  <a:pt x="1284694" y="559219"/>
                </a:cubicBezTo>
                <a:cubicBezTo>
                  <a:pt x="930773" y="672574"/>
                  <a:pt x="465386" y="676353"/>
                  <a:pt x="0" y="680132"/>
                </a:cubicBezTo>
              </a:path>
            </a:pathLst>
          </a:custGeom>
          <a:noFill/>
          <a:ln w="25400">
            <a:solidFill>
              <a:srgbClr val="7030A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23" name="Oval 22"/>
          <p:cNvSpPr/>
          <p:nvPr/>
        </p:nvSpPr>
        <p:spPr>
          <a:xfrm>
            <a:off x="2098282" y="4508451"/>
            <a:ext cx="691770" cy="638557"/>
          </a:xfrm>
          <a:prstGeom prst="ellipse">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13" name="Freeform 12"/>
          <p:cNvSpPr/>
          <p:nvPr/>
        </p:nvSpPr>
        <p:spPr>
          <a:xfrm>
            <a:off x="5244218" y="3590922"/>
            <a:ext cx="155124" cy="177029"/>
          </a:xfrm>
          <a:custGeom>
            <a:avLst/>
            <a:gdLst>
              <a:gd name="connsiteX0" fmla="*/ 122252 w 122252"/>
              <a:gd name="connsiteY0" fmla="*/ 0 h 151141"/>
              <a:gd name="connsiteX1" fmla="*/ 46682 w 122252"/>
              <a:gd name="connsiteY1" fmla="*/ 128469 h 151141"/>
              <a:gd name="connsiteX2" fmla="*/ 1340 w 122252"/>
              <a:gd name="connsiteY2" fmla="*/ 105798 h 151141"/>
              <a:gd name="connsiteX3" fmla="*/ 16454 w 122252"/>
              <a:gd name="connsiteY3" fmla="*/ 151141 h 151141"/>
            </a:gdLst>
            <a:ahLst/>
            <a:cxnLst>
              <a:cxn ang="0">
                <a:pos x="connsiteX0" y="connsiteY0"/>
              </a:cxn>
              <a:cxn ang="0">
                <a:pos x="connsiteX1" y="connsiteY1"/>
              </a:cxn>
              <a:cxn ang="0">
                <a:pos x="connsiteX2" y="connsiteY2"/>
              </a:cxn>
              <a:cxn ang="0">
                <a:pos x="connsiteX3" y="connsiteY3"/>
              </a:cxn>
            </a:cxnLst>
            <a:rect l="l" t="t" r="r" b="b"/>
            <a:pathLst>
              <a:path w="122252" h="151141">
                <a:moveTo>
                  <a:pt x="122252" y="0"/>
                </a:moveTo>
                <a:cubicBezTo>
                  <a:pt x="94543" y="55418"/>
                  <a:pt x="66834" y="110836"/>
                  <a:pt x="46682" y="128469"/>
                </a:cubicBezTo>
                <a:cubicBezTo>
                  <a:pt x="26530" y="146102"/>
                  <a:pt x="6378" y="102019"/>
                  <a:pt x="1340" y="105798"/>
                </a:cubicBezTo>
                <a:cubicBezTo>
                  <a:pt x="-3698" y="109577"/>
                  <a:pt x="6378" y="130359"/>
                  <a:pt x="16454" y="151141"/>
                </a:cubicBezTo>
              </a:path>
            </a:pathLst>
          </a:custGeom>
          <a:noFill/>
          <a:ln w="34925">
            <a:solidFill>
              <a:srgbClr val="7030A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15" name="Freeform 14"/>
          <p:cNvSpPr/>
          <p:nvPr/>
        </p:nvSpPr>
        <p:spPr>
          <a:xfrm>
            <a:off x="6817464" y="2070988"/>
            <a:ext cx="239724" cy="84919"/>
          </a:xfrm>
          <a:custGeom>
            <a:avLst/>
            <a:gdLst>
              <a:gd name="connsiteX0" fmla="*/ 0 w 188925"/>
              <a:gd name="connsiteY0" fmla="*/ 12045 h 72501"/>
              <a:gd name="connsiteX1" fmla="*/ 136026 w 188925"/>
              <a:gd name="connsiteY1" fmla="*/ 4488 h 72501"/>
              <a:gd name="connsiteX2" fmla="*/ 188925 w 188925"/>
              <a:gd name="connsiteY2" fmla="*/ 72501 h 72501"/>
            </a:gdLst>
            <a:ahLst/>
            <a:cxnLst>
              <a:cxn ang="0">
                <a:pos x="connsiteX0" y="connsiteY0"/>
              </a:cxn>
              <a:cxn ang="0">
                <a:pos x="connsiteX1" y="connsiteY1"/>
              </a:cxn>
              <a:cxn ang="0">
                <a:pos x="connsiteX2" y="connsiteY2"/>
              </a:cxn>
            </a:cxnLst>
            <a:rect l="l" t="t" r="r" b="b"/>
            <a:pathLst>
              <a:path w="188925" h="72501">
                <a:moveTo>
                  <a:pt x="0" y="12045"/>
                </a:moveTo>
                <a:cubicBezTo>
                  <a:pt x="52269" y="3228"/>
                  <a:pt x="104539" y="-5588"/>
                  <a:pt x="136026" y="4488"/>
                </a:cubicBezTo>
                <a:cubicBezTo>
                  <a:pt x="167514" y="14564"/>
                  <a:pt x="178219" y="43532"/>
                  <a:pt x="188925" y="72501"/>
                </a:cubicBezTo>
              </a:path>
            </a:pathLst>
          </a:custGeom>
          <a:noFill/>
          <a:ln w="25400">
            <a:solidFill>
              <a:srgbClr val="7030A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19" name="Oval 18"/>
          <p:cNvSpPr/>
          <p:nvPr/>
        </p:nvSpPr>
        <p:spPr>
          <a:xfrm>
            <a:off x="4982885" y="3408300"/>
            <a:ext cx="587456" cy="542267"/>
          </a:xfrm>
          <a:prstGeom prst="ellipse">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24" name="Oval 23"/>
          <p:cNvSpPr/>
          <p:nvPr/>
        </p:nvSpPr>
        <p:spPr>
          <a:xfrm>
            <a:off x="6588223" y="1813046"/>
            <a:ext cx="646202" cy="542267"/>
          </a:xfrm>
          <a:prstGeom prst="ellipse">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25" name="Oval 24"/>
          <p:cNvSpPr/>
          <p:nvPr/>
        </p:nvSpPr>
        <p:spPr>
          <a:xfrm>
            <a:off x="8005024" y="1902430"/>
            <a:ext cx="710823" cy="656144"/>
          </a:xfrm>
          <a:prstGeom prst="ellipse">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4" name="Freeform 3"/>
          <p:cNvSpPr/>
          <p:nvPr/>
        </p:nvSpPr>
        <p:spPr>
          <a:xfrm rot="18920595">
            <a:off x="8331420" y="2022232"/>
            <a:ext cx="75841" cy="446434"/>
          </a:xfrm>
          <a:custGeom>
            <a:avLst/>
            <a:gdLst>
              <a:gd name="connsiteX0" fmla="*/ 113435 w 113435"/>
              <a:gd name="connsiteY0" fmla="*/ 184195 h 184195"/>
              <a:gd name="connsiteX1" fmla="*/ 1602 w 113435"/>
              <a:gd name="connsiteY1" fmla="*/ 101965 h 184195"/>
              <a:gd name="connsiteX2" fmla="*/ 44362 w 113435"/>
              <a:gd name="connsiteY2" fmla="*/ 0 h 184195"/>
              <a:gd name="connsiteX3" fmla="*/ 44362 w 113435"/>
              <a:gd name="connsiteY3" fmla="*/ 0 h 184195"/>
            </a:gdLst>
            <a:ahLst/>
            <a:cxnLst>
              <a:cxn ang="0">
                <a:pos x="connsiteX0" y="connsiteY0"/>
              </a:cxn>
              <a:cxn ang="0">
                <a:pos x="connsiteX1" y="connsiteY1"/>
              </a:cxn>
              <a:cxn ang="0">
                <a:pos x="connsiteX2" y="connsiteY2"/>
              </a:cxn>
              <a:cxn ang="0">
                <a:pos x="connsiteX3" y="connsiteY3"/>
              </a:cxn>
            </a:cxnLst>
            <a:rect l="l" t="t" r="r" b="b"/>
            <a:pathLst>
              <a:path w="113435" h="184195">
                <a:moveTo>
                  <a:pt x="113435" y="184195"/>
                </a:moveTo>
                <a:cubicBezTo>
                  <a:pt x="63274" y="158429"/>
                  <a:pt x="13114" y="132664"/>
                  <a:pt x="1602" y="101965"/>
                </a:cubicBezTo>
                <a:cubicBezTo>
                  <a:pt x="-9910" y="71266"/>
                  <a:pt x="44362" y="0"/>
                  <a:pt x="44362" y="0"/>
                </a:cubicBezTo>
                <a:lnTo>
                  <a:pt x="44362" y="0"/>
                </a:lnTo>
              </a:path>
            </a:pathLst>
          </a:custGeom>
          <a:noFill/>
          <a:ln w="85725">
            <a:solidFill>
              <a:srgbClr val="7030A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solidFill>
                <a:prstClr val="white"/>
              </a:solidFill>
            </a:endParaRPr>
          </a:p>
        </p:txBody>
      </p:sp>
      <p:sp>
        <p:nvSpPr>
          <p:cNvPr id="5" name="TextBox 4"/>
          <p:cNvSpPr txBox="1"/>
          <p:nvPr/>
        </p:nvSpPr>
        <p:spPr>
          <a:xfrm>
            <a:off x="1907704" y="5547429"/>
            <a:ext cx="1152128" cy="348109"/>
          </a:xfrm>
          <a:prstGeom prst="rect">
            <a:avLst/>
          </a:prstGeom>
          <a:solidFill>
            <a:schemeClr val="accent2">
              <a:lumMod val="20000"/>
              <a:lumOff val="80000"/>
            </a:schemeClr>
          </a:solidFill>
          <a:ln w="28575">
            <a:solidFill>
              <a:srgbClr val="C00000"/>
            </a:solidFill>
          </a:ln>
        </p:spPr>
        <p:txBody>
          <a:bodyPr wrap="square" rtlCol="0">
            <a:spAutoFit/>
          </a:bodyPr>
          <a:lstStyle/>
          <a:p>
            <a:pPr algn="ctr"/>
            <a:r>
              <a:rPr lang="en-GB" sz="1662" dirty="0">
                <a:solidFill>
                  <a:prstClr val="black"/>
                </a:solidFill>
              </a:rPr>
              <a:t>March</a:t>
            </a:r>
          </a:p>
        </p:txBody>
      </p:sp>
      <p:cxnSp>
        <p:nvCxnSpPr>
          <p:cNvPr id="9" name="Straight Connector 8"/>
          <p:cNvCxnSpPr/>
          <p:nvPr/>
        </p:nvCxnSpPr>
        <p:spPr>
          <a:xfrm>
            <a:off x="2473647" y="5147014"/>
            <a:ext cx="10125" cy="40042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788026" y="4350988"/>
            <a:ext cx="1152128" cy="348109"/>
          </a:xfrm>
          <a:prstGeom prst="rect">
            <a:avLst/>
          </a:prstGeom>
          <a:solidFill>
            <a:schemeClr val="accent2">
              <a:lumMod val="20000"/>
              <a:lumOff val="80000"/>
            </a:schemeClr>
          </a:solidFill>
          <a:ln w="28575">
            <a:solidFill>
              <a:srgbClr val="C00000"/>
            </a:solidFill>
          </a:ln>
        </p:spPr>
        <p:txBody>
          <a:bodyPr wrap="square" rtlCol="0">
            <a:spAutoFit/>
          </a:bodyPr>
          <a:lstStyle/>
          <a:p>
            <a:pPr algn="ctr"/>
            <a:r>
              <a:rPr lang="en-GB" sz="1662" dirty="0">
                <a:solidFill>
                  <a:prstClr val="black"/>
                </a:solidFill>
              </a:rPr>
              <a:t>March </a:t>
            </a:r>
          </a:p>
        </p:txBody>
      </p:sp>
      <p:cxnSp>
        <p:nvCxnSpPr>
          <p:cNvPr id="27" name="Straight Connector 26"/>
          <p:cNvCxnSpPr/>
          <p:nvPr/>
        </p:nvCxnSpPr>
        <p:spPr>
          <a:xfrm>
            <a:off x="5281959" y="3950573"/>
            <a:ext cx="10125" cy="40042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004050" y="1947923"/>
            <a:ext cx="1152128" cy="348109"/>
          </a:xfrm>
          <a:prstGeom prst="rect">
            <a:avLst/>
          </a:prstGeom>
          <a:solidFill>
            <a:schemeClr val="accent2">
              <a:lumMod val="20000"/>
              <a:lumOff val="80000"/>
            </a:schemeClr>
          </a:solidFill>
          <a:ln w="28575">
            <a:solidFill>
              <a:srgbClr val="C00000"/>
            </a:solidFill>
          </a:ln>
        </p:spPr>
        <p:txBody>
          <a:bodyPr wrap="square" rtlCol="0">
            <a:spAutoFit/>
          </a:bodyPr>
          <a:lstStyle/>
          <a:p>
            <a:pPr algn="ctr"/>
            <a:r>
              <a:rPr lang="en-GB" sz="1662" dirty="0">
                <a:solidFill>
                  <a:prstClr val="black"/>
                </a:solidFill>
              </a:rPr>
              <a:t>February </a:t>
            </a:r>
          </a:p>
        </p:txBody>
      </p:sp>
      <p:cxnSp>
        <p:nvCxnSpPr>
          <p:cNvPr id="29" name="Straight Connector 28"/>
          <p:cNvCxnSpPr/>
          <p:nvPr/>
        </p:nvCxnSpPr>
        <p:spPr>
          <a:xfrm flipH="1">
            <a:off x="6156176" y="2089441"/>
            <a:ext cx="432048" cy="1212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740356" y="2955141"/>
            <a:ext cx="1224136" cy="1626984"/>
          </a:xfrm>
          <a:prstGeom prst="rect">
            <a:avLst/>
          </a:prstGeom>
          <a:solidFill>
            <a:schemeClr val="accent2">
              <a:lumMod val="20000"/>
              <a:lumOff val="80000"/>
            </a:schemeClr>
          </a:solidFill>
          <a:ln w="28575">
            <a:solidFill>
              <a:srgbClr val="C00000"/>
            </a:solidFill>
          </a:ln>
        </p:spPr>
        <p:txBody>
          <a:bodyPr wrap="square" rtlCol="0">
            <a:spAutoFit/>
          </a:bodyPr>
          <a:lstStyle/>
          <a:p>
            <a:pPr algn="ctr"/>
            <a:r>
              <a:rPr lang="en-GB" sz="1662" dirty="0">
                <a:solidFill>
                  <a:prstClr val="black"/>
                </a:solidFill>
              </a:rPr>
              <a:t>January</a:t>
            </a:r>
          </a:p>
          <a:p>
            <a:pPr algn="ctr"/>
            <a:r>
              <a:rPr lang="en-GB" sz="1662" dirty="0">
                <a:solidFill>
                  <a:prstClr val="black"/>
                </a:solidFill>
              </a:rPr>
              <a:t>April</a:t>
            </a:r>
          </a:p>
          <a:p>
            <a:pPr algn="ctr"/>
            <a:r>
              <a:rPr lang="en-GB" sz="1662" dirty="0">
                <a:solidFill>
                  <a:prstClr val="black"/>
                </a:solidFill>
              </a:rPr>
              <a:t>June</a:t>
            </a:r>
          </a:p>
          <a:p>
            <a:pPr algn="ctr"/>
            <a:r>
              <a:rPr lang="en-GB" sz="1662" dirty="0">
                <a:solidFill>
                  <a:prstClr val="black"/>
                </a:solidFill>
              </a:rPr>
              <a:t>August</a:t>
            </a:r>
          </a:p>
          <a:p>
            <a:pPr algn="ctr"/>
            <a:r>
              <a:rPr lang="en-GB" sz="1662" dirty="0">
                <a:solidFill>
                  <a:prstClr val="black"/>
                </a:solidFill>
              </a:rPr>
              <a:t>September</a:t>
            </a:r>
          </a:p>
          <a:p>
            <a:pPr algn="ctr"/>
            <a:r>
              <a:rPr lang="en-GB" sz="1662" dirty="0">
                <a:solidFill>
                  <a:prstClr val="black"/>
                </a:solidFill>
              </a:rPr>
              <a:t>October</a:t>
            </a:r>
          </a:p>
        </p:txBody>
      </p:sp>
      <p:cxnSp>
        <p:nvCxnSpPr>
          <p:cNvPr id="31" name="Straight Connector 30"/>
          <p:cNvCxnSpPr/>
          <p:nvPr/>
        </p:nvCxnSpPr>
        <p:spPr>
          <a:xfrm>
            <a:off x="8306295" y="2554726"/>
            <a:ext cx="10125" cy="40042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0" name="Text Box 3"/>
          <p:cNvSpPr txBox="1">
            <a:spLocks noChangeArrowheads="1"/>
          </p:cNvSpPr>
          <p:nvPr/>
        </p:nvSpPr>
        <p:spPr bwMode="auto">
          <a:xfrm>
            <a:off x="121213" y="733294"/>
            <a:ext cx="8775579" cy="613002"/>
          </a:xfrm>
          <a:prstGeom prst="rect">
            <a:avLst/>
          </a:prstGeom>
          <a:noFill/>
          <a:extLst/>
        </p:spPr>
        <p:txBody>
          <a:bodyPr anchor="ctr">
            <a:norm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sz="2800" b="1" dirty="0">
                <a:solidFill>
                  <a:srgbClr val="0000FF"/>
                </a:solidFill>
                <a:effectLst>
                  <a:outerShdw blurRad="38100" dist="38100" dir="2700000" algn="tl">
                    <a:srgbClr val="000000"/>
                  </a:outerShdw>
                </a:effectLst>
              </a:rPr>
              <a:t>International Spread of Polio, 2014</a:t>
            </a:r>
            <a:endParaRPr lang="en-US" sz="2800" b="1" dirty="0">
              <a:solidFill>
                <a:srgbClr val="0000FF"/>
              </a:solidFill>
              <a:effectLst>
                <a:outerShdw blurRad="38100" dist="38100" dir="2700000" algn="tl">
                  <a:srgbClr val="000000"/>
                </a:outerShdw>
              </a:effectLst>
            </a:endParaRPr>
          </a:p>
        </p:txBody>
      </p:sp>
      <p:sp>
        <p:nvSpPr>
          <p:cNvPr id="21" name="TextBox 1"/>
          <p:cNvSpPr txBox="1">
            <a:spLocks noChangeArrowheads="1"/>
          </p:cNvSpPr>
          <p:nvPr/>
        </p:nvSpPr>
        <p:spPr bwMode="auto">
          <a:xfrm>
            <a:off x="3152337" y="5953852"/>
            <a:ext cx="2954337" cy="784225"/>
          </a:xfrm>
          <a:prstGeom prst="rect">
            <a:avLst/>
          </a:prstGeom>
          <a:solidFill>
            <a:schemeClr val="bg1"/>
          </a:solidFill>
          <a:ln w="9525">
            <a:solidFill>
              <a:schemeClr val="tx1"/>
            </a:solidFill>
            <a:miter lim="800000"/>
            <a:headEnd/>
            <a:tailEnd/>
          </a:ln>
        </p:spPr>
        <p:txBody>
          <a:bodyPr>
            <a:spAutoFit/>
          </a:bodyP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600"/>
              </a:spcBef>
              <a:buFont typeface="Arial" charset="0"/>
              <a:buChar char="•"/>
            </a:pPr>
            <a:r>
              <a:rPr lang="en-US" sz="2000" b="1" dirty="0">
                <a:solidFill>
                  <a:srgbClr val="C00000"/>
                </a:solidFill>
                <a:latin typeface="Calibri" pitchFamily="34" charset="0"/>
              </a:rPr>
              <a:t>Iraq, Eq. Guinea</a:t>
            </a:r>
          </a:p>
          <a:p>
            <a:pPr eaLnBrk="1" hangingPunct="1">
              <a:spcBef>
                <a:spcPts val="600"/>
              </a:spcBef>
              <a:buFont typeface="Arial" charset="0"/>
              <a:buChar char="•"/>
            </a:pPr>
            <a:r>
              <a:rPr lang="en-US" sz="2000" b="1" dirty="0">
                <a:solidFill>
                  <a:srgbClr val="C00000"/>
                </a:solidFill>
                <a:latin typeface="Calibri" pitchFamily="34" charset="0"/>
              </a:rPr>
              <a:t>PAK to AFG</a:t>
            </a:r>
          </a:p>
        </p:txBody>
      </p:sp>
      <p:pic>
        <p:nvPicPr>
          <p:cNvPr id="22" name="Picture 3"/>
          <p:cNvPicPr>
            <a:picLocks noChangeAspect="1" noChangeArrowheads="1"/>
          </p:cNvPicPr>
          <p:nvPr/>
        </p:nvPicPr>
        <p:blipFill>
          <a:blip r:embed="rId3"/>
          <a:srcRect/>
          <a:stretch>
            <a:fillRect/>
          </a:stretch>
        </p:blipFill>
        <p:spPr bwMode="auto">
          <a:xfrm>
            <a:off x="6663179" y="5127558"/>
            <a:ext cx="2233613" cy="1652587"/>
          </a:xfrm>
          <a:prstGeom prst="rect">
            <a:avLst/>
          </a:prstGeom>
          <a:solidFill>
            <a:schemeClr val="bg1"/>
          </a:solidFill>
          <a:ln>
            <a:solidFill>
              <a:schemeClr val="tx1"/>
            </a:solidFill>
          </a:ln>
          <a:effectLst>
            <a:outerShdw blurRad="50800" dist="50800" dir="5400000" algn="ctr" rotWithShape="0">
              <a:srgbClr val="000000">
                <a:alpha val="99000"/>
              </a:srgbClr>
            </a:outerShdw>
          </a:effectLst>
          <a:extLst/>
        </p:spPr>
      </p:pic>
      <p:sp>
        <p:nvSpPr>
          <p:cNvPr id="32" name="Text Box 3"/>
          <p:cNvSpPr txBox="1">
            <a:spLocks noChangeArrowheads="1"/>
          </p:cNvSpPr>
          <p:nvPr/>
        </p:nvSpPr>
        <p:spPr bwMode="auto">
          <a:xfrm>
            <a:off x="121212" y="-44557"/>
            <a:ext cx="9022788" cy="613002"/>
          </a:xfrm>
          <a:prstGeom prst="rect">
            <a:avLst/>
          </a:prstGeom>
          <a:solidFill>
            <a:srgbClr val="7030A0"/>
          </a:solidFill>
          <a:extLst/>
        </p:spPr>
        <p:txBody>
          <a:bodyPr anchor="ctr">
            <a:no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sz="4800" b="1" dirty="0" smtClean="0">
                <a:solidFill>
                  <a:prstClr val="white"/>
                </a:solidFill>
                <a:effectLst>
                  <a:outerShdw blurRad="38100" dist="38100" dir="2700000" algn="tl">
                    <a:srgbClr val="000000"/>
                  </a:outerShdw>
                </a:effectLst>
                <a:latin typeface="Calibri"/>
              </a:rPr>
              <a:t>But the Risk Remains……</a:t>
            </a:r>
            <a:endParaRPr lang="en-US" sz="4800" b="1" dirty="0">
              <a:solidFill>
                <a:prstClr val="white"/>
              </a:solidFill>
              <a:effectLst>
                <a:outerShdw blurRad="38100" dist="38100" dir="2700000" algn="tl">
                  <a:srgbClr val="000000"/>
                </a:outerShdw>
              </a:effectLst>
              <a:latin typeface="Calibri"/>
            </a:endParaRPr>
          </a:p>
        </p:txBody>
      </p:sp>
    </p:spTree>
    <p:extLst>
      <p:ext uri="{BB962C8B-B14F-4D97-AF65-F5344CB8AC3E}">
        <p14:creationId xmlns:p14="http://schemas.microsoft.com/office/powerpoint/2010/main" val="9760550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3" grpId="0" animBg="1"/>
      <p:bldP spid="13" grpId="0" animBg="1"/>
      <p:bldP spid="15" grpId="0" animBg="1"/>
      <p:bldP spid="19" grpId="0" animBg="1"/>
      <p:bldP spid="24" grpId="0" animBg="1"/>
      <p:bldP spid="25" grpId="0" animBg="1"/>
      <p:bldP spid="4" grpId="0" animBg="1"/>
      <p:bldP spid="5" grpId="0" animBg="1"/>
      <p:bldP spid="26" grpId="0" animBg="1"/>
      <p:bldP spid="28" grpId="0" animBg="1"/>
      <p:bldP spid="3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6.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heme/theme1.xml><?xml version="1.0" encoding="utf-8"?>
<a:theme xmlns:a="http://schemas.openxmlformats.org/drawingml/2006/main" name="7_Office Theme">
  <a:themeElements>
    <a:clrScheme name="Custom 1">
      <a:dk1>
        <a:srgbClr val="1B587C"/>
      </a:dk1>
      <a:lt1>
        <a:srgbClr val="323232"/>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1_Office Theme">
  <a:themeElements>
    <a:clrScheme name="Custom 1">
      <a:dk1>
        <a:srgbClr val="1B587C"/>
      </a:dk1>
      <a:lt1>
        <a:srgbClr val="323232"/>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8_Office Theme">
  <a:themeElements>
    <a:clrScheme name="Custom 1">
      <a:dk1>
        <a:srgbClr val="1B587C"/>
      </a:dk1>
      <a:lt1>
        <a:srgbClr val="323232"/>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9_Office Theme">
  <a:themeElements>
    <a:clrScheme name="Custom 1">
      <a:dk1>
        <a:srgbClr val="1B587C"/>
      </a:dk1>
      <a:lt1>
        <a:srgbClr val="323232"/>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0</TotalTime>
  <Words>2318</Words>
  <Application>Microsoft Office PowerPoint</Application>
  <PresentationFormat>On-screen Show (4:3)</PresentationFormat>
  <Paragraphs>413</Paragraphs>
  <Slides>52</Slides>
  <Notes>8</Notes>
  <HiddenSlides>2</HiddenSlides>
  <MMClips>0</MMClips>
  <ScaleCrop>false</ScaleCrop>
  <HeadingPairs>
    <vt:vector size="6" baseType="variant">
      <vt:variant>
        <vt:lpstr>Theme</vt:lpstr>
      </vt:variant>
      <vt:variant>
        <vt:i4>8</vt:i4>
      </vt:variant>
      <vt:variant>
        <vt:lpstr>Embedded OLE Servers</vt:lpstr>
      </vt:variant>
      <vt:variant>
        <vt:i4>3</vt:i4>
      </vt:variant>
      <vt:variant>
        <vt:lpstr>Slide Titles</vt:lpstr>
      </vt:variant>
      <vt:variant>
        <vt:i4>52</vt:i4>
      </vt:variant>
    </vt:vector>
  </HeadingPairs>
  <TitlesOfParts>
    <vt:vector size="63" baseType="lpstr">
      <vt:lpstr>7_Office Theme</vt:lpstr>
      <vt:lpstr>11_Office Theme</vt:lpstr>
      <vt:lpstr>1_Office Theme</vt:lpstr>
      <vt:lpstr>8_Office Theme</vt:lpstr>
      <vt:lpstr>2_Office Theme</vt:lpstr>
      <vt:lpstr>4_Office Theme</vt:lpstr>
      <vt:lpstr>3_Office Theme</vt:lpstr>
      <vt:lpstr>9_Office Theme</vt:lpstr>
      <vt:lpstr>think-cell Slide</vt:lpstr>
      <vt:lpstr>Worksheet</vt:lpstr>
      <vt:lpstr>Microsoft Excel 97-2003 Worksheet</vt:lpstr>
      <vt:lpstr>Polio Eradication Update and  The Polio End Game KACHCON - 2015   </vt:lpstr>
      <vt:lpstr>PowerPoint Presentation</vt:lpstr>
      <vt:lpstr>PowerPoint Presentation</vt:lpstr>
      <vt:lpstr>PowerPoint Presentation</vt:lpstr>
      <vt:lpstr>PowerPoint Presentation</vt:lpstr>
      <vt:lpstr>PowerPoint Presentation</vt:lpstr>
      <vt:lpstr>PowerPoint Presentation</vt:lpstr>
      <vt:lpstr>Wild Poliovirus Cases in 2014-15</vt:lpstr>
      <vt:lpstr>International exportation of poliovirus in 2014</vt:lpstr>
      <vt:lpstr>Situation of polio eradication in India</vt:lpstr>
      <vt:lpstr>Polio free status maintained for &gt;4 years</vt:lpstr>
      <vt:lpstr>Environmental surveillance confirms no WPV since January 2011 in the country</vt:lpstr>
      <vt:lpstr>PowerPoint Presentation</vt:lpstr>
      <vt:lpstr>PowerPoint Presentation</vt:lpstr>
      <vt:lpstr>India validated Maternal and Neonatal Tetanus Elimination in 2015  A Major Milestone achieved</vt:lpstr>
      <vt:lpstr>Full Immunization coverage</vt:lpstr>
      <vt:lpstr>Mission Indradhanush:  A new beginning for RI in 2015!!</vt:lpstr>
      <vt:lpstr>Mission Indradhanush (Rainbow): Reaching all children</vt:lpstr>
      <vt:lpstr>PowerPoint Presentation</vt:lpstr>
      <vt:lpstr>PowerPoint Presentation</vt:lpstr>
      <vt:lpstr>Strategy for Mission Indradhanush </vt:lpstr>
      <vt:lpstr>PowerPoint Presentation</vt:lpstr>
      <vt:lpstr>PowerPoint Presentation</vt:lpstr>
      <vt:lpstr>PowerPoint Presentation</vt:lpstr>
      <vt:lpstr>PowerPoint Presentation</vt:lpstr>
      <vt:lpstr>PowerPoint Presentation</vt:lpstr>
      <vt:lpstr>PowerPoint Presentation</vt:lpstr>
      <vt:lpstr>The out come of Phase 1  April to July 2015</vt:lpstr>
      <vt:lpstr>Polio Endgame</vt:lpstr>
      <vt:lpstr>PowerPoint Presentation</vt:lpstr>
      <vt:lpstr>PowerPoint Presentation</vt:lpstr>
      <vt:lpstr>PowerPoint Presentation</vt:lpstr>
      <vt:lpstr>Why is the Polio endgame needed? </vt:lpstr>
      <vt:lpstr>PowerPoint Presentation</vt:lpstr>
      <vt:lpstr>PowerPoint Presentation</vt:lpstr>
      <vt:lpstr>PowerPoint Presentation</vt:lpstr>
      <vt:lpstr>PowerPoint Presentation</vt:lpstr>
      <vt:lpstr>PowerPoint Presentation</vt:lpstr>
      <vt:lpstr>How does IPV help? </vt:lpstr>
      <vt:lpstr>How does IPV help? </vt:lpstr>
      <vt:lpstr>PowerPoint Presentation</vt:lpstr>
      <vt:lpstr>PowerPoint Presentation</vt:lpstr>
      <vt:lpstr>PowerPoint Presentation</vt:lpstr>
      <vt:lpstr>PowerPoint Presentation</vt:lpstr>
      <vt:lpstr>Early versus later IPV administration </vt:lpstr>
      <vt:lpstr>PowerPoint Presentation</vt:lpstr>
      <vt:lpstr>PowerPoint Presentation</vt:lpstr>
      <vt:lpstr>PowerPoint Presentation</vt:lpstr>
      <vt:lpstr>PowerPoint Presentation</vt:lpstr>
      <vt:lpstr>PowerPoint Presentation</vt:lpstr>
      <vt:lpstr>Summary – Polio End Game</vt:lpstr>
      <vt:lpstr>Thank you</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o Eradication Update and  The End Game strategy</dc:title>
  <dc:creator>Subramanya BP</dc:creator>
  <cp:lastModifiedBy>Subramanya BP</cp:lastModifiedBy>
  <cp:revision>5</cp:revision>
  <dcterms:created xsi:type="dcterms:W3CDTF">2015-09-26T08:41:30Z</dcterms:created>
  <dcterms:modified xsi:type="dcterms:W3CDTF">2015-10-31T04:02:55Z</dcterms:modified>
</cp:coreProperties>
</file>